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ink/ink1.xml" ContentType="application/inkml+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ink/ink2.xml" ContentType="application/inkml+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ink/ink3.xml" ContentType="application/inkml+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ink/ink4.xml" ContentType="application/inkml+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ink/ink5.xml" ContentType="application/inkml+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ink/ink6.xml" ContentType="application/inkml+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84" r:id="rId2"/>
    <p:sldMasterId id="2147483846" r:id="rId3"/>
    <p:sldMasterId id="2147483908" r:id="rId4"/>
    <p:sldMasterId id="2147483970" r:id="rId5"/>
    <p:sldMasterId id="2147484032" r:id="rId6"/>
  </p:sldMasterIdLst>
  <p:notesMasterIdLst>
    <p:notesMasterId r:id="rId21"/>
  </p:notesMasterIdLst>
  <p:sldIdLst>
    <p:sldId id="2076138332" r:id="rId7"/>
    <p:sldId id="2076138348" r:id="rId8"/>
    <p:sldId id="2076137969" r:id="rId9"/>
    <p:sldId id="2076138361" r:id="rId10"/>
    <p:sldId id="2076138363" r:id="rId11"/>
    <p:sldId id="2076138374" r:id="rId12"/>
    <p:sldId id="2076138365" r:id="rId13"/>
    <p:sldId id="2076138366" r:id="rId14"/>
    <p:sldId id="2076138367" r:id="rId15"/>
    <p:sldId id="2076138368" r:id="rId16"/>
    <p:sldId id="2076138373" r:id="rId17"/>
    <p:sldId id="2076138371" r:id="rId18"/>
    <p:sldId id="2076138341" r:id="rId19"/>
    <p:sldId id="207613837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57706" autoAdjust="0"/>
  </p:normalViewPr>
  <p:slideViewPr>
    <p:cSldViewPr snapToGrid="0">
      <p:cViewPr varScale="1">
        <p:scale>
          <a:sx n="65" d="100"/>
          <a:sy n="65" d="100"/>
        </p:scale>
        <p:origin x="229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ibaut Gourdel" clId="Web-{707879AC-6B15-4681-BA48-8A2649C046D6}"/>
    <pc:docChg chg="modSld">
      <pc:chgData name="Thibaut Gourdel" userId="" providerId="" clId="Web-{707879AC-6B15-4681-BA48-8A2649C046D6}" dt="2021-07-16T17:28:36.396" v="0"/>
      <pc:docMkLst>
        <pc:docMk/>
      </pc:docMkLst>
      <pc:sldChg chg="modNotes">
        <pc:chgData name="Thibaut Gourdel" userId="" providerId="" clId="Web-{707879AC-6B15-4681-BA48-8A2649C046D6}" dt="2021-07-16T17:28:36.396" v="0"/>
        <pc:sldMkLst>
          <pc:docMk/>
          <pc:sldMk cId="2531758969" sldId="2076138365"/>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15T20:09:21.260"/>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15T20:09:21.260"/>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15T20:09:21.260"/>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15T20:09:21.260"/>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15T20:09:21.260"/>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15T20:09:21.260"/>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B8BF79-17C9-43B7-95DC-3CDE219ECEC4}" type="datetimeFigureOut">
              <a:rPr lang="en-US" smtClean="0"/>
              <a:t>7/1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01A35E-B56C-4A23-BDDA-0C99421C58F5}" type="slidenum">
              <a:rPr lang="en-US" smtClean="0"/>
              <a:t>‹#›</a:t>
            </a:fld>
            <a:endParaRPr lang="en-US"/>
          </a:p>
        </p:txBody>
      </p:sp>
    </p:spTree>
    <p:extLst>
      <p:ext uri="{BB962C8B-B14F-4D97-AF65-F5344CB8AC3E}">
        <p14:creationId xmlns:p14="http://schemas.microsoft.com/office/powerpoint/2010/main" val="3379968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lcome and thank you for giving us the opportunity to show you how Talend can enable you to achieve more value from your Customer 360.</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300B8B-7E5E-E347-A6EF-62B3F1FCA85E}" type="slidenum">
              <a:rPr kumimoji="0" lang="en-US" sz="1200" b="0" i="0" u="none" strike="noStrike" kern="1200" cap="none" spc="0" normalizeH="0" baseline="0" noProof="0" smtClean="0">
                <a:ln>
                  <a:noFill/>
                </a:ln>
                <a:solidFill>
                  <a:prstClr val="black"/>
                </a:solidFill>
                <a:effectLst/>
                <a:uLnTx/>
                <a:uFillTx/>
                <a:latin typeface="Source Sans Pro" panose="020B0503030403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ource Sans Pro" panose="020B0503030403020204" pitchFamily="34" charset="0"/>
              <a:ea typeface="+mn-ea"/>
              <a:cs typeface="+mn-cs"/>
            </a:endParaRPr>
          </a:p>
        </p:txBody>
      </p:sp>
    </p:spTree>
    <p:extLst>
      <p:ext uri="{BB962C8B-B14F-4D97-AF65-F5344CB8AC3E}">
        <p14:creationId xmlns:p14="http://schemas.microsoft.com/office/powerpoint/2010/main" val="380195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aring clean, healthy, high-quality data openly across the entire organization is the pinnacle of achieving data health.  This is where Jackie enters the story.  Jackie is an IT Engineer supporting the Customer 360 initiative at Acme Corp.  Her responsibility is to share the wealth by populating all systems across the organization with the data that Darren and Priya and Leo have worked so hard to nurse back to health. This is also that Ah-ha moment for Rebecca too.  When everything comes full circle, and she finally has ALL the information she needs to help Justin return his $1,200 Highland Gravel mountain bike.</a:t>
            </a:r>
          </a:p>
          <a:p>
            <a:endParaRPr lang="en-US" dirty="0"/>
          </a:p>
          <a:p>
            <a:r>
              <a:rPr lang="en-US" dirty="0"/>
              <a:t>&lt;BUILD&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end API Designer is a powerful, contract-first API service delivering streamlined data sharing, both internally and externally.  Here’s how.</a:t>
            </a:r>
          </a:p>
          <a:p>
            <a:endParaRPr lang="en-US" dirty="0"/>
          </a:p>
          <a:p>
            <a:endParaRPr lang="en-US" dirty="0"/>
          </a:p>
          <a:p>
            <a:r>
              <a:rPr lang="en-US" dirty="0"/>
              <a:t>&lt;DEMO&gt;</a:t>
            </a:r>
          </a:p>
          <a:p>
            <a:r>
              <a:rPr lang="en-US" dirty="0"/>
              <a:t>In Talend API Designer, I </a:t>
            </a:r>
            <a:r>
              <a:rPr lang="en-US" b="1" dirty="0"/>
              <a:t>will build, and test API contracts </a:t>
            </a:r>
            <a:r>
              <a:rPr lang="en-US" dirty="0"/>
              <a:t>designed for data sharing, so that teams like Rebecca’s can enhance their front-end and deliver better customer engagements.  With Talend’s contract-first approach, this begins by defining the API contract (what data elements are available) and the associated requests (i.e. GET, PUT, DELETE, etc.) without the need for complicated API code.  Utilizing the integrated Talend API Tester, I can ensure the API is delivering expected results without the need for compiling and deploying code every time.</a:t>
            </a:r>
          </a:p>
          <a:p>
            <a:endParaRPr lang="en-US" dirty="0"/>
          </a:p>
          <a:p>
            <a:r>
              <a:rPr lang="en-US" dirty="0"/>
              <a:t>A tremendous timesaver to using Talend API Designer is the </a:t>
            </a:r>
            <a:r>
              <a:rPr lang="en-US" b="1" dirty="0"/>
              <a:t>automatic generation of API documentation</a:t>
            </a:r>
            <a:r>
              <a:rPr lang="en-US" dirty="0"/>
              <a:t>.  Not only does this save me time from having to produce the documentation, but it generates in real-time so it is always up-to-date.  Further, I can make the documentation available to other organizations needing to communicate with the CRM customer data much sooner.  This allows them to begin their development before my coding is complete and helps each of us validate that the contract is providing all the necessary elements.  </a:t>
            </a:r>
          </a:p>
          <a:p>
            <a:endParaRPr lang="en-US" dirty="0"/>
          </a:p>
          <a:p>
            <a:r>
              <a:rPr lang="en-US" dirty="0"/>
              <a:t>Finally, because Talend API Designer is integrated into Talend’s unified platform, Restful services leveraging these API contracts can be developed in Talend Studio and deployed in Talend Cloud as microservices, making healthy data available to everyone that needs it.</a:t>
            </a:r>
          </a:p>
          <a:p>
            <a:endParaRPr lang="en-US" dirty="0"/>
          </a:p>
          <a:p>
            <a:endParaRPr lang="en-US" dirty="0"/>
          </a:p>
          <a:p>
            <a:r>
              <a:rPr lang="en-US" dirty="0"/>
              <a:t>With Talend Data Fabric providing a foundation of healthy data, Acme Corp is finally realizing the benefits of their Customer 360.  So, lets see what this means for Rebecca and Justin.</a:t>
            </a:r>
          </a:p>
          <a:p>
            <a:endParaRPr lang="en-US" dirty="0"/>
          </a:p>
        </p:txBody>
      </p:sp>
      <p:sp>
        <p:nvSpPr>
          <p:cNvPr id="4" name="Slide Number Placeholder 3"/>
          <p:cNvSpPr>
            <a:spLocks noGrp="1"/>
          </p:cNvSpPr>
          <p:nvPr>
            <p:ph type="sldNum" sz="quarter" idx="5"/>
          </p:nvPr>
        </p:nvSpPr>
        <p:spPr/>
        <p:txBody>
          <a:bodyPr/>
          <a:lstStyle/>
          <a:p>
            <a:fld id="{5D01A35E-B56C-4A23-BDDA-0C99421C58F5}" type="slidenum">
              <a:rPr lang="en-US" smtClean="0"/>
              <a:t>10</a:t>
            </a:fld>
            <a:endParaRPr lang="en-US"/>
          </a:p>
        </p:txBody>
      </p:sp>
    </p:spTree>
    <p:extLst>
      <p:ext uri="{BB962C8B-B14F-4D97-AF65-F5344CB8AC3E}">
        <p14:creationId xmlns:p14="http://schemas.microsoft.com/office/powerpoint/2010/main" val="1671083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that I have shown you how Talend Data Fabric fixes the root problem of failed Customer 360 initiatives, let me bring it back to Rebecca, our support specialist, to see what this means for her and her interaction with Justin.</a:t>
            </a:r>
          </a:p>
          <a:p>
            <a:endParaRPr lang="en-US" b="1" dirty="0"/>
          </a:p>
          <a:p>
            <a:r>
              <a:rPr lang="en-US" b="0" dirty="0"/>
              <a:t>In our initial scenario Rebecca was unable find the single, accurate record of Justin because of duplicate records, and the records that did exist were incomplete or inaccurate.  This left Rebecca unprepared to give Justin the support he was seeking, while Justin was left feeling frustrated and undervalued.</a:t>
            </a:r>
          </a:p>
          <a:p>
            <a:endParaRPr lang="en-US" b="0" dirty="0"/>
          </a:p>
          <a:p>
            <a:r>
              <a:rPr lang="en-US" b="0" dirty="0"/>
              <a:t>As I showed you through the demonstration, each step along the journey to data health provided more value to Rebecca and her efforts to support Justin.</a:t>
            </a:r>
          </a:p>
          <a:p>
            <a:endParaRPr lang="en-US" b="0" dirty="0"/>
          </a:p>
          <a:p>
            <a:r>
              <a:rPr lang="en-US" b="0" dirty="0"/>
              <a:t>&lt;BUILD&gt;</a:t>
            </a:r>
          </a:p>
          <a:p>
            <a:r>
              <a:rPr lang="en-US" b="0" dirty="0"/>
              <a:t>Darren filled in the gaps for Rebecca by providing a complete representation of Justin.</a:t>
            </a:r>
          </a:p>
          <a:p>
            <a:endParaRPr lang="en-US" b="0" dirty="0"/>
          </a:p>
          <a:p>
            <a:r>
              <a:rPr lang="en-US" b="0" dirty="0"/>
              <a:t>&lt;BUILD&gt;</a:t>
            </a:r>
          </a:p>
          <a:p>
            <a:r>
              <a:rPr lang="en-US" b="0" dirty="0"/>
              <a:t>Priya eliminated duplicates and consolidated analytical data providing Rebecca much needed insight to Justin’s value to the organization.</a:t>
            </a:r>
          </a:p>
          <a:p>
            <a:endParaRPr lang="en-US" b="0" dirty="0"/>
          </a:p>
          <a:p>
            <a:r>
              <a:rPr lang="en-US" b="0" dirty="0"/>
              <a:t>&lt;BUILD&gt;</a:t>
            </a:r>
          </a:p>
          <a:p>
            <a:r>
              <a:rPr lang="en-US" b="0" dirty="0"/>
              <a:t>Leo validated data matches and further refined data inconsistencies through Data Stewardship tasks giving Rebecca 100% confidence in the data.</a:t>
            </a:r>
          </a:p>
          <a:p>
            <a:endParaRPr lang="en-US" b="0" dirty="0"/>
          </a:p>
          <a:p>
            <a:r>
              <a:rPr lang="en-US" b="0" dirty="0"/>
              <a:t>&lt;BUILD&gt;</a:t>
            </a:r>
          </a:p>
          <a:p>
            <a:r>
              <a:rPr lang="en-US" b="0" dirty="0"/>
              <a:t>Finally, Jackie shared the clean, healthy data across the organization using APIs to unlock the true value of a Customer 360.</a:t>
            </a:r>
          </a:p>
          <a:p>
            <a:endParaRPr lang="en-US" b="0" dirty="0"/>
          </a:p>
          <a:p>
            <a:r>
              <a:rPr lang="en-US" b="0" dirty="0"/>
              <a:t>All of this made Rebecca’s job easier but most importantly…</a:t>
            </a:r>
          </a:p>
          <a:p>
            <a:endParaRPr lang="en-US" b="0" dirty="0"/>
          </a:p>
          <a:p>
            <a:r>
              <a:rPr lang="en-US" b="0" dirty="0"/>
              <a:t>&lt;BUILD&gt;</a:t>
            </a:r>
          </a:p>
          <a:p>
            <a:r>
              <a:rPr lang="en-US" b="0" dirty="0"/>
              <a:t>it left Justin feeling appreciated and satisfied with his experience, increasing his long-term value to the company.</a:t>
            </a:r>
          </a:p>
          <a:p>
            <a:endParaRPr lang="en-US" b="0" dirty="0"/>
          </a:p>
        </p:txBody>
      </p:sp>
      <p:sp>
        <p:nvSpPr>
          <p:cNvPr id="4" name="Slide Number Placeholder 3"/>
          <p:cNvSpPr>
            <a:spLocks noGrp="1"/>
          </p:cNvSpPr>
          <p:nvPr>
            <p:ph type="sldNum" sz="quarter" idx="5"/>
          </p:nvPr>
        </p:nvSpPr>
        <p:spPr/>
        <p:txBody>
          <a:bodyPr/>
          <a:lstStyle/>
          <a:p>
            <a:fld id="{5D01A35E-B56C-4A23-BDDA-0C99421C58F5}" type="slidenum">
              <a:rPr lang="en-US" smtClean="0"/>
              <a:t>11</a:t>
            </a:fld>
            <a:endParaRPr lang="en-US"/>
          </a:p>
        </p:txBody>
      </p:sp>
    </p:spTree>
    <p:extLst>
      <p:ext uri="{BB962C8B-B14F-4D97-AF65-F5344CB8AC3E}">
        <p14:creationId xmlns:p14="http://schemas.microsoft.com/office/powerpoint/2010/main" val="3690438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active]</a:t>
            </a:r>
          </a:p>
          <a:p>
            <a:endParaRPr lang="en-US" dirty="0"/>
          </a:p>
          <a:p>
            <a:r>
              <a:rPr lang="en-US" dirty="0"/>
              <a:t>This time, when Justin calls in wanting to return the $1,200 Highland Gravel mountain bike, Rebecca searches on his name and not only finds Justin’s customer record, but it is enriched with important information that allows Rebecca to immediately understand Justin’s value to Acme Corp, exactly what transaction is being addressed, and what promotions and campaigns are most appealing to him.  This gives Rebecca all the information she needs to provide the personalized experience Justin desires.  And while addressing his product return in a timely fashion she is also able to drive loyalty by offering a personalized discount on the latest Velocity bike helmet.  It’s a win-win for Justin and Acme.</a:t>
            </a:r>
          </a:p>
          <a:p>
            <a:endParaRPr lang="en-US" dirty="0"/>
          </a:p>
          <a:p>
            <a:endParaRPr lang="en-US" dirty="0"/>
          </a:p>
          <a:p>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E94D3A-FA7A-4E03-81A9-441D30743E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1821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end Data Fabric enables proactive measures, effective treatments and a supportive culture to ensure business initiatives like a Customer 360 deliver clean, healthy, high-quality data across your organizati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300B8B-7E5E-E347-A6EF-62B3F1FCA8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6554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You have made a significant investment in Customer 360 to address a multitude of use cases – some of which may include targeted campaigns, customized engagements, streamlined transaction processing, among others. But the reality is, organizations continue to struggle to deliver on these use cases because of inaccurate, incomplete or just plain wrong data.</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alend raises the value of an existing Customer 360 by addressing the root cause of failed initiatives – bad data.  </a:t>
            </a:r>
            <a:r>
              <a:rPr lang="en-US" sz="1200" b="0" i="0" kern="1200" dirty="0">
                <a:solidFill>
                  <a:schemeClr val="tx1"/>
                </a:solidFill>
                <a:effectLst/>
                <a:latin typeface="+mn-lt"/>
                <a:ea typeface="+mn-ea"/>
                <a:cs typeface="+mn-cs"/>
              </a:rPr>
              <a:t>This is achieved with Talend Data Fabric, our market-leading solution that brings together data professionals and business users to eliminate bad data. Through purpose-built data integration, governance, and Application and API integration tools Talend unlocks </a:t>
            </a:r>
            <a:r>
              <a:rPr lang="en-US" sz="1800" b="0" i="0" kern="1200" dirty="0">
                <a:solidFill>
                  <a:schemeClr val="tx1"/>
                </a:solidFill>
                <a:effectLst/>
                <a:latin typeface="+mn-lt"/>
                <a:ea typeface="+mn-ea"/>
                <a:cs typeface="+mn-cs"/>
              </a:rPr>
              <a:t>the speed and agility organizations need to thrive in today’s modern, data-driven environmen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day I want to focus in on just one of these C360 use cases, a Customer Support scenario, to show how Talend </a:t>
            </a:r>
            <a:r>
              <a:rPr lang="en-US" sz="1800" kern="1200" dirty="0">
                <a:solidFill>
                  <a:schemeClr val="tx1"/>
                </a:solidFill>
                <a:effectLst/>
                <a:latin typeface="+mn-lt"/>
                <a:ea typeface="+mn-ea"/>
                <a:cs typeface="+mn-cs"/>
              </a:rPr>
              <a:t>enables every persona across the organization to take an active role in ensuring clean, healthy data is at the center of all your business initiatives – including an effective Customer 360 – thus building a culture of data health, built on a foundation of data quality and trust, and ensuring your customers receive the world-class service they deserv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300B8B-7E5E-E347-A6EF-62B3F1FCA85E}" type="slidenum">
              <a:rPr kumimoji="0" lang="en-US" sz="1200" b="0" i="0" u="none" strike="noStrike" kern="1200" cap="none" spc="0" normalizeH="0" baseline="0" noProof="0" smtClean="0">
                <a:ln>
                  <a:noFill/>
                </a:ln>
                <a:solidFill>
                  <a:prstClr val="black"/>
                </a:solidFill>
                <a:effectLst/>
                <a:uLnTx/>
                <a:uFillTx/>
                <a:latin typeface="Source Sans Pro" panose="020B0503030403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ource Sans Pro" panose="020B0503030403020204" pitchFamily="34" charset="0"/>
              <a:ea typeface="+mn-ea"/>
              <a:cs typeface="+mn-cs"/>
            </a:endParaRPr>
          </a:p>
        </p:txBody>
      </p:sp>
    </p:spTree>
    <p:extLst>
      <p:ext uri="{BB962C8B-B14F-4D97-AF65-F5344CB8AC3E}">
        <p14:creationId xmlns:p14="http://schemas.microsoft.com/office/powerpoint/2010/main" val="1037542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is your customer, Just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e is a typical customer who has many touch points with your organization – He is a member of the loyalty program and a frequent shopper via online and in store channels.  He is also active on social media and has engaged with targeted marketing promotions and customer support in the past.</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deally, as an organization, you want to understand all historical information about Justin’s purchases, interests and interactions… so that you can predict what to sell to him, when he will need it, and thru which channels. You also want to ensure that if Justin calls the support line, his issues are resolved quickly, and you can cement loyalty and drive retention.  After all, that is why you invested in a C360 to begin with.</a:t>
            </a:r>
          </a:p>
          <a:p>
            <a:pPr marL="0" indent="0">
              <a:buFontTx/>
              <a:buNone/>
            </a:pP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order to achieve this, you have all proper systems in place – a typical CRM system and ERP system.  In-store and online Point-of-Sale systems to track transaction history, a marketing automation system to engage with Justin through targeted promotions, hooks into social media to understand customer sentiment and a customer support system to log support calls.  All this data feeds into your Enterprise Customer 360 for that complete view of Just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owever, because the data is siloed, disconnected, and of poor-quality your organization cannot get a single, clean view of Justin.  This leads to longer wait times on support calls, Justin having to re-establish basic information the organization should already know about him and receiving irrelevant and unwanted offers or promotions.  Clearly, Justin is not benefiting from your investment in a C360 solution.</a:t>
            </a:r>
            <a:endParaRPr lang="en-US" dirty="0"/>
          </a:p>
          <a:p>
            <a:pPr marL="0" indent="0">
              <a:buFontTx/>
              <a:buNone/>
            </a:pPr>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54B126-9A5C-4656-AC0A-CA7B92E01076}"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34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Rebecca, a customer support specialist with Acme Corp, a large international retailer of outdoor lifestyle products with a loyal customer base of well over 75 million members.  Rebecca is responsible for fielding customer support calls and building relationships with those customers.  To do this, she needs to be armed with all information about an individual customer the moment they call into the support line so she can deliver a personalized, streamlined experience, resolve issues quickly and grow the relationship between the customer and the brand. This is what was promised to Acme Corp when they implemented a C360 over a year ag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E94D3A-FA7A-4E03-81A9-441D30743E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6140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active]</a:t>
            </a:r>
          </a:p>
          <a:p>
            <a:endParaRPr lang="en-US" dirty="0"/>
          </a:p>
          <a:p>
            <a:r>
              <a:rPr lang="en-US" dirty="0"/>
              <a:t>When Justin calls in wanting to return the Highland Gravel Bike, a $1,200 mountain bike that was damaged in shipping, he is expecting a quick, no-hassle experience.  However, when Rebecca searches on Justin’s name she comes across multiple records – which one does she choose?  And then once she selects one, she is faced with incomplete or inaccurate data about Justin.  There is no information indicating the value this customer brings to Acme Corp. – are they a valued, loyal customer or a one-time-shopper?  There is also no transaction history for Justin, meaning Rebecca will have to access the Point-of-Sale system and try to track down this purchase using a credit-card number that Justin is reluctant to give out.  The frustration for both is near a boiling point.  This is an all-to-common situation that Rebecca and many other Customer Support Specialists find themselves in leading to only 40% customer satisfa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E94D3A-FA7A-4E03-81A9-441D30743E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9585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w that you have seen the pain of Rebecca and Justin, I want to show you how Talend enables you to achieve data health though a combination of Preventative Measures, Effective Treatments and a Supportive Culture – Our three pillars of data healt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BUILD&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t a tactical level, it starts with enabling all persona across the organization to take an active role in ensuring clean, healthy data is at the center of all your business initiatives – including an effective Customer 360.  Talend Data Fabric fosters collaboration through a set of role-based applications delivered in a unified platform so tha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BUILD&gt;</a:t>
            </a:r>
          </a:p>
          <a:p>
            <a:r>
              <a:rPr lang="en-US" sz="1200" kern="1200" dirty="0">
                <a:solidFill>
                  <a:schemeClr val="tx1"/>
                </a:solidFill>
                <a:effectLst/>
                <a:latin typeface="+mn-lt"/>
                <a:ea typeface="+mn-ea"/>
                <a:cs typeface="+mn-cs"/>
              </a:rPr>
              <a:t>Business Analysts can discover datasets and create a plan for standardization of the data as it enters the syste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BUILD&gt;</a:t>
            </a:r>
          </a:p>
          <a:p>
            <a:r>
              <a:rPr lang="en-US" sz="1200" kern="1200" dirty="0">
                <a:solidFill>
                  <a:schemeClr val="tx1"/>
                </a:solidFill>
                <a:effectLst/>
                <a:latin typeface="+mn-lt"/>
                <a:ea typeface="+mn-ea"/>
                <a:cs typeface="+mn-cs"/>
              </a:rPr>
              <a:t>while Data Engineers operationalize the plan with data pipelines that enrich the data through automated matching</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BUILD&gt;</a:t>
            </a:r>
          </a:p>
          <a:p>
            <a:r>
              <a:rPr lang="en-US" sz="1200" kern="1200" dirty="0">
                <a:solidFill>
                  <a:schemeClr val="tx1"/>
                </a:solidFill>
                <a:effectLst/>
                <a:latin typeface="+mn-lt"/>
                <a:ea typeface="+mn-ea"/>
                <a:cs typeface="+mn-cs"/>
              </a:rPr>
              <a:t>And Data Stewards follow governed data workflows that validate the matching and merging of the data.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BUILD&gt;</a:t>
            </a:r>
          </a:p>
          <a:p>
            <a:r>
              <a:rPr lang="en-US" sz="1200" kern="1200" dirty="0">
                <a:solidFill>
                  <a:schemeClr val="tx1"/>
                </a:solidFill>
                <a:effectLst/>
                <a:latin typeface="+mn-lt"/>
                <a:ea typeface="+mn-ea"/>
                <a:cs typeface="+mn-cs"/>
              </a:rPr>
              <a:t>Once you have these practices in place, Central IT groups can bring it to life through data sharing, care and maintenanc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 doubt, this can feel like a daunting task, especially after all the time spent implementing a C360.  But Talend makes it easy, collaborative and more importantly, scalable – because certainly Justin isn’t the only customer having a bad experience.  Let me show you how it’s d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300B8B-7E5E-E347-A6EF-62B3F1FCA8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74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kern="1200">
                <a:solidFill>
                  <a:schemeClr val="tx1"/>
                </a:solidFill>
                <a:effectLst/>
                <a:latin typeface="+mn-lt"/>
                <a:ea typeface="+mn-ea"/>
                <a:cs typeface="+mn-cs"/>
              </a:rPr>
              <a:t>The first step in creating a culture of </a:t>
            </a:r>
            <a:r>
              <a:rPr lang="en-US"/>
              <a:t>healthy </a:t>
            </a:r>
            <a:r>
              <a:rPr lang="en-US" sz="1200" kern="1200">
                <a:solidFill>
                  <a:schemeClr val="tx1"/>
                </a:solidFill>
                <a:effectLst/>
                <a:latin typeface="+mn-lt"/>
                <a:ea typeface="+mn-ea"/>
                <a:cs typeface="+mn-cs"/>
              </a:rPr>
              <a:t>data is through discovery and standardization. Darren is a business analyst at Acme Corp with in-depth knowledge of the customer data within the CRM system.</a:t>
            </a:r>
            <a:r>
              <a:rPr lang="en-US"/>
              <a:t> </a:t>
            </a:r>
            <a:r>
              <a:rPr lang="en-US" sz="1200" kern="1200">
                <a:solidFill>
                  <a:schemeClr val="tx1"/>
                </a:solidFill>
                <a:effectLst/>
                <a:latin typeface="+mn-lt"/>
                <a:ea typeface="+mn-ea"/>
                <a:cs typeface="+mn-cs"/>
              </a:rPr>
              <a:t> It is his responsibility to ensure customer data like Justin’s is complete, correct and standardized so that Rebecca is sure to have an accurate representation of Justin when he calls for suppor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BUILD&gt;</a:t>
            </a:r>
          </a:p>
          <a:p>
            <a:r>
              <a:rPr lang="en-US" sz="1200" kern="1200" dirty="0">
                <a:solidFill>
                  <a:schemeClr val="tx1"/>
                </a:solidFill>
                <a:effectLst/>
                <a:latin typeface="+mn-lt"/>
                <a:ea typeface="+mn-ea"/>
                <a:cs typeface="+mn-cs"/>
              </a:rPr>
              <a:t>Talend enables Darren to easily discover, access, manage and organize datasets with Talend Data Inventory while Talend Data Preparation brings features to profile, cleanse, standardize and enrich datasets through powerful AI-driven functions.  Here’s ho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DEMO&gt;</a:t>
            </a:r>
          </a:p>
          <a:p>
            <a:r>
              <a:rPr lang="en-US" sz="1200" kern="1200" dirty="0">
                <a:solidFill>
                  <a:schemeClr val="tx1"/>
                </a:solidFill>
                <a:effectLst/>
                <a:latin typeface="+mn-lt"/>
                <a:ea typeface="+mn-ea"/>
                <a:cs typeface="+mn-cs"/>
              </a:rPr>
              <a:t>Starting in Talend Data Inventory, I can utilize </a:t>
            </a:r>
            <a:r>
              <a:rPr lang="en-US" sz="1200" b="1" kern="1200" dirty="0">
                <a:solidFill>
                  <a:schemeClr val="tx1"/>
                </a:solidFill>
                <a:effectLst/>
                <a:latin typeface="+mn-lt"/>
                <a:ea typeface="+mn-ea"/>
                <a:cs typeface="+mn-cs"/>
              </a:rPr>
              <a:t>faceted search capabilities to discover datasets </a:t>
            </a:r>
            <a:r>
              <a:rPr lang="en-US" sz="1200" kern="1200" dirty="0">
                <a:solidFill>
                  <a:schemeClr val="tx1"/>
                </a:solidFill>
                <a:effectLst/>
                <a:latin typeface="+mn-lt"/>
                <a:ea typeface="+mn-ea"/>
                <a:cs typeface="+mn-cs"/>
              </a:rPr>
              <a:t>that are relevant to my needs.  Finding the CRM dataset that powers the C360 program, I have first insight to </a:t>
            </a:r>
            <a:r>
              <a:rPr lang="en-US" sz="1200" b="1" kern="1200" dirty="0">
                <a:solidFill>
                  <a:schemeClr val="tx1"/>
                </a:solidFill>
                <a:effectLst/>
                <a:latin typeface="+mn-lt"/>
                <a:ea typeface="+mn-ea"/>
                <a:cs typeface="+mn-cs"/>
              </a:rPr>
              <a:t>data quality indicators and Talend’s unique trust score</a:t>
            </a:r>
            <a:r>
              <a:rPr lang="en-US" sz="1200" kern="1200" dirty="0">
                <a:solidFill>
                  <a:schemeClr val="tx1"/>
                </a:solidFill>
                <a:effectLst/>
                <a:latin typeface="+mn-lt"/>
                <a:ea typeface="+mn-ea"/>
                <a:cs typeface="+mn-cs"/>
              </a:rPr>
              <a:t> – an automated indicator that delivers an instant assessment of the trustworthiness of my data. I can use Talend Data Inventory to dive deeper into the 5 factors that contribute to the trust score – validity, popularity, completeness, discoverability, and usage.  The trust score is generated any time a dataset is added or updated by analyzing and profiling the data to calculate a quantifiable grading of the dataset.  Recognizing that this dataset has a low value trust score, I can take remedial actions on the dataset and improve the trust scor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I continue to understand this data more completely, it is important to </a:t>
            </a:r>
            <a:r>
              <a:rPr lang="en-US" sz="1200" b="1" kern="1200" dirty="0">
                <a:solidFill>
                  <a:schemeClr val="tx1"/>
                </a:solidFill>
                <a:effectLst/>
                <a:latin typeface="+mn-lt"/>
                <a:ea typeface="+mn-ea"/>
                <a:cs typeface="+mn-cs"/>
              </a:rPr>
              <a:t>begin establishing healthy data habits, </a:t>
            </a:r>
            <a:r>
              <a:rPr lang="en-US" sz="1200" kern="1200" dirty="0">
                <a:solidFill>
                  <a:schemeClr val="tx1"/>
                </a:solidFill>
                <a:effectLst/>
                <a:latin typeface="+mn-lt"/>
                <a:ea typeface="+mn-ea"/>
                <a:cs typeface="+mn-cs"/>
              </a:rPr>
              <a:t>so I will add an accurate description, searchable tags and other custom attributes that simplify the organization and management of this dataset. </a:t>
            </a:r>
            <a:r>
              <a:rPr lang="en-US" sz="1200" b="0" i="0" kern="1200" dirty="0">
                <a:solidFill>
                  <a:schemeClr val="tx1"/>
                </a:solidFill>
                <a:effectLst/>
                <a:latin typeface="+mn-lt"/>
                <a:ea typeface="+mn-ea"/>
                <a:cs typeface="+mn-cs"/>
              </a:rPr>
              <a:t>Now, everyone in my organization that needs to find and understand what this dataset represents will benefit from the information I provided.</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iving into the data sample, I can see exactly where the obvious data discrepancies are.  Names are inconsistent and phone numbers are not standardized.  This could be the reason there are so many duplicates.  I am ready to create a plan for fixing these data issues, so I will open Talend Data Preparation to begin building the pla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Talend Data Preparation I have access to </a:t>
            </a:r>
            <a:r>
              <a:rPr lang="en-US" sz="1200" b="1" kern="1200" dirty="0">
                <a:solidFill>
                  <a:schemeClr val="tx1"/>
                </a:solidFill>
                <a:effectLst/>
                <a:latin typeface="+mn-lt"/>
                <a:ea typeface="+mn-ea"/>
                <a:cs typeface="+mn-cs"/>
              </a:rPr>
              <a:t>powerful profiling and full-feature data functions </a:t>
            </a:r>
            <a:r>
              <a:rPr lang="en-US" sz="1200" kern="1200" dirty="0">
                <a:solidFill>
                  <a:schemeClr val="tx1"/>
                </a:solidFill>
                <a:effectLst/>
                <a:latin typeface="+mn-lt"/>
                <a:ea typeface="+mn-ea"/>
                <a:cs typeface="+mn-cs"/>
              </a:rPr>
              <a:t>that can address data issues at the table, column or field level.</a:t>
            </a:r>
          </a:p>
          <a:p>
            <a:endParaRPr lang="en-US" sz="1200" kern="1200" dirty="0">
              <a:solidFill>
                <a:schemeClr val="tx1"/>
              </a:solidFill>
              <a:effectLst/>
              <a:latin typeface="+mn-lt"/>
              <a:ea typeface="+mn-ea"/>
              <a:cs typeface="+mn-cs"/>
            </a:endParaRPr>
          </a:p>
          <a:p>
            <a:r>
              <a:rPr lang="en-US" b="0" i="0" dirty="0">
                <a:solidFill>
                  <a:srgbClr val="1D1C1D"/>
                </a:solidFill>
                <a:effectLst/>
                <a:latin typeface="Slack-Lato"/>
              </a:rPr>
              <a:t>As you can see, there are some inconsistencies in the Country field as most countries are using the iso two format and some are plain English names. Let's start by converting the country name by their equivalent iso two code.</a:t>
            </a:r>
            <a:br>
              <a:rPr lang="en-US" dirty="0"/>
            </a:br>
            <a:r>
              <a:rPr lang="en-US" b="0" i="0" dirty="0">
                <a:solidFill>
                  <a:srgbClr val="1D1C1D"/>
                </a:solidFill>
                <a:effectLst/>
                <a:latin typeface="Slack-Lato"/>
              </a:rPr>
              <a:t>Once the country field is clean, let's fix the main issue of this dataset. The phone numbers that are crucial to match the customers in the different systems aren't standardized. By using a predefined function at this effect I can format the phone numbers according to the customer's country. This will lead to more accurate matching within the Customer 3 60 solution. Despite the phone formatting, some numbers are detected as invalid. Let's remove them. Then, I use a combination of two different functions to remove special characters and accents from the last name and change it to upper cas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I continue to build my plan for ensuring healthy data from the start, Talend Data Preparation records each step here on the lef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ce I am finished with this preparation, I can share this dataset to be more effectively used by others across the organiz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END DEMO&gt;</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5D01A35E-B56C-4A23-BDDA-0C99421C58F5}" type="slidenum">
              <a:rPr lang="en-US" smtClean="0"/>
              <a:t>7</a:t>
            </a:fld>
            <a:endParaRPr lang="en-US"/>
          </a:p>
        </p:txBody>
      </p:sp>
    </p:spTree>
    <p:extLst>
      <p:ext uri="{BB962C8B-B14F-4D97-AF65-F5344CB8AC3E}">
        <p14:creationId xmlns:p14="http://schemas.microsoft.com/office/powerpoint/2010/main" val="2220347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next step to building a healthy data culture is to operationalize data flows and to automate matching processes.  Priya is a Data Engineer at Acme Corp. and is responsible for designing integrated solutions that deliver accurate insights into Justin’s behavior as a customer.  These insights are important for someone like Rebecca, who needs to know how Justin has interacted with the business in the past and what most influences Justin’s buying habi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BUILD&gt;</a:t>
            </a:r>
          </a:p>
          <a:p>
            <a:r>
              <a:rPr lang="en-US" sz="1200" kern="1200" dirty="0">
                <a:solidFill>
                  <a:schemeClr val="tx1"/>
                </a:solidFill>
                <a:effectLst/>
                <a:latin typeface="+mn-lt"/>
                <a:ea typeface="+mn-ea"/>
                <a:cs typeface="+mn-cs"/>
              </a:rPr>
              <a:t>Talend Pipeline Designer gives Priya the tools she needs to deliver modern and scalable integrations that are executable in a cloud, on-prem or hybrid environment.  Here’s ho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DEMO&gt;</a:t>
            </a:r>
          </a:p>
          <a:p>
            <a:r>
              <a:rPr lang="en-US" sz="1200" kern="1200" dirty="0">
                <a:solidFill>
                  <a:schemeClr val="tx1"/>
                </a:solidFill>
                <a:effectLst/>
                <a:latin typeface="+mn-lt"/>
                <a:ea typeface="+mn-ea"/>
                <a:cs typeface="+mn-cs"/>
              </a:rPr>
              <a:t>Accessing Talend Data Inventory, I can use the tagging from Darren to easily find and access to the new C360 CRM dataset that Darren updated, and I can see that the trust score has improved.  This gives me greater confidence that any integrations utilizing this dataset will provide the best value to the organiz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ntinuing with this dataset in Talend Pipeline Designer, I have access to a </a:t>
            </a:r>
            <a:r>
              <a:rPr lang="en-US" sz="1200" b="1" kern="1200" dirty="0">
                <a:solidFill>
                  <a:schemeClr val="tx1"/>
                </a:solidFill>
                <a:effectLst/>
                <a:latin typeface="+mn-lt"/>
                <a:ea typeface="+mn-ea"/>
                <a:cs typeface="+mn-cs"/>
              </a:rPr>
              <a:t>full list of feature-rich processors </a:t>
            </a:r>
            <a:r>
              <a:rPr lang="en-US" sz="1200" kern="1200" dirty="0">
                <a:solidFill>
                  <a:schemeClr val="tx1"/>
                </a:solidFill>
                <a:effectLst/>
                <a:latin typeface="+mn-lt"/>
                <a:ea typeface="+mn-ea"/>
                <a:cs typeface="+mn-cs"/>
              </a:rPr>
              <a:t>– including joins, string manipulations, data routing and even a fully customizable python processor that provides the necessary flexibility for delivering scalable integrations.  </a:t>
            </a:r>
            <a:r>
              <a:rPr lang="en-US" sz="1200" b="0" i="0" kern="1200" dirty="0">
                <a:solidFill>
                  <a:schemeClr val="tx1"/>
                </a:solidFill>
                <a:effectLst/>
                <a:latin typeface="+mn-lt"/>
                <a:ea typeface="+mn-ea"/>
                <a:cs typeface="+mn-cs"/>
              </a:rPr>
              <a:t>In fact, Talend allows data professionals to bring intelligent services into data pipelines with extensibility to common NLP, ML and AI libraries – a unique differentiator with Talen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itionally, Talend have purposefully embedded the same data quality functions across all applications. The DQ functions you find in Talend Data Preparation for business users are the same in Talend Pipeline Designer for the more technical users, thus delivering pervasive data quality, solidifying our unified platform and providing consistency throughou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urther, I can </a:t>
            </a:r>
            <a:r>
              <a:rPr lang="en-US" sz="1200" b="1" kern="1200" dirty="0">
                <a:solidFill>
                  <a:schemeClr val="tx1"/>
                </a:solidFill>
                <a:effectLst/>
                <a:latin typeface="+mn-lt"/>
                <a:ea typeface="+mn-ea"/>
                <a:cs typeface="+mn-cs"/>
              </a:rPr>
              <a:t>leverage</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Talend’s unique, real-time data previewer</a:t>
            </a:r>
            <a:r>
              <a:rPr lang="en-US" sz="1200" kern="1200" dirty="0">
                <a:solidFill>
                  <a:schemeClr val="tx1"/>
                </a:solidFill>
                <a:effectLst/>
                <a:latin typeface="+mn-lt"/>
                <a:ea typeface="+mn-ea"/>
                <a:cs typeface="+mn-cs"/>
              </a:rPr>
              <a:t> to see the data as it flows through the pipeline during the pipeline development process.  The information provided in the data previewer ensures I am viewing the data through the same lens as Darren and that I can accurately </a:t>
            </a:r>
            <a:r>
              <a:rPr lang="en-US" sz="1200" b="1" kern="1200" dirty="0">
                <a:solidFill>
                  <a:schemeClr val="tx1"/>
                </a:solidFill>
                <a:effectLst/>
                <a:latin typeface="+mn-lt"/>
                <a:ea typeface="+mn-ea"/>
                <a:cs typeface="+mn-cs"/>
              </a:rPr>
              <a:t>automate data matching </a:t>
            </a:r>
            <a:r>
              <a:rPr lang="en-US" sz="1200" kern="1200" dirty="0">
                <a:solidFill>
                  <a:schemeClr val="tx1"/>
                </a:solidFill>
                <a:effectLst/>
                <a:latin typeface="+mn-lt"/>
                <a:ea typeface="+mn-ea"/>
                <a:cs typeface="+mn-cs"/>
              </a:rPr>
              <a:t>based on a consistent data format provided by Darren’s preparation. And b</a:t>
            </a:r>
            <a:r>
              <a:rPr lang="en-US" sz="1200" b="0" i="0" kern="1200" dirty="0">
                <a:solidFill>
                  <a:schemeClr val="tx1"/>
                </a:solidFill>
                <a:effectLst/>
                <a:latin typeface="+mn-lt"/>
                <a:ea typeface="+mn-ea"/>
                <a:cs typeface="+mn-cs"/>
              </a:rPr>
              <a:t>ecause Talend Data Fabric is </a:t>
            </a:r>
            <a:r>
              <a:rPr lang="en-US" sz="1200" b="1" i="0" kern="1200" dirty="0">
                <a:solidFill>
                  <a:schemeClr val="tx1"/>
                </a:solidFill>
                <a:effectLst/>
                <a:latin typeface="+mn-lt"/>
                <a:ea typeface="+mn-ea"/>
                <a:cs typeface="+mn-cs"/>
              </a:rPr>
              <a:t>designed with on-demand scalability in mind</a:t>
            </a:r>
            <a:r>
              <a:rPr lang="en-US" sz="1200" b="0" i="0" kern="1200" dirty="0">
                <a:solidFill>
                  <a:schemeClr val="tx1"/>
                </a:solidFill>
                <a:effectLst/>
                <a:latin typeface="+mn-lt"/>
                <a:ea typeface="+mn-ea"/>
                <a:cs typeface="+mn-cs"/>
              </a:rPr>
              <a:t>, this same matching process can manage the full-scale 75-million record cleansing of existing customers with as much simplicity as it can for a daily execution that address a couple thousand new records while minimizing processing cos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address data matches that require human interaction, Talend Pipeline Designer is </a:t>
            </a:r>
            <a:r>
              <a:rPr lang="en-US" sz="1200" b="1" kern="1200" dirty="0">
                <a:solidFill>
                  <a:schemeClr val="tx1"/>
                </a:solidFill>
                <a:effectLst/>
                <a:latin typeface="+mn-lt"/>
                <a:ea typeface="+mn-ea"/>
                <a:cs typeface="+mn-cs"/>
              </a:rPr>
              <a:t>tightly integrated with Talend Data Stewardship</a:t>
            </a:r>
            <a:r>
              <a:rPr lang="en-US" sz="1200" kern="1200" dirty="0">
                <a:solidFill>
                  <a:schemeClr val="tx1"/>
                </a:solidFill>
                <a:effectLst/>
                <a:latin typeface="+mn-lt"/>
                <a:ea typeface="+mn-ea"/>
                <a:cs typeface="+mn-cs"/>
              </a:rPr>
              <a:t> – directing questionable matches to an aligned merging campaign without the need for extra data movement and potential data los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se records will now be handled by our Data Steward in the next steps.</a:t>
            </a:r>
          </a:p>
          <a:p>
            <a:r>
              <a:rPr lang="en-US" sz="1200" kern="1200" dirty="0">
                <a:solidFill>
                  <a:schemeClr val="tx1"/>
                </a:solidFill>
                <a:effectLst/>
                <a:latin typeface="+mn-lt"/>
                <a:ea typeface="+mn-ea"/>
                <a:cs typeface="+mn-cs"/>
              </a:rPr>
              <a:t>&lt;END DEMO&gt;</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5D01A35E-B56C-4A23-BDDA-0C99421C58F5}" type="slidenum">
              <a:rPr lang="en-US" smtClean="0"/>
              <a:t>8</a:t>
            </a:fld>
            <a:endParaRPr lang="en-US"/>
          </a:p>
        </p:txBody>
      </p:sp>
    </p:spTree>
    <p:extLst>
      <p:ext uri="{BB962C8B-B14F-4D97-AF65-F5344CB8AC3E}">
        <p14:creationId xmlns:p14="http://schemas.microsoft.com/office/powerpoint/2010/main" val="818454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ce matching has been automated and data flows operationalized, the next important step is manual data review through Data Stewardship tasks. </a:t>
            </a:r>
            <a:r>
              <a:rPr lang="en-US" dirty="0"/>
              <a:t>Leo is one of a few dozen data stewards at Acme Corp. that manages the manual resolution of data merging tasks through deeper investigation of the data and more refined data cleansing.  This guarantees Justin’s data stays with Justin and gives Rebecca 100% confidence in the data’s accuracy and validit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BUILD&gt;</a:t>
            </a:r>
          </a:p>
          <a:p>
            <a:r>
              <a:rPr lang="en-US" sz="1200" kern="1200" dirty="0">
                <a:solidFill>
                  <a:schemeClr val="tx1"/>
                </a:solidFill>
                <a:effectLst/>
                <a:latin typeface="+mn-lt"/>
                <a:ea typeface="+mn-ea"/>
                <a:cs typeface="+mn-cs"/>
              </a:rPr>
              <a:t>Talend Data Stewardship is the only </a:t>
            </a:r>
            <a:r>
              <a:rPr lang="en-US" sz="1200" b="0" kern="1200" dirty="0">
                <a:solidFill>
                  <a:schemeClr val="tx1"/>
                </a:solidFill>
                <a:effectLst/>
                <a:latin typeface="+mn-lt"/>
                <a:ea typeface="+mn-ea"/>
                <a:cs typeface="+mn-cs"/>
              </a:rPr>
              <a:t>dedicated and fully integrated stewardship application that delivers powerful capabilities to address manual data resolution while providing full audit and </a:t>
            </a:r>
            <a:r>
              <a:rPr lang="en-US" b="0" dirty="0"/>
              <a:t>workflow functionality.  </a:t>
            </a:r>
            <a:r>
              <a:rPr lang="en-US" sz="1200" b="0" kern="1200" dirty="0">
                <a:solidFill>
                  <a:schemeClr val="tx1"/>
                </a:solidFill>
                <a:effectLst/>
                <a:latin typeface="+mn-lt"/>
                <a:ea typeface="+mn-ea"/>
                <a:cs typeface="+mn-cs"/>
              </a:rPr>
              <a:t>Here’s how.</a:t>
            </a:r>
          </a:p>
          <a:p>
            <a:endParaRPr lang="en-US" sz="1200" b="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DEMO&gt;</a:t>
            </a:r>
          </a:p>
          <a:p>
            <a:r>
              <a:rPr lang="en-US" sz="1200" kern="1200" dirty="0">
                <a:solidFill>
                  <a:schemeClr val="tx1"/>
                </a:solidFill>
                <a:effectLst/>
                <a:latin typeface="+mn-lt"/>
                <a:ea typeface="+mn-ea"/>
                <a:cs typeface="+mn-cs"/>
              </a:rPr>
              <a:t>Entering Talend Data Stewardship, I have </a:t>
            </a:r>
            <a:r>
              <a:rPr lang="en-US" sz="1200" b="1" kern="1200" dirty="0">
                <a:solidFill>
                  <a:schemeClr val="tx1"/>
                </a:solidFill>
                <a:effectLst/>
                <a:latin typeface="+mn-lt"/>
                <a:ea typeface="+mn-ea"/>
                <a:cs typeface="+mn-cs"/>
              </a:rPr>
              <a:t>direct access to all the tasks </a:t>
            </a:r>
            <a:r>
              <a:rPr lang="en-US" sz="1200" kern="1200" dirty="0">
                <a:solidFill>
                  <a:schemeClr val="tx1"/>
                </a:solidFill>
                <a:effectLst/>
                <a:latin typeface="+mn-lt"/>
                <a:ea typeface="+mn-ea"/>
                <a:cs typeface="+mn-cs"/>
              </a:rPr>
              <a:t>that are assigned to me, including the tasks generated by Priya’s data matching pipelin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pening the tasks that I have been assigned, I can begin </a:t>
            </a:r>
            <a:r>
              <a:rPr lang="en-US" sz="1200" b="1" kern="1200" dirty="0">
                <a:solidFill>
                  <a:schemeClr val="tx1"/>
                </a:solidFill>
                <a:effectLst/>
                <a:latin typeface="+mn-lt"/>
                <a:ea typeface="+mn-ea"/>
                <a:cs typeface="+mn-cs"/>
              </a:rPr>
              <a:t>collaborating and resolving stewardship tasks </a:t>
            </a:r>
            <a:r>
              <a:rPr lang="en-US" sz="1200" kern="1200" dirty="0">
                <a:solidFill>
                  <a:schemeClr val="tx1"/>
                </a:solidFill>
                <a:effectLst/>
                <a:latin typeface="+mn-lt"/>
                <a:ea typeface="+mn-ea"/>
                <a:cs typeface="+mn-cs"/>
              </a:rPr>
              <a:t>through corrective actions.  Each task assigned for stewardship review requires unique handling that could not be achieved through an automated matching process; therefore, </a:t>
            </a:r>
            <a:r>
              <a:rPr lang="en-US" sz="1200" b="1" kern="1200" dirty="0">
                <a:solidFill>
                  <a:schemeClr val="tx1"/>
                </a:solidFill>
                <a:effectLst/>
                <a:latin typeface="+mn-lt"/>
                <a:ea typeface="+mn-ea"/>
                <a:cs typeface="+mn-cs"/>
              </a:rPr>
              <a:t>stewardship activities are vital to building a culture of data health</a:t>
            </a:r>
            <a:r>
              <a:rPr lang="en-US" sz="1200" kern="1200" dirty="0">
                <a:solidFill>
                  <a:schemeClr val="tx1"/>
                </a:solidFill>
                <a:effectLst/>
                <a:latin typeface="+mn-lt"/>
                <a:ea typeface="+mn-ea"/>
                <a:cs typeface="+mn-cs"/>
              </a:rPr>
              <a:t>.  Talend Data Stewardship can display multiple sources of data within a single task, providing a complete view of that data across the organiz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ile some tasks simply need data correction, or enrichment, others may require a more in-depth review to determine the best course. Talend Data Stewardship shares a consistent set of functions for data manipulation and correction found across all Talend Data Fabric’s applications while </a:t>
            </a:r>
            <a:r>
              <a:rPr lang="en-US" sz="1200" b="1" kern="1200" dirty="0">
                <a:solidFill>
                  <a:schemeClr val="tx1"/>
                </a:solidFill>
                <a:effectLst/>
                <a:latin typeface="+mn-lt"/>
                <a:ea typeface="+mn-ea"/>
                <a:cs typeface="+mn-cs"/>
              </a:rPr>
              <a:t>stewardship-specific actions provide extreme flexibility</a:t>
            </a:r>
            <a:r>
              <a:rPr lang="en-US" sz="1200" kern="1200" dirty="0">
                <a:solidFill>
                  <a:schemeClr val="tx1"/>
                </a:solidFill>
                <a:effectLst/>
                <a:latin typeface="+mn-lt"/>
                <a:ea typeface="+mn-ea"/>
                <a:cs typeface="+mn-cs"/>
              </a:rPr>
              <a:t>.  In this case, I have determined that these records should not be linked at all and can proceed in splitting the records into their own entri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some cases, I may not be sure what the correct action should be.  In this case, I can </a:t>
            </a:r>
            <a:r>
              <a:rPr lang="en-US" sz="1200" b="1" kern="1200" dirty="0">
                <a:solidFill>
                  <a:schemeClr val="tx1"/>
                </a:solidFill>
                <a:effectLst/>
                <a:latin typeface="+mn-lt"/>
                <a:ea typeface="+mn-ea"/>
                <a:cs typeface="+mn-cs"/>
              </a:rPr>
              <a:t>review a full history of the task</a:t>
            </a:r>
            <a:r>
              <a:rPr lang="en-US" sz="1200" kern="1200" dirty="0">
                <a:solidFill>
                  <a:schemeClr val="tx1"/>
                </a:solidFill>
                <a:effectLst/>
                <a:latin typeface="+mn-lt"/>
                <a:ea typeface="+mn-ea"/>
                <a:cs typeface="+mn-cs"/>
              </a:rPr>
              <a:t>, including what previous actions have been taken on the data, who it has been assigned to and who has validated or rejected the corrections.  This full visibility ensures compliance, traceability and accountability within the stewardship team.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ce all my tasks have been resolved I can validate them and send them along the workflow for further review and approval, or simply straight into the cleansed datastor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t;END DEMO&g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w that my customer data has been fully vetted, it should be made available across the organization.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5D01A35E-B56C-4A23-BDDA-0C99421C58F5}" type="slidenum">
              <a:rPr lang="en-US" smtClean="0"/>
              <a:t>9</a:t>
            </a:fld>
            <a:endParaRPr lang="en-US"/>
          </a:p>
        </p:txBody>
      </p:sp>
    </p:spTree>
    <p:extLst>
      <p:ext uri="{BB962C8B-B14F-4D97-AF65-F5344CB8AC3E}">
        <p14:creationId xmlns:p14="http://schemas.microsoft.com/office/powerpoint/2010/main" val="3952964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5" Type="http://schemas.microsoft.com/office/2007/relationships/hdphoto" Target="../media/hdphoto2.wdp"/><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5" Type="http://schemas.microsoft.com/office/2007/relationships/hdphoto" Target="../media/hdphoto2.wdp"/><Relationship Id="rId4" Type="http://schemas.openxmlformats.org/officeDocument/2006/relationships/image" Target="../media/image3.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5" Type="http://schemas.microsoft.com/office/2007/relationships/hdphoto" Target="../media/hdphoto2.wdp"/><Relationship Id="rId4" Type="http://schemas.openxmlformats.org/officeDocument/2006/relationships/image" Target="../media/image3.pn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customXml" Target="../ink/ink5.xml"/><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1.emf"/></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5" Type="http://schemas.microsoft.com/office/2007/relationships/hdphoto" Target="../media/hdphoto2.wdp"/><Relationship Id="rId4" Type="http://schemas.openxmlformats.org/officeDocument/2006/relationships/image" Target="../media/image3.pn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3" Type="http://schemas.openxmlformats.org/officeDocument/2006/relationships/customXml" Target="../ink/ink6.xml"/><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1.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6.sv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7531181"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6016579" y="2019357"/>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5551891" y="5442395"/>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5551891" y="5367695"/>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spTree>
    <p:extLst>
      <p:ext uri="{BB962C8B-B14F-4D97-AF65-F5344CB8AC3E}">
        <p14:creationId xmlns:p14="http://schemas.microsoft.com/office/powerpoint/2010/main" val="365033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Oval 6">
            <a:extLst>
              <a:ext uri="{FF2B5EF4-FFF2-40B4-BE49-F238E27FC236}">
                <a16:creationId xmlns:a16="http://schemas.microsoft.com/office/drawing/2014/main" id="{26F17582-2F62-A148-8696-1C39223CE799}"/>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4117391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405548"/>
            <a:ext cx="11175769" cy="1325563"/>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227376047"/>
      </p:ext>
    </p:extLst>
  </p:cSld>
  <p:clrMapOvr>
    <a:masterClrMapping/>
  </p:clrMapOvr>
  <p:transition spd="slow">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cxnSp>
        <p:nvCxnSpPr>
          <p:cNvPr id="4" name="Straight Connector 3"/>
          <p:cNvCxnSpPr/>
          <p:nvPr/>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Tree>
    <p:extLst>
      <p:ext uri="{BB962C8B-B14F-4D97-AF65-F5344CB8AC3E}">
        <p14:creationId xmlns:p14="http://schemas.microsoft.com/office/powerpoint/2010/main" val="4017118795"/>
      </p:ext>
    </p:extLst>
  </p:cSld>
  <p:clrMapOvr>
    <a:masterClrMapping/>
  </p:clrMapOvr>
  <p:transition spd="slow">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17" name="Text Placeholder 5">
            <a:extLst>
              <a:ext uri="{FF2B5EF4-FFF2-40B4-BE49-F238E27FC236}">
                <a16:creationId xmlns:a16="http://schemas.microsoft.com/office/drawing/2014/main" id="{8177294B-20F5-9944-8235-D9BC3472029B}"/>
              </a:ext>
            </a:extLst>
          </p:cNvPr>
          <p:cNvSpPr>
            <a:spLocks noGrp="1"/>
          </p:cNvSpPr>
          <p:nvPr>
            <p:ph type="body" sz="quarter" idx="10" hasCustomPrompt="1"/>
          </p:nvPr>
        </p:nvSpPr>
        <p:spPr>
          <a:xfrm>
            <a:off x="50800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0" name="Text Placeholder 5">
            <a:extLst>
              <a:ext uri="{FF2B5EF4-FFF2-40B4-BE49-F238E27FC236}">
                <a16:creationId xmlns:a16="http://schemas.microsoft.com/office/drawing/2014/main" id="{16C83BD2-BF74-2E4E-9118-BF16B37E96A0}"/>
              </a:ext>
            </a:extLst>
          </p:cNvPr>
          <p:cNvSpPr>
            <a:spLocks noGrp="1"/>
          </p:cNvSpPr>
          <p:nvPr>
            <p:ph type="body" sz="quarter" idx="12" hasCustomPrompt="1"/>
          </p:nvPr>
        </p:nvSpPr>
        <p:spPr>
          <a:xfrm>
            <a:off x="4441373"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1" name="Text Placeholder 5">
            <a:extLst>
              <a:ext uri="{FF2B5EF4-FFF2-40B4-BE49-F238E27FC236}">
                <a16:creationId xmlns:a16="http://schemas.microsoft.com/office/drawing/2014/main" id="{AD62FC8A-5158-0848-B0E3-3DB4E95B21C7}"/>
              </a:ext>
            </a:extLst>
          </p:cNvPr>
          <p:cNvSpPr>
            <a:spLocks noGrp="1"/>
          </p:cNvSpPr>
          <p:nvPr>
            <p:ph type="body" sz="quarter" idx="14" hasCustomPrompt="1"/>
          </p:nvPr>
        </p:nvSpPr>
        <p:spPr>
          <a:xfrm>
            <a:off x="837051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Tree>
    <p:extLst>
      <p:ext uri="{BB962C8B-B14F-4D97-AF65-F5344CB8AC3E}">
        <p14:creationId xmlns:p14="http://schemas.microsoft.com/office/powerpoint/2010/main" val="1737046922"/>
      </p:ext>
    </p:extLst>
  </p:cSld>
  <p:clrMapOvr>
    <a:masterClrMapping/>
  </p:clrMapOvr>
  <p:transition spd="slow">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23" name="Text Placeholder 5">
            <a:extLst>
              <a:ext uri="{FF2B5EF4-FFF2-40B4-BE49-F238E27FC236}">
                <a16:creationId xmlns:a16="http://schemas.microsoft.com/office/drawing/2014/main" id="{2E2E8FF9-8E70-E84B-8E15-2BFB71256161}"/>
              </a:ext>
            </a:extLst>
          </p:cNvPr>
          <p:cNvSpPr>
            <a:spLocks noGrp="1"/>
          </p:cNvSpPr>
          <p:nvPr>
            <p:ph type="body" sz="quarter" idx="22" hasCustomPrompt="1"/>
          </p:nvPr>
        </p:nvSpPr>
        <p:spPr>
          <a:xfrm>
            <a:off x="617935"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 useBgFill="1">
        <p:nvSpPr>
          <p:cNvPr id="24" name="Text Placeholder 5">
            <a:extLst>
              <a:ext uri="{FF2B5EF4-FFF2-40B4-BE49-F238E27FC236}">
                <a16:creationId xmlns:a16="http://schemas.microsoft.com/office/drawing/2014/main" id="{FACAFBBD-ABF2-874C-B241-027A038A0576}"/>
              </a:ext>
            </a:extLst>
          </p:cNvPr>
          <p:cNvSpPr>
            <a:spLocks noGrp="1"/>
          </p:cNvSpPr>
          <p:nvPr>
            <p:ph type="body" sz="quarter" idx="23" hasCustomPrompt="1"/>
          </p:nvPr>
        </p:nvSpPr>
        <p:spPr>
          <a:xfrm>
            <a:off x="3484250"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5" name="Text Placeholder 5">
            <a:extLst>
              <a:ext uri="{FF2B5EF4-FFF2-40B4-BE49-F238E27FC236}">
                <a16:creationId xmlns:a16="http://schemas.microsoft.com/office/drawing/2014/main" id="{A49045D6-8BFC-B640-A296-C381BA776873}"/>
              </a:ext>
            </a:extLst>
          </p:cNvPr>
          <p:cNvSpPr>
            <a:spLocks noGrp="1"/>
          </p:cNvSpPr>
          <p:nvPr>
            <p:ph type="body" sz="quarter" idx="24" hasCustomPrompt="1"/>
          </p:nvPr>
        </p:nvSpPr>
        <p:spPr>
          <a:xfrm>
            <a:off x="6350564"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6" name="Text Placeholder 5">
            <a:extLst>
              <a:ext uri="{FF2B5EF4-FFF2-40B4-BE49-F238E27FC236}">
                <a16:creationId xmlns:a16="http://schemas.microsoft.com/office/drawing/2014/main" id="{528826DE-8AAC-D043-8029-3310BBA334FC}"/>
              </a:ext>
            </a:extLst>
          </p:cNvPr>
          <p:cNvSpPr>
            <a:spLocks noGrp="1"/>
          </p:cNvSpPr>
          <p:nvPr>
            <p:ph type="body" sz="quarter" idx="25" hasCustomPrompt="1"/>
          </p:nvPr>
        </p:nvSpPr>
        <p:spPr>
          <a:xfrm>
            <a:off x="9228612"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Tree>
    <p:extLst>
      <p:ext uri="{BB962C8B-B14F-4D97-AF65-F5344CB8AC3E}">
        <p14:creationId xmlns:p14="http://schemas.microsoft.com/office/powerpoint/2010/main" val="2484219163"/>
      </p:ext>
    </p:extLst>
  </p:cSld>
  <p:clrMapOvr>
    <a:masterClrMapping/>
  </p:clrMapOvr>
  <p:transition spd="slow">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chemeClr val="bg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3395206904"/>
      </p:ext>
    </p:extLst>
  </p:cSld>
  <p:clrMapOvr>
    <a:masterClrMapping/>
  </p:clrMapOvr>
  <p:transition spd="slow">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1F558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chemeClr val="accent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165271492"/>
      </p:ext>
    </p:extLst>
  </p:cSld>
  <p:clrMapOvr>
    <a:masterClrMapping/>
  </p:clrMapOvr>
  <p:transition spd="slow">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23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ashell BG">
    <p:bg>
      <p:bgPr>
        <a:solidFill>
          <a:schemeClr val="accent5"/>
        </a:solidFill>
        <a:effectLst/>
      </p:bgPr>
    </p:bg>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7E2036F5-128F-7A43-8E3A-F2190B6630C2}"/>
              </a:ext>
            </a:extLst>
          </p:cNvPr>
          <p:cNvGrpSpPr/>
          <p:nvPr userDrawn="1"/>
        </p:nvGrpSpPr>
        <p:grpSpPr>
          <a:xfrm>
            <a:off x="5551891" y="1"/>
            <a:ext cx="7959877" cy="7591636"/>
            <a:chOff x="7994577" y="0"/>
            <a:chExt cx="11462017" cy="10932307"/>
          </a:xfrm>
        </p:grpSpPr>
        <p:grpSp>
          <p:nvGrpSpPr>
            <p:cNvPr id="57" name="Circle">
              <a:extLst>
                <a:ext uri="{FF2B5EF4-FFF2-40B4-BE49-F238E27FC236}">
                  <a16:creationId xmlns:a16="http://schemas.microsoft.com/office/drawing/2014/main" id="{6F4F397A-9318-5A47-AD83-78DD3E6D5143}"/>
                </a:ext>
              </a:extLst>
            </p:cNvPr>
            <p:cNvGrpSpPr/>
            <p:nvPr userDrawn="1"/>
          </p:nvGrpSpPr>
          <p:grpSpPr>
            <a:xfrm>
              <a:off x="9956627" y="1432340"/>
              <a:ext cx="9499967" cy="9499967"/>
              <a:chOff x="5143500" y="742950"/>
              <a:chExt cx="4927600" cy="4927600"/>
            </a:xfrm>
          </p:grpSpPr>
          <p:sp>
            <p:nvSpPr>
              <p:cNvPr id="84" name="Oval 83">
                <a:extLst>
                  <a:ext uri="{FF2B5EF4-FFF2-40B4-BE49-F238E27FC236}">
                    <a16:creationId xmlns:a16="http://schemas.microsoft.com/office/drawing/2014/main" id="{0D2C09A5-66A0-B640-8A89-5D57816B5C37}"/>
                  </a:ext>
                </a:extLst>
              </p:cNvPr>
              <p:cNvSpPr/>
              <p:nvPr/>
            </p:nvSpPr>
            <p:spPr>
              <a:xfrm>
                <a:off x="5143500" y="742950"/>
                <a:ext cx="4927600" cy="4927600"/>
              </a:xfrm>
              <a:prstGeom prst="ellipse">
                <a:avLst/>
              </a:prstGeom>
              <a:blipFill dpi="0" rotWithShape="1">
                <a:blip r:embed="rId2">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85" name="Oval 84">
                <a:extLst>
                  <a:ext uri="{FF2B5EF4-FFF2-40B4-BE49-F238E27FC236}">
                    <a16:creationId xmlns:a16="http://schemas.microsoft.com/office/drawing/2014/main" id="{655C89A4-E5A5-9D4C-AA66-31192363D984}"/>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58" name="one lump">
              <a:extLst>
                <a:ext uri="{FF2B5EF4-FFF2-40B4-BE49-F238E27FC236}">
                  <a16:creationId xmlns:a16="http://schemas.microsoft.com/office/drawing/2014/main" id="{F18E86AC-3F7C-784F-86E5-16D89E8B552C}"/>
                </a:ext>
              </a:extLst>
            </p:cNvPr>
            <p:cNvGrpSpPr/>
            <p:nvPr userDrawn="1"/>
          </p:nvGrpSpPr>
          <p:grpSpPr>
            <a:xfrm rot="10800000">
              <a:off x="14016662" y="0"/>
              <a:ext cx="3562164" cy="4398387"/>
              <a:chOff x="2328672" y="2862072"/>
              <a:chExt cx="1847682" cy="2281428"/>
            </a:xfrm>
          </p:grpSpPr>
          <p:sp>
            <p:nvSpPr>
              <p:cNvPr id="82" name="Graphic 6" hidden="1">
                <a:extLst>
                  <a:ext uri="{FF2B5EF4-FFF2-40B4-BE49-F238E27FC236}">
                    <a16:creationId xmlns:a16="http://schemas.microsoft.com/office/drawing/2014/main" id="{82593997-1390-A24C-A103-338E3EF489A8}"/>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83" name="Graphic 6">
                <a:extLst>
                  <a:ext uri="{FF2B5EF4-FFF2-40B4-BE49-F238E27FC236}">
                    <a16:creationId xmlns:a16="http://schemas.microsoft.com/office/drawing/2014/main" id="{6B6A9E68-5302-424A-996C-3B21666C57C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59" name="streaks">
              <a:extLst>
                <a:ext uri="{FF2B5EF4-FFF2-40B4-BE49-F238E27FC236}">
                  <a16:creationId xmlns:a16="http://schemas.microsoft.com/office/drawing/2014/main" id="{0829B57B-1785-0149-B41D-82F2BF8A51E1}"/>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67" name="Graphic 2">
                <a:extLst>
                  <a:ext uri="{FF2B5EF4-FFF2-40B4-BE49-F238E27FC236}">
                    <a16:creationId xmlns:a16="http://schemas.microsoft.com/office/drawing/2014/main" id="{C48091C8-64A4-9D4C-B223-8D53BAEDFD6E}"/>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68" name="Graphic 2">
                <a:extLst>
                  <a:ext uri="{FF2B5EF4-FFF2-40B4-BE49-F238E27FC236}">
                    <a16:creationId xmlns:a16="http://schemas.microsoft.com/office/drawing/2014/main" id="{ECD15EB6-231A-7C4E-9AC2-C46EEB8EC948}"/>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69" name="Graphic 2">
                <a:extLst>
                  <a:ext uri="{FF2B5EF4-FFF2-40B4-BE49-F238E27FC236}">
                    <a16:creationId xmlns:a16="http://schemas.microsoft.com/office/drawing/2014/main" id="{1A87F180-2396-3F46-99D3-87F1D2B11DD3}"/>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70" name="Graphic 2">
                <a:extLst>
                  <a:ext uri="{FF2B5EF4-FFF2-40B4-BE49-F238E27FC236}">
                    <a16:creationId xmlns:a16="http://schemas.microsoft.com/office/drawing/2014/main" id="{79B400E3-0228-2A48-ABDC-D738C7AECA47}"/>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71" name="Graphic 2">
                <a:extLst>
                  <a:ext uri="{FF2B5EF4-FFF2-40B4-BE49-F238E27FC236}">
                    <a16:creationId xmlns:a16="http://schemas.microsoft.com/office/drawing/2014/main" id="{0A53F592-E792-FA47-B684-665A671E233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72" name="Graphic 2">
                <a:extLst>
                  <a:ext uri="{FF2B5EF4-FFF2-40B4-BE49-F238E27FC236}">
                    <a16:creationId xmlns:a16="http://schemas.microsoft.com/office/drawing/2014/main" id="{80694FB5-F709-9145-A389-F9C2CF43EAE9}"/>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73" name="Graphic 2">
                <a:extLst>
                  <a:ext uri="{FF2B5EF4-FFF2-40B4-BE49-F238E27FC236}">
                    <a16:creationId xmlns:a16="http://schemas.microsoft.com/office/drawing/2014/main" id="{4D124D94-9075-4E45-A003-D698A4D6ADC4}"/>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74" name="Graphic 2">
                <a:extLst>
                  <a:ext uri="{FF2B5EF4-FFF2-40B4-BE49-F238E27FC236}">
                    <a16:creationId xmlns:a16="http://schemas.microsoft.com/office/drawing/2014/main" id="{1D59CCFD-FB9C-3740-9F94-05222ABF7720}"/>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75" name="Graphic 2">
                <a:extLst>
                  <a:ext uri="{FF2B5EF4-FFF2-40B4-BE49-F238E27FC236}">
                    <a16:creationId xmlns:a16="http://schemas.microsoft.com/office/drawing/2014/main" id="{A50D94FC-CDAB-8541-96C1-7130E4BE394C}"/>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76" name="Graphic 2">
                <a:extLst>
                  <a:ext uri="{FF2B5EF4-FFF2-40B4-BE49-F238E27FC236}">
                    <a16:creationId xmlns:a16="http://schemas.microsoft.com/office/drawing/2014/main" id="{53ECF351-78F4-9F4A-99E7-C5A34EA25EE1}"/>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77" name="Graphic 2">
                <a:extLst>
                  <a:ext uri="{FF2B5EF4-FFF2-40B4-BE49-F238E27FC236}">
                    <a16:creationId xmlns:a16="http://schemas.microsoft.com/office/drawing/2014/main" id="{CF96F85C-3FE9-1642-9F0B-6A98CFC6EA00}"/>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78" name="Graphic 2">
                <a:extLst>
                  <a:ext uri="{FF2B5EF4-FFF2-40B4-BE49-F238E27FC236}">
                    <a16:creationId xmlns:a16="http://schemas.microsoft.com/office/drawing/2014/main" id="{95BC99DF-A478-874D-AF08-EB8DB37EE68E}"/>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79" name="Graphic 2">
                <a:extLst>
                  <a:ext uri="{FF2B5EF4-FFF2-40B4-BE49-F238E27FC236}">
                    <a16:creationId xmlns:a16="http://schemas.microsoft.com/office/drawing/2014/main" id="{E5557E15-F214-4E4D-8C71-5764DCA1E19B}"/>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80" name="Graphic 2">
                <a:extLst>
                  <a:ext uri="{FF2B5EF4-FFF2-40B4-BE49-F238E27FC236}">
                    <a16:creationId xmlns:a16="http://schemas.microsoft.com/office/drawing/2014/main" id="{6235E861-C55E-0F49-8887-2068AB2B9FDC}"/>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81" name="Graphic 2">
                <a:extLst>
                  <a:ext uri="{FF2B5EF4-FFF2-40B4-BE49-F238E27FC236}">
                    <a16:creationId xmlns:a16="http://schemas.microsoft.com/office/drawing/2014/main" id="{94F15CB0-94C4-6B45-9459-77B215B476DC}"/>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0" name="Graphic 56">
              <a:extLst>
                <a:ext uri="{FF2B5EF4-FFF2-40B4-BE49-F238E27FC236}">
                  <a16:creationId xmlns:a16="http://schemas.microsoft.com/office/drawing/2014/main" id="{A146D7CC-8773-B34C-9B46-599AFE1FABC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1" name="Graphic 61">
              <a:extLst>
                <a:ext uri="{FF2B5EF4-FFF2-40B4-BE49-F238E27FC236}">
                  <a16:creationId xmlns:a16="http://schemas.microsoft.com/office/drawing/2014/main" id="{301B2ACB-C05B-C04E-BE15-0576F546C9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62" name="4 Xs">
              <a:extLst>
                <a:ext uri="{FF2B5EF4-FFF2-40B4-BE49-F238E27FC236}">
                  <a16:creationId xmlns:a16="http://schemas.microsoft.com/office/drawing/2014/main" id="{DB050E3C-4B92-B348-B6BD-0215DB9E6E64}"/>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63" name="Graphic 37">
                <a:extLst>
                  <a:ext uri="{FF2B5EF4-FFF2-40B4-BE49-F238E27FC236}">
                    <a16:creationId xmlns:a16="http://schemas.microsoft.com/office/drawing/2014/main" id="{49DCBB61-C991-A843-97B7-6448FD09195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64" name="Graphic 37">
                <a:extLst>
                  <a:ext uri="{FF2B5EF4-FFF2-40B4-BE49-F238E27FC236}">
                    <a16:creationId xmlns:a16="http://schemas.microsoft.com/office/drawing/2014/main" id="{1D3D5D7A-95C6-F847-A257-60BA7CDC76C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65" name="Graphic 37">
                <a:extLst>
                  <a:ext uri="{FF2B5EF4-FFF2-40B4-BE49-F238E27FC236}">
                    <a16:creationId xmlns:a16="http://schemas.microsoft.com/office/drawing/2014/main" id="{895EE3BC-B130-854C-BC3D-A7F4FE30CB4F}"/>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66" name="Graphic 37">
                <a:extLst>
                  <a:ext uri="{FF2B5EF4-FFF2-40B4-BE49-F238E27FC236}">
                    <a16:creationId xmlns:a16="http://schemas.microsoft.com/office/drawing/2014/main" id="{95FEACF9-FB13-D54A-AEBB-4C1F25144E7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23443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grpSp>
        <p:nvGrpSpPr>
          <p:cNvPr id="23" name="waves">
            <a:extLst>
              <a:ext uri="{FF2B5EF4-FFF2-40B4-BE49-F238E27FC236}">
                <a16:creationId xmlns:a16="http://schemas.microsoft.com/office/drawing/2014/main" id="{78FF047B-042B-184B-98A9-4D6759BB8D55}"/>
              </a:ext>
            </a:extLst>
          </p:cNvPr>
          <p:cNvGrpSpPr/>
          <p:nvPr userDrawn="1"/>
        </p:nvGrpSpPr>
        <p:grpSpPr>
          <a:xfrm>
            <a:off x="-1566254" y="5170549"/>
            <a:ext cx="17037436" cy="1687452"/>
            <a:chOff x="4253152" y="151074"/>
            <a:chExt cx="6930220" cy="2076330"/>
          </a:xfrm>
        </p:grpSpPr>
        <p:sp>
          <p:nvSpPr>
            <p:cNvPr id="24" name="coral">
              <a:extLst>
                <a:ext uri="{FF2B5EF4-FFF2-40B4-BE49-F238E27FC236}">
                  <a16:creationId xmlns:a16="http://schemas.microsoft.com/office/drawing/2014/main" id="{3B3E6D26-CD9B-EE47-8932-6B0B3B8BF33C}"/>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5" name="green">
              <a:extLst>
                <a:ext uri="{FF2B5EF4-FFF2-40B4-BE49-F238E27FC236}">
                  <a16:creationId xmlns:a16="http://schemas.microsoft.com/office/drawing/2014/main" id="{70A4A9C1-D410-7B49-9F90-4736A2E50A0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475184103"/>
      </p:ext>
    </p:extLst>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9268B40-4CED-5446-BECA-119CE8F3CD72}"/>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8" name="3 Xs">
            <a:extLst>
              <a:ext uri="{FF2B5EF4-FFF2-40B4-BE49-F238E27FC236}">
                <a16:creationId xmlns:a16="http://schemas.microsoft.com/office/drawing/2014/main" id="{41CADA79-152E-724D-8B57-FD7B7338D609}"/>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048E5BB7-1C8E-6C4D-B676-D37BA28DDBD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10" name="Freeform 9">
              <a:extLst>
                <a:ext uri="{FF2B5EF4-FFF2-40B4-BE49-F238E27FC236}">
                  <a16:creationId xmlns:a16="http://schemas.microsoft.com/office/drawing/2014/main" id="{2D574E84-0116-584A-8A38-A4721963F891}"/>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11" name="Freeform 10">
              <a:extLst>
                <a:ext uri="{FF2B5EF4-FFF2-40B4-BE49-F238E27FC236}">
                  <a16:creationId xmlns:a16="http://schemas.microsoft.com/office/drawing/2014/main" id="{BB7A9C06-6BC6-A345-80A2-F3C9B691A533}"/>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278615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waves">
            <a:extLst>
              <a:ext uri="{FF2B5EF4-FFF2-40B4-BE49-F238E27FC236}">
                <a16:creationId xmlns:a16="http://schemas.microsoft.com/office/drawing/2014/main" id="{39616EB5-6B04-604F-BAC6-C005AC2B886C}"/>
              </a:ext>
            </a:extLst>
          </p:cNvPr>
          <p:cNvGrpSpPr/>
          <p:nvPr userDrawn="1"/>
        </p:nvGrpSpPr>
        <p:grpSpPr>
          <a:xfrm>
            <a:off x="-1566254" y="5170549"/>
            <a:ext cx="17037436" cy="1687452"/>
            <a:chOff x="4253152" y="151074"/>
            <a:chExt cx="6930220" cy="2076330"/>
          </a:xfrm>
        </p:grpSpPr>
        <p:sp>
          <p:nvSpPr>
            <p:cNvPr id="21" name="coral">
              <a:extLst>
                <a:ext uri="{FF2B5EF4-FFF2-40B4-BE49-F238E27FC236}">
                  <a16:creationId xmlns:a16="http://schemas.microsoft.com/office/drawing/2014/main" id="{E3EF3A70-98AF-2E48-BCCD-D3F505097C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4C75630-123C-354A-90FC-64179A7F0B81}"/>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6032549" y="53553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268634130"/>
      </p:ext>
    </p:extLst>
  </p:cSld>
  <p:clrMapOvr>
    <a:masterClrMapping/>
  </p:clrMapOvr>
  <p:transition spd="slow">
    <p:wipe dir="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5" name="Oval 64">
            <a:extLst>
              <a:ext uri="{FF2B5EF4-FFF2-40B4-BE49-F238E27FC236}">
                <a16:creationId xmlns:a16="http://schemas.microsoft.com/office/drawing/2014/main" id="{A67F92C1-226B-D34B-8F57-77A1E9414682}"/>
              </a:ext>
            </a:extLst>
          </p:cNvPr>
          <p:cNvSpPr/>
          <p:nvPr userDrawn="1"/>
        </p:nvSpPr>
        <p:spPr>
          <a:xfrm>
            <a:off x="6920522" y="976171"/>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32" name="waves">
            <a:extLst>
              <a:ext uri="{FF2B5EF4-FFF2-40B4-BE49-F238E27FC236}">
                <a16:creationId xmlns:a16="http://schemas.microsoft.com/office/drawing/2014/main" id="{B3697C6D-79F7-AC41-BFF3-CCAEC86A9EF9}"/>
              </a:ext>
            </a:extLst>
          </p:cNvPr>
          <p:cNvGrpSpPr/>
          <p:nvPr userDrawn="1"/>
        </p:nvGrpSpPr>
        <p:grpSpPr>
          <a:xfrm>
            <a:off x="6096001" y="4542732"/>
            <a:ext cx="7779727" cy="2330729"/>
            <a:chOff x="4253152" y="151074"/>
            <a:chExt cx="6930220" cy="2076330"/>
          </a:xfrm>
        </p:grpSpPr>
        <p:sp>
          <p:nvSpPr>
            <p:cNvPr id="33" name="coral">
              <a:extLst>
                <a:ext uri="{FF2B5EF4-FFF2-40B4-BE49-F238E27FC236}">
                  <a16:creationId xmlns:a16="http://schemas.microsoft.com/office/drawing/2014/main" id="{D4BABF9B-7D7A-F042-B042-23A66D30317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4" name="green">
              <a:extLst>
                <a:ext uri="{FF2B5EF4-FFF2-40B4-BE49-F238E27FC236}">
                  <a16:creationId xmlns:a16="http://schemas.microsoft.com/office/drawing/2014/main" id="{33243E7D-BA9B-7F45-AEC0-0F2863FB31C7}"/>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744852724"/>
      </p:ext>
    </p:extLst>
  </p:cSld>
  <p:clrMapOvr>
    <a:masterClrMapping/>
  </p:clrMapOvr>
  <p:transition spd="slow">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8" name="waves">
            <a:extLst>
              <a:ext uri="{FF2B5EF4-FFF2-40B4-BE49-F238E27FC236}">
                <a16:creationId xmlns:a16="http://schemas.microsoft.com/office/drawing/2014/main" id="{E555CF5C-748A-CE43-8182-BD26B45F50E8}"/>
              </a:ext>
            </a:extLst>
          </p:cNvPr>
          <p:cNvGrpSpPr/>
          <p:nvPr userDrawn="1"/>
        </p:nvGrpSpPr>
        <p:grpSpPr>
          <a:xfrm>
            <a:off x="6096001" y="4542732"/>
            <a:ext cx="7779727" cy="2330729"/>
            <a:chOff x="4253152" y="151074"/>
            <a:chExt cx="6930220" cy="2076330"/>
          </a:xfrm>
        </p:grpSpPr>
        <p:sp>
          <p:nvSpPr>
            <p:cNvPr id="49" name="coral">
              <a:extLst>
                <a:ext uri="{FF2B5EF4-FFF2-40B4-BE49-F238E27FC236}">
                  <a16:creationId xmlns:a16="http://schemas.microsoft.com/office/drawing/2014/main" id="{DED7FFEF-61C3-444A-B7CB-C47A60D8543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50" name="green">
              <a:extLst>
                <a:ext uri="{FF2B5EF4-FFF2-40B4-BE49-F238E27FC236}">
                  <a16:creationId xmlns:a16="http://schemas.microsoft.com/office/drawing/2014/main" id="{129EAA55-280A-E044-A52E-E0E15738E950}"/>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0" y="174"/>
            <a:ext cx="6391683" cy="6857657"/>
            <a:chOff x="8352309" y="248"/>
            <a:chExt cx="9203857" cy="9875345"/>
          </a:xfrm>
        </p:grpSpPr>
        <p:sp>
          <p:nvSpPr>
            <p:cNvPr id="22" name="Leaner">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sp>
          <p:nvSpPr>
            <p:cNvPr id="27" name="Graphic 6">
              <a:extLst>
                <a:ext uri="{FF2B5EF4-FFF2-40B4-BE49-F238E27FC236}">
                  <a16:creationId xmlns:a16="http://schemas.microsoft.com/office/drawing/2014/main" id="{24B07B6C-2ED5-8846-AC61-257D0BEB18BB}"/>
                </a:ext>
              </a:extLst>
            </p:cNvPr>
            <p:cNvSpPr/>
            <p:nvPr userDrawn="1"/>
          </p:nvSpPr>
          <p:spPr>
            <a:xfrm rot="10800000">
              <a:off x="14008676" y="248"/>
              <a:ext cx="3547485" cy="4380263"/>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2">
                <a:alphaModFix amt="1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4608" dirty="0"/>
            </a:p>
          </p:txBody>
        </p:sp>
        <p:grpSp>
          <p:nvGrpSpPr>
            <p:cNvPr id="28" name="Group 27">
              <a:extLst>
                <a:ext uri="{FF2B5EF4-FFF2-40B4-BE49-F238E27FC236}">
                  <a16:creationId xmlns:a16="http://schemas.microsoft.com/office/drawing/2014/main" id="{57235399-C95B-1943-B9EF-860E65AFDD01}"/>
                </a:ext>
              </a:extLst>
            </p:cNvPr>
            <p:cNvGrpSpPr/>
            <p:nvPr userDrawn="1"/>
          </p:nvGrpSpPr>
          <p:grpSpPr>
            <a:xfrm>
              <a:off x="14900230" y="913506"/>
              <a:ext cx="1268724" cy="1016526"/>
              <a:chOff x="14900230" y="913506"/>
              <a:chExt cx="1268724" cy="1016526"/>
            </a:xfrm>
            <a:solidFill>
              <a:schemeClr val="accent5">
                <a:alpha val="15223"/>
              </a:schemeClr>
            </a:solidFill>
          </p:grpSpPr>
          <p:sp>
            <p:nvSpPr>
              <p:cNvPr id="39" name="Freeform 38">
                <a:extLst>
                  <a:ext uri="{FF2B5EF4-FFF2-40B4-BE49-F238E27FC236}">
                    <a16:creationId xmlns:a16="http://schemas.microsoft.com/office/drawing/2014/main" id="{5B5C8F91-AF88-874B-9D3A-24B6B89475B0}"/>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40" name="Freeform 39">
                <a:extLst>
                  <a:ext uri="{FF2B5EF4-FFF2-40B4-BE49-F238E27FC236}">
                    <a16:creationId xmlns:a16="http://schemas.microsoft.com/office/drawing/2014/main" id="{B6609D64-423C-DC43-BAD9-388F8D5BEB88}"/>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41" name="Freeform 40">
                <a:extLst>
                  <a:ext uri="{FF2B5EF4-FFF2-40B4-BE49-F238E27FC236}">
                    <a16:creationId xmlns:a16="http://schemas.microsoft.com/office/drawing/2014/main" id="{BD6BAF1C-7522-754B-B806-5C8F99B9050F}"/>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29" name="Group 28">
              <a:extLst>
                <a:ext uri="{FF2B5EF4-FFF2-40B4-BE49-F238E27FC236}">
                  <a16:creationId xmlns:a16="http://schemas.microsoft.com/office/drawing/2014/main" id="{B9821EA1-C321-4246-A6D2-DACB94F87897}"/>
                </a:ext>
              </a:extLst>
            </p:cNvPr>
            <p:cNvGrpSpPr/>
            <p:nvPr userDrawn="1"/>
          </p:nvGrpSpPr>
          <p:grpSpPr>
            <a:xfrm>
              <a:off x="15782242" y="1613278"/>
              <a:ext cx="1036054" cy="2188200"/>
              <a:chOff x="15782242" y="1613278"/>
              <a:chExt cx="1036054" cy="2188200"/>
            </a:xfrm>
          </p:grpSpPr>
          <p:sp>
            <p:nvSpPr>
              <p:cNvPr id="36" name="Graphic 43">
                <a:extLst>
                  <a:ext uri="{FF2B5EF4-FFF2-40B4-BE49-F238E27FC236}">
                    <a16:creationId xmlns:a16="http://schemas.microsoft.com/office/drawing/2014/main" id="{6FD28292-19D6-944A-ADB4-2DC046E6FDCE}"/>
                  </a:ext>
                </a:extLst>
              </p:cNvPr>
              <p:cNvSpPr/>
              <p:nvPr userDrawn="1"/>
            </p:nvSpPr>
            <p:spPr>
              <a:xfrm>
                <a:off x="15782242" y="1613278"/>
                <a:ext cx="225014" cy="2188200"/>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7" name="Graphic 43">
                <a:extLst>
                  <a:ext uri="{FF2B5EF4-FFF2-40B4-BE49-F238E27FC236}">
                    <a16:creationId xmlns:a16="http://schemas.microsoft.com/office/drawing/2014/main" id="{35FAB3DF-38A8-3F43-B269-6CFA1F7B25A6}"/>
                  </a:ext>
                </a:extLst>
              </p:cNvPr>
              <p:cNvSpPr/>
              <p:nvPr userDrawn="1"/>
            </p:nvSpPr>
            <p:spPr>
              <a:xfrm>
                <a:off x="16187762" y="1736380"/>
                <a:ext cx="225014" cy="2065098"/>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8" name="Graphic 43">
                <a:extLst>
                  <a:ext uri="{FF2B5EF4-FFF2-40B4-BE49-F238E27FC236}">
                    <a16:creationId xmlns:a16="http://schemas.microsoft.com/office/drawing/2014/main" id="{59FFEE35-F625-1F42-9CC5-050597A6730D}"/>
                  </a:ext>
                </a:extLst>
              </p:cNvPr>
              <p:cNvSpPr/>
              <p:nvPr userDrawn="1"/>
            </p:nvSpPr>
            <p:spPr>
              <a:xfrm>
                <a:off x="16593280" y="1897677"/>
                <a:ext cx="225016" cy="190380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gr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3935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4" name="waves">
            <a:extLst>
              <a:ext uri="{FF2B5EF4-FFF2-40B4-BE49-F238E27FC236}">
                <a16:creationId xmlns:a16="http://schemas.microsoft.com/office/drawing/2014/main" id="{2063CD0F-C9EB-3C44-9748-EA1260C4D8A4}"/>
              </a:ext>
            </a:extLst>
          </p:cNvPr>
          <p:cNvGrpSpPr/>
          <p:nvPr userDrawn="1"/>
        </p:nvGrpSpPr>
        <p:grpSpPr>
          <a:xfrm>
            <a:off x="-1566254" y="5170549"/>
            <a:ext cx="17037436" cy="1687452"/>
            <a:chOff x="4253152" y="151074"/>
            <a:chExt cx="6930220" cy="2076330"/>
          </a:xfrm>
        </p:grpSpPr>
        <p:sp>
          <p:nvSpPr>
            <p:cNvPr id="25" name="coral">
              <a:extLst>
                <a:ext uri="{FF2B5EF4-FFF2-40B4-BE49-F238E27FC236}">
                  <a16:creationId xmlns:a16="http://schemas.microsoft.com/office/drawing/2014/main" id="{E135005D-56A8-C644-9F2A-FE8BF5E183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6" name="green">
              <a:extLst>
                <a:ext uri="{FF2B5EF4-FFF2-40B4-BE49-F238E27FC236}">
                  <a16:creationId xmlns:a16="http://schemas.microsoft.com/office/drawing/2014/main" id="{26519B29-1185-F047-B6D7-88E348CE352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217312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9F543-4184-3E4F-9977-55C81E78063A}"/>
              </a:ext>
            </a:extLst>
          </p:cNvPr>
          <p:cNvGrpSpPr/>
          <p:nvPr userDrawn="1"/>
        </p:nvGrpSpPr>
        <p:grpSpPr>
          <a:xfrm>
            <a:off x="-733314" y="5049600"/>
            <a:ext cx="19125951" cy="1808401"/>
            <a:chOff x="7994577" y="7729729"/>
            <a:chExt cx="9753466" cy="2185140"/>
          </a:xfrm>
        </p:grpSpPr>
        <p:sp>
          <p:nvSpPr>
            <p:cNvPr id="5" name="Graphic 56">
              <a:extLst>
                <a:ext uri="{FF2B5EF4-FFF2-40B4-BE49-F238E27FC236}">
                  <a16:creationId xmlns:a16="http://schemas.microsoft.com/office/drawing/2014/main" id="{D7489825-F018-3B4F-8E18-461B40E9925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 name="Graphic 61">
              <a:extLst>
                <a:ext uri="{FF2B5EF4-FFF2-40B4-BE49-F238E27FC236}">
                  <a16:creationId xmlns:a16="http://schemas.microsoft.com/office/drawing/2014/main" id="{11B6F687-57A9-2742-9150-64E0A457153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86666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pic>
        <p:nvPicPr>
          <p:cNvPr id="41" name="wave pattern" descr="A picture containing nature, dune&#10;&#10;Description automatically generated">
            <a:extLst>
              <a:ext uri="{FF2B5EF4-FFF2-40B4-BE49-F238E27FC236}">
                <a16:creationId xmlns:a16="http://schemas.microsoft.com/office/drawing/2014/main" id="{FEA6B481-BC84-A24D-857C-DFC0F3E0055E}"/>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76368893"/>
      </p:ext>
    </p:extLst>
  </p:cSld>
  <p:clrMapOvr>
    <a:masterClrMapping/>
  </p:clrMapOvr>
  <p:transition spd="slow">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pic>
        <p:nvPicPr>
          <p:cNvPr id="77" name="wave pattern" descr="A picture containing nature, dune&#10;&#10;Description automatically generated">
            <a:extLst>
              <a:ext uri="{FF2B5EF4-FFF2-40B4-BE49-F238E27FC236}">
                <a16:creationId xmlns:a16="http://schemas.microsoft.com/office/drawing/2014/main" id="{431210A4-7017-1C43-B12A-A6086FB5EFA8}"/>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7" name="Slide Number Placeholder 5">
            <a:extLst>
              <a:ext uri="{FF2B5EF4-FFF2-40B4-BE49-F238E27FC236}">
                <a16:creationId xmlns:a16="http://schemas.microsoft.com/office/drawing/2014/main" id="{02FFEA81-BB5A-E84B-8FBF-DF8658B0DFEC}"/>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sp>
        <p:nvSpPr>
          <p:cNvPr id="8" name="Slide Number Placeholder 5">
            <a:extLst>
              <a:ext uri="{FF2B5EF4-FFF2-40B4-BE49-F238E27FC236}">
                <a16:creationId xmlns:a16="http://schemas.microsoft.com/office/drawing/2014/main" id="{1E1766E1-6F1F-2E40-8922-5A29D6162A58}"/>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0"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2"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4"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Tree>
    <p:extLst>
      <p:ext uri="{BB962C8B-B14F-4D97-AF65-F5344CB8AC3E}">
        <p14:creationId xmlns:p14="http://schemas.microsoft.com/office/powerpoint/2010/main" val="1201462976"/>
      </p:ext>
    </p:extLst>
  </p:cSld>
  <p:clrMapOvr>
    <a:masterClrMapping/>
  </p:clrMapOvr>
  <p:transition spd="slow">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Engage Quote">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5" name="Rectangle 4">
            <a:extLst>
              <a:ext uri="{FF2B5EF4-FFF2-40B4-BE49-F238E27FC236}">
                <a16:creationId xmlns:a16="http://schemas.microsoft.com/office/drawing/2014/main" id="{CDEB7964-C5EE-104E-AB73-ECD369064086}"/>
              </a:ext>
            </a:extLst>
          </p:cNvPr>
          <p:cNvSpPr/>
          <p:nvPr userDrawn="1"/>
        </p:nvSpPr>
        <p:spPr>
          <a:xfrm>
            <a:off x="3314701"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Freeform: Shape 35">
            <a:extLst>
              <a:ext uri="{FF2B5EF4-FFF2-40B4-BE49-F238E27FC236}">
                <a16:creationId xmlns:a16="http://schemas.microsoft.com/office/drawing/2014/main" id="{3E06244D-399D-C244-BD04-78D56B482FA2}"/>
              </a:ext>
            </a:extLst>
          </p:cNvPr>
          <p:cNvSpPr/>
          <p:nvPr userDrawn="1"/>
        </p:nvSpPr>
        <p:spPr>
          <a:xfrm>
            <a:off x="-4951714" y="-193154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10000">
                <a:schemeClr val="tx1">
                  <a:alpha val="0"/>
                </a:schemeClr>
              </a:gs>
              <a:gs pos="100000">
                <a:schemeClr val="tx1">
                  <a:lumMod val="60000"/>
                  <a:lumOff val="40000"/>
                  <a:alpha val="30000"/>
                </a:schemeClr>
              </a:gs>
            </a:gsLst>
            <a:lin ang="10800000" scaled="1"/>
            <a:tileRect/>
          </a:gradFill>
          <a:ln w="2358" cap="flat">
            <a:noFill/>
            <a:prstDash val="solid"/>
            <a:miter/>
          </a:ln>
        </p:spPr>
        <p:txBody>
          <a:bodyPr rtlCol="0" anchor="ctr"/>
          <a:lstStyle/>
          <a:p>
            <a:endParaRPr lang="en-US" sz="2400"/>
          </a:p>
        </p:txBody>
      </p:sp>
      <p:sp>
        <p:nvSpPr>
          <p:cNvPr id="8" name="Rectangle 7">
            <a:extLst>
              <a:ext uri="{FF2B5EF4-FFF2-40B4-BE49-F238E27FC236}">
                <a16:creationId xmlns:a16="http://schemas.microsoft.com/office/drawing/2014/main" id="{878F7EAB-5EEF-5843-8277-AF186213EFF8}"/>
              </a:ext>
            </a:extLst>
          </p:cNvPr>
          <p:cNvSpPr/>
          <p:nvPr userDrawn="1"/>
        </p:nvSpPr>
        <p:spPr>
          <a:xfrm>
            <a:off x="2197099" y="-4099035"/>
            <a:ext cx="7810501"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77">
              <a:spcBef>
                <a:spcPct val="0"/>
              </a:spcBef>
            </a:pPr>
            <a:r>
              <a:rPr lang="en-GB" sz="3200" b="1" i="0" dirty="0">
                <a:solidFill>
                  <a:schemeClr val="tx2"/>
                </a:solidFill>
                <a:latin typeface="Source Sans Pro" panose="020B0503030403020204" pitchFamily="34" charset="0"/>
                <a:ea typeface="+mj-ea"/>
                <a:cs typeface="+mj-cs"/>
              </a:rPr>
              <a:t>Building a foundation for...</a:t>
            </a:r>
            <a:endParaRPr lang="en-US" sz="3200" b="1" i="0" dirty="0">
              <a:solidFill>
                <a:schemeClr val="tx2"/>
              </a:solidFill>
              <a:latin typeface="Source Sans Pro" panose="020B0503030403020204" pitchFamily="34" charset="0"/>
              <a:ea typeface="+mj-ea"/>
              <a:cs typeface="+mj-cs"/>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72EDE628-C243-344C-A7A9-A7B75D33690A}"/>
                  </a:ext>
                </a:extLst>
              </p14:cNvPr>
              <p14:cNvContentPartPr/>
              <p14:nvPr userDrawn="1"/>
            </p14:nvContentPartPr>
            <p14:xfrm>
              <a:off x="-5605893" y="439840"/>
              <a:ext cx="480" cy="480"/>
            </p14:xfrm>
          </p:contentPart>
        </mc:Choice>
        <mc:Fallback xmlns="">
          <p:pic>
            <p:nvPicPr>
              <p:cNvPr id="9" name="Ink 8">
                <a:extLst>
                  <a:ext uri="{FF2B5EF4-FFF2-40B4-BE49-F238E27FC236}">
                    <a16:creationId xmlns:a16="http://schemas.microsoft.com/office/drawing/2014/main" id="{72EDE628-C243-344C-A7A9-A7B75D33690A}"/>
                  </a:ext>
                </a:extLst>
              </p:cNvPr>
              <p:cNvPicPr/>
              <p:nvPr/>
            </p:nvPicPr>
            <p:blipFill>
              <a:blip r:embed="rId4"/>
              <a:stretch>
                <a:fillRect/>
              </a:stretch>
            </p:blipFill>
            <p:spPr>
              <a:xfrm>
                <a:off x="-5617893" y="427840"/>
                <a:ext cx="24000" cy="24000"/>
              </a:xfrm>
              <a:prstGeom prst="rect">
                <a:avLst/>
              </a:prstGeom>
            </p:spPr>
          </p:pic>
        </mc:Fallback>
      </mc:AlternateContent>
      <p:sp>
        <p:nvSpPr>
          <p:cNvPr id="31" name="TITLE">
            <a:extLst>
              <a:ext uri="{FF2B5EF4-FFF2-40B4-BE49-F238E27FC236}">
                <a16:creationId xmlns:a16="http://schemas.microsoft.com/office/drawing/2014/main" id="{0DE24C69-53C3-AE48-B542-909C6ABD56BF}"/>
              </a:ext>
            </a:extLst>
          </p:cNvPr>
          <p:cNvSpPr>
            <a:spLocks noGrp="1"/>
          </p:cNvSpPr>
          <p:nvPr>
            <p:ph type="body" sz="quarter" idx="12" hasCustomPrompt="1"/>
          </p:nvPr>
        </p:nvSpPr>
        <p:spPr>
          <a:xfrm>
            <a:off x="4229099" y="5432171"/>
            <a:ext cx="7454901" cy="533400"/>
          </a:xfrm>
        </p:spPr>
        <p:txBody>
          <a:bodyPr/>
          <a:lstStyle>
            <a:lvl1pPr>
              <a:defRPr b="1" i="0">
                <a:solidFill>
                  <a:schemeClr val="tx2"/>
                </a:solidFill>
                <a:latin typeface="Source Sans Pro Semibold" panose="020B0503030403020204" pitchFamily="34" charset="0"/>
                <a:ea typeface="Source Sans Pro Semibold" panose="020B0503030403020204" pitchFamily="34" charset="0"/>
              </a:defRPr>
            </a:lvl1pPr>
          </a:lstStyle>
          <a:p>
            <a:pPr lvl="0"/>
            <a:r>
              <a:rPr lang="en-US" dirty="0"/>
              <a:t>— Name, Title</a:t>
            </a:r>
          </a:p>
        </p:txBody>
      </p:sp>
      <p:sp>
        <p:nvSpPr>
          <p:cNvPr id="17" name="Title 1">
            <a:extLst>
              <a:ext uri="{FF2B5EF4-FFF2-40B4-BE49-F238E27FC236}">
                <a16:creationId xmlns:a16="http://schemas.microsoft.com/office/drawing/2014/main" id="{75015F69-F9C8-9540-AF88-3152FE5DD6D4}"/>
              </a:ext>
            </a:extLst>
          </p:cNvPr>
          <p:cNvSpPr txBox="1">
            <a:spLocks/>
          </p:cNvSpPr>
          <p:nvPr userDrawn="1"/>
        </p:nvSpPr>
        <p:spPr>
          <a:xfrm>
            <a:off x="4115904" y="1063410"/>
            <a:ext cx="760897" cy="1323439"/>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8000" dirty="0">
                <a:solidFill>
                  <a:srgbClr val="FF6D70"/>
                </a:solidFill>
                <a:latin typeface="+mn-lt"/>
              </a:rPr>
              <a:t>“</a:t>
            </a:r>
            <a:endParaRPr lang="en-US" sz="9600" dirty="0">
              <a:solidFill>
                <a:srgbClr val="FF6D70"/>
              </a:solidFill>
              <a:latin typeface="+mn-lt"/>
            </a:endParaRPr>
          </a:p>
        </p:txBody>
      </p:sp>
      <p:sp>
        <p:nvSpPr>
          <p:cNvPr id="18" name="Oval 17">
            <a:extLst>
              <a:ext uri="{FF2B5EF4-FFF2-40B4-BE49-F238E27FC236}">
                <a16:creationId xmlns:a16="http://schemas.microsoft.com/office/drawing/2014/main" id="{200E090A-065F-BC41-9689-182CD87141CD}"/>
              </a:ext>
            </a:extLst>
          </p:cNvPr>
          <p:cNvSpPr/>
          <p:nvPr userDrawn="1"/>
        </p:nvSpPr>
        <p:spPr>
          <a:xfrm>
            <a:off x="3822701" y="641667"/>
            <a:ext cx="1384300" cy="1384300"/>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w="12700">
                <a:solidFill>
                  <a:srgbClr val="FF6D70"/>
                </a:solidFill>
              </a:ln>
              <a:noFill/>
              <a:latin typeface="+mn-lt"/>
            </a:endParaRPr>
          </a:p>
        </p:txBody>
      </p:sp>
      <p:sp>
        <p:nvSpPr>
          <p:cNvPr id="27" name="QUOTE">
            <a:extLst>
              <a:ext uri="{FF2B5EF4-FFF2-40B4-BE49-F238E27FC236}">
                <a16:creationId xmlns:a16="http://schemas.microsoft.com/office/drawing/2014/main" id="{9D7187EA-700C-864A-B857-4AAA95FDC2CA}"/>
              </a:ext>
            </a:extLst>
          </p:cNvPr>
          <p:cNvSpPr>
            <a:spLocks noGrp="1"/>
          </p:cNvSpPr>
          <p:nvPr>
            <p:ph type="body" sz="quarter" idx="11"/>
          </p:nvPr>
        </p:nvSpPr>
        <p:spPr>
          <a:xfrm>
            <a:off x="4229099" y="1728721"/>
            <a:ext cx="7454901" cy="2768048"/>
          </a:xfrm>
        </p:spPr>
        <p:txBody>
          <a:bodyPr>
            <a:normAutofit/>
          </a:bodyPr>
          <a:lstStyle>
            <a:lvl1pPr>
              <a:defRPr sz="3733" b="0" i="0">
                <a:solidFill>
                  <a:schemeClr val="tx1"/>
                </a:solidFill>
                <a:latin typeface="Source Sans Pro" panose="020B0503030403020204" pitchFamily="34" charset="0"/>
              </a:defRPr>
            </a:lvl1pPr>
          </a:lstStyle>
          <a:p>
            <a:pPr lvl="0"/>
            <a:r>
              <a:rPr lang="en-US" dirty="0"/>
              <a:t>Click to edit</a:t>
            </a:r>
          </a:p>
        </p:txBody>
      </p:sp>
      <p:sp>
        <p:nvSpPr>
          <p:cNvPr id="19" name="SIDEBAR">
            <a:extLst>
              <a:ext uri="{FF2B5EF4-FFF2-40B4-BE49-F238E27FC236}">
                <a16:creationId xmlns:a16="http://schemas.microsoft.com/office/drawing/2014/main" id="{88EEB87D-BBD1-5843-A566-BDF32AA33488}"/>
              </a:ext>
            </a:extLst>
          </p:cNvPr>
          <p:cNvSpPr>
            <a:spLocks noGrp="1"/>
          </p:cNvSpPr>
          <p:nvPr>
            <p:ph type="body" sz="quarter" idx="10"/>
          </p:nvPr>
        </p:nvSpPr>
        <p:spPr>
          <a:xfrm>
            <a:off x="523355" y="1728722"/>
            <a:ext cx="2577347" cy="860385"/>
          </a:xfrm>
        </p:spPr>
        <p:txBody>
          <a:bodyPr/>
          <a:lstStyle>
            <a:lvl1pPr>
              <a:defRPr b="1" i="0">
                <a:solidFill>
                  <a:schemeClr val="bg1"/>
                </a:solidFill>
                <a:latin typeface="Source Sans Pro Semibold" panose="020B0503030403020204" pitchFamily="34" charset="0"/>
                <a:ea typeface="Source Sans Pro Semibold" panose="020B0503030403020204" pitchFamily="34" charset="0"/>
              </a:defRPr>
            </a:lvl1pPr>
          </a:lstStyle>
          <a:p>
            <a:pPr lvl="0"/>
            <a:r>
              <a:rPr lang="en-US" dirty="0"/>
              <a:t>Click to edit</a:t>
            </a:r>
          </a:p>
        </p:txBody>
      </p:sp>
    </p:spTree>
    <p:extLst>
      <p:ext uri="{BB962C8B-B14F-4D97-AF65-F5344CB8AC3E}">
        <p14:creationId xmlns:p14="http://schemas.microsoft.com/office/powerpoint/2010/main" val="874930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10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1000"/>
                            </p:stCondLst>
                            <p:childTnLst>
                              <p:par>
                                <p:cTn id="12" presetID="10" presetClass="entr" presetSubtype="0" fill="hold" grpId="1" nodeType="afterEffect">
                                  <p:stCondLst>
                                    <p:cond delay="0"/>
                                  </p:stCondLst>
                                  <p:childTnLst>
                                    <p:set>
                                      <p:cBhvr>
                                        <p:cTn id="13" dur="1" fill="hold">
                                          <p:stCondLst>
                                            <p:cond delay="0"/>
                                          </p:stCondLst>
                                        </p:cTn>
                                        <p:tgtEl>
                                          <p:spTgt spid="27">
                                            <p:txEl>
                                              <p:pRg st="0" end="0"/>
                                            </p:txEl>
                                          </p:spTgt>
                                        </p:tgtEl>
                                        <p:attrNameLst>
                                          <p:attrName>style.visibility</p:attrName>
                                        </p:attrNameLst>
                                      </p:cBhvr>
                                      <p:to>
                                        <p:strVal val="visible"/>
                                      </p:to>
                                    </p:set>
                                    <p:animEffect transition="in" filter="fade">
                                      <p:cBhvr>
                                        <p:cTn id="14" dur="500"/>
                                        <p:tgtEl>
                                          <p:spTgt spid="27">
                                            <p:txEl>
                                              <p:pRg st="0" end="0"/>
                                            </p:txEl>
                                          </p:spTgt>
                                        </p:tgtEl>
                                      </p:cBhvr>
                                    </p:animEffect>
                                  </p:childTnLst>
                                </p:cTn>
                              </p:par>
                              <p:par>
                                <p:cTn id="15" presetID="64" presetClass="path" presetSubtype="0" accel="50000" decel="50000" fill="hold" grpId="0" nodeType="withEffect">
                                  <p:stCondLst>
                                    <p:cond delay="0"/>
                                  </p:stCondLst>
                                  <p:childTnLst>
                                    <p:animMotion origin="layout" path="M 3.05556E-6 -0.03148 L 3.05556E-6 0.00154 " pathEditMode="relative" rAng="0" ptsTypes="AA">
                                      <p:cBhvr>
                                        <p:cTn id="16" dur="2000" fill="hold"/>
                                        <p:tgtEl>
                                          <p:spTgt spid="27">
                                            <p:txEl>
                                              <p:pRg st="0" end="0"/>
                                            </p:txEl>
                                          </p:spTgt>
                                        </p:tgtEl>
                                        <p:attrNameLst>
                                          <p:attrName>ppt_x</p:attrName>
                                          <p:attrName>ppt_y</p:attrName>
                                        </p:attrNameLst>
                                      </p:cBhvr>
                                      <p:rCtr x="0" y="1636"/>
                                    </p:animMotion>
                                  </p:childTnLst>
                                </p:cTn>
                              </p:par>
                              <p:par>
                                <p:cTn id="17" presetID="10" presetClass="entr" presetSubtype="0" fill="hold" grpId="1" nodeType="with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childTnLst>
                                </p:cTn>
                              </p:par>
                              <p:par>
                                <p:cTn id="20" presetID="42" presetClass="path" presetSubtype="0" accel="50000" decel="50000" fill="hold" grpId="0" nodeType="withEffect">
                                  <p:stCondLst>
                                    <p:cond delay="0"/>
                                  </p:stCondLst>
                                  <p:childTnLst>
                                    <p:animMotion origin="layout" path="M -3.88889E-6 -0.05247 L -3.88889E-6 1.11111E-6 " pathEditMode="relative" rAng="0" ptsTypes="AA">
                                      <p:cBhvr>
                                        <p:cTn id="21" dur="2000" fill="hold"/>
                                        <p:tgtEl>
                                          <p:spTgt spid="19">
                                            <p:txEl>
                                              <p:pRg st="0" end="0"/>
                                            </p:txEl>
                                          </p:spTgt>
                                        </p:tgtEl>
                                        <p:attrNameLst>
                                          <p:attrName>ppt_x</p:attrName>
                                          <p:attrName>ppt_y</p:attrName>
                                        </p:attrNameLst>
                                      </p:cBhvr>
                                      <p:rCtr x="0" y="2623"/>
                                    </p:animMotion>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Effect transition="in" filter="fade">
                                      <p:cBhvr>
                                        <p:cTn id="25"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tmplLst>
          <p:tmpl lvl="1">
            <p:tnLst>
              <p:par>
                <p:cTn presetID="10"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17" grpId="0"/>
      <p:bldP spid="18" grpId="0" animBg="1"/>
      <p:bldP spid="27" grpId="0" build="p">
        <p:tmplLst>
          <p:tmpl lvl="1">
            <p:tnLst>
              <p:par>
                <p:cTn presetID="64" presetClass="path" presetSubtype="0" accel="50000" decel="50000" fill="hold" nodeType="withEffect">
                  <p:stCondLst>
                    <p:cond delay="0"/>
                  </p:stCondLst>
                  <p:childTnLst>
                    <p:animMotion origin="layout" path="M 3.05556E-6 -0.03148 L 3.05556E-6 0.00154 " pathEditMode="relative" rAng="0" ptsTypes="AA">
                      <p:cBhvr>
                        <p:cTn dur="2000" fill="hold"/>
                        <p:tgtEl>
                          <p:spTgt spid="27"/>
                        </p:tgtEl>
                        <p:attrNameLst>
                          <p:attrName>ppt_x</p:attrName>
                          <p:attrName>ppt_y</p:attrName>
                        </p:attrNameLst>
                      </p:cBhvr>
                      <p:rCtr x="0" y="1636"/>
                    </p:animMotion>
                  </p:childTnLst>
                </p:cTn>
              </p:par>
            </p:tnLst>
          </p:tmpl>
        </p:tmplLst>
      </p:bldP>
      <p:bldP spid="27" grpId="1" build="p">
        <p:tmplLst>
          <p:tmpl lvl="1">
            <p:tnLst>
              <p:par>
                <p:cTn presetID="10" presetClass="entr" presetSubtype="0" fill="hold" nodeType="after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fade">
                      <p:cBhvr>
                        <p:cTn dur="500"/>
                        <p:tgtEl>
                          <p:spTgt spid="27"/>
                        </p:tgtEl>
                      </p:cBhvr>
                    </p:animEffect>
                  </p:childTnLst>
                </p:cTn>
              </p:par>
            </p:tnLst>
          </p:tmpl>
        </p:tmplLst>
      </p:bldP>
      <p:bldP spid="19" grpId="0" build="p">
        <p:tmplLst>
          <p:tmpl lvl="1">
            <p:tnLst>
              <p:par>
                <p:cTn presetID="42" presetClass="path" presetSubtype="0" accel="50000" decel="50000" fill="hold" nodeType="withEffect">
                  <p:stCondLst>
                    <p:cond delay="0"/>
                  </p:stCondLst>
                  <p:childTnLst>
                    <p:animMotion origin="layout" path="M -3.88889E-6 -0.05247 L -3.88889E-6 1.11111E-6 " pathEditMode="relative" rAng="0" ptsTypes="AA">
                      <p:cBhvr>
                        <p:cTn dur="2000" fill="hold"/>
                        <p:tgtEl>
                          <p:spTgt spid="19"/>
                        </p:tgtEl>
                        <p:attrNameLst>
                          <p:attrName>ppt_x</p:attrName>
                          <p:attrName>ppt_y</p:attrName>
                        </p:attrNameLst>
                      </p:cBhvr>
                      <p:rCtr x="0" y="2623"/>
                    </p:animMotion>
                  </p:childTnLst>
                </p:cTn>
              </p:par>
            </p:tnLst>
          </p:tmpl>
        </p:tmplLst>
      </p:bldP>
      <p:bldP spid="19" grpId="1"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Section Slide 2">
    <p:bg>
      <p:bgPr>
        <a:gradFill flip="none" rotWithShape="1">
          <a:gsLst>
            <a:gs pos="0">
              <a:srgbClr val="3C4857"/>
            </a:gs>
            <a:gs pos="100000">
              <a:srgbClr val="1D2024"/>
            </a:gs>
          </a:gsLst>
          <a:lin ang="2700000" scaled="1"/>
          <a:tileRect/>
        </a:gradFill>
        <a:effectLst/>
      </p:bgPr>
    </p:bg>
    <p:spTree>
      <p:nvGrpSpPr>
        <p:cNvPr id="1" name=""/>
        <p:cNvGrpSpPr/>
        <p:nvPr/>
      </p:nvGrpSpPr>
      <p:grpSpPr>
        <a:xfrm>
          <a:off x="0" y="0"/>
          <a:ext cx="0" cy="0"/>
          <a:chOff x="0" y="0"/>
          <a:chExt cx="0" cy="0"/>
        </a:xfrm>
      </p:grpSpPr>
      <p:pic>
        <p:nvPicPr>
          <p:cNvPr id="6" name="Picture 5" descr="A picture containing blue, player, tower&#10;&#10;Description automatically generated">
            <a:extLst>
              <a:ext uri="{FF2B5EF4-FFF2-40B4-BE49-F238E27FC236}">
                <a16:creationId xmlns:a16="http://schemas.microsoft.com/office/drawing/2014/main" id="{73FB78CE-8F45-3443-AA1B-A2B3CE474C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7" y="0"/>
            <a:ext cx="12192000" cy="6858000"/>
          </a:xfrm>
          <a:prstGeom prst="rect">
            <a:avLst/>
          </a:prstGeom>
        </p:spPr>
      </p:pic>
      <p:pic>
        <p:nvPicPr>
          <p:cNvPr id="8" name="Graphic 7">
            <a:extLst>
              <a:ext uri="{FF2B5EF4-FFF2-40B4-BE49-F238E27FC236}">
                <a16:creationId xmlns:a16="http://schemas.microsoft.com/office/drawing/2014/main" id="{921E36DD-3FDD-E44B-8242-ECD49E2F91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43600" y="6378047"/>
            <a:ext cx="321733" cy="321733"/>
          </a:xfrm>
          <a:prstGeom prst="rect">
            <a:avLst/>
          </a:prstGeom>
        </p:spPr>
      </p:pic>
      <p:sp>
        <p:nvSpPr>
          <p:cNvPr id="7" name="Title 2">
            <a:extLst>
              <a:ext uri="{FF2B5EF4-FFF2-40B4-BE49-F238E27FC236}">
                <a16:creationId xmlns:a16="http://schemas.microsoft.com/office/drawing/2014/main" id="{7FF2C8AD-F83F-704B-860E-AB211814B778}"/>
              </a:ext>
            </a:extLst>
          </p:cNvPr>
          <p:cNvSpPr>
            <a:spLocks noGrp="1"/>
          </p:cNvSpPr>
          <p:nvPr>
            <p:ph type="title" hasCustomPrompt="1"/>
          </p:nvPr>
        </p:nvSpPr>
        <p:spPr>
          <a:xfrm>
            <a:off x="1824217" y="2591105"/>
            <a:ext cx="7615359" cy="992419"/>
          </a:xfrm>
        </p:spPr>
        <p:txBody>
          <a:bodyPr lIns="0" tIns="0" rIns="0" bIns="0" rtlCol="0" anchor="b" anchorCtr="0">
            <a:noAutofit/>
          </a:bodyPr>
          <a:lstStyle>
            <a:lvl1pPr algn="l">
              <a:defRPr lang="en-US" sz="3733" b="1" i="0" cap="none" baseline="0">
                <a:solidFill>
                  <a:schemeClr val="bg1"/>
                </a:solidFill>
                <a:latin typeface="Source Sans Pro" panose="020B0503030403020204" pitchFamily="34" charset="0"/>
                <a:ea typeface="Source Sans Pro" panose="020B0503030403020204" pitchFamily="34" charset="0"/>
                <a:cs typeface="Calibri" charset="0"/>
              </a:defRPr>
            </a:lvl1pPr>
          </a:lstStyle>
          <a:p>
            <a:pPr lvl="0"/>
            <a:r>
              <a:rPr lang="en-US" dirty="0"/>
              <a:t>Section slide</a:t>
            </a:r>
          </a:p>
        </p:txBody>
      </p:sp>
      <p:sp>
        <p:nvSpPr>
          <p:cNvPr id="9" name="Subtitle 2">
            <a:extLst>
              <a:ext uri="{FF2B5EF4-FFF2-40B4-BE49-F238E27FC236}">
                <a16:creationId xmlns:a16="http://schemas.microsoft.com/office/drawing/2014/main" id="{1F6E3133-BF85-5C44-B03E-8C5CFC3220B9}"/>
              </a:ext>
            </a:extLst>
          </p:cNvPr>
          <p:cNvSpPr>
            <a:spLocks noGrp="1"/>
          </p:cNvSpPr>
          <p:nvPr>
            <p:ph type="subTitle" idx="1" hasCustomPrompt="1"/>
          </p:nvPr>
        </p:nvSpPr>
        <p:spPr>
          <a:xfrm>
            <a:off x="1824216" y="3605229"/>
            <a:ext cx="7615360" cy="332399"/>
          </a:xfrm>
          <a:prstGeom prst="rect">
            <a:avLst/>
          </a:prstGeom>
          <a:ln>
            <a:noFill/>
          </a:ln>
        </p:spPr>
        <p:txBody>
          <a:bodyPr wrap="square" tIns="0" bIns="0" anchor="t" anchorCtr="0">
            <a:normAutofit/>
          </a:bodyPr>
          <a:lstStyle>
            <a:lvl1pPr marL="0" indent="0" algn="l">
              <a:buNone/>
              <a:defRPr sz="2400" b="0" i="0" cap="none" baseline="0">
                <a:solidFill>
                  <a:schemeClr val="tx2"/>
                </a:solidFill>
                <a:latin typeface="+mn-lt"/>
                <a:ea typeface="Source Sans Pro" panose="020B0503030403020204" pitchFamily="34" charset="0"/>
                <a:cs typeface="Calibri" charset="0"/>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8597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Product">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316503-A161-5147-8B45-78DF01687921}"/>
              </a:ext>
            </a:extLst>
          </p:cNvPr>
          <p:cNvSpPr>
            <a:spLocks noGrp="1"/>
          </p:cNvSpPr>
          <p:nvPr>
            <p:ph type="dt" sz="half" idx="10"/>
          </p:nvPr>
        </p:nvSpPr>
        <p:spPr/>
        <p:txBody>
          <a:bodyPr/>
          <a:lstStyle/>
          <a:p>
            <a:fld id="{B01F1F41-2107-2B4A-AFD3-0A9C893A5C18}" type="datetimeFigureOut">
              <a:rPr lang="en-US" smtClean="0"/>
              <a:pPr/>
              <a:t>7/16/2021</a:t>
            </a:fld>
            <a:endParaRPr lang="en-US"/>
          </a:p>
        </p:txBody>
      </p:sp>
      <p:sp>
        <p:nvSpPr>
          <p:cNvPr id="4" name="Footer Placeholder 3">
            <a:extLst>
              <a:ext uri="{FF2B5EF4-FFF2-40B4-BE49-F238E27FC236}">
                <a16:creationId xmlns:a16="http://schemas.microsoft.com/office/drawing/2014/main" id="{C257ABA9-F3BA-1F4A-B98E-56BCF10A8916}"/>
              </a:ext>
            </a:extLst>
          </p:cNvPr>
          <p:cNvSpPr>
            <a:spLocks noGrp="1"/>
          </p:cNvSpPr>
          <p:nvPr>
            <p:ph type="ftr" sz="quarter" idx="11"/>
          </p:nvPr>
        </p:nvSpPr>
        <p:spPr/>
        <p:txBody>
          <a:bodyPr/>
          <a:lstStyle/>
          <a:p>
            <a:r>
              <a:rPr lang="en-US">
                <a:solidFill>
                  <a:schemeClr val="tx2"/>
                </a:solidFill>
              </a:rPr>
              <a:t>|</a:t>
            </a:r>
            <a:r>
              <a:rPr lang="en-US"/>
              <a:t>  Footer</a:t>
            </a:r>
          </a:p>
        </p:txBody>
      </p:sp>
      <p:sp>
        <p:nvSpPr>
          <p:cNvPr id="5" name="Slide Number Placeholder 4">
            <a:extLst>
              <a:ext uri="{FF2B5EF4-FFF2-40B4-BE49-F238E27FC236}">
                <a16:creationId xmlns:a16="http://schemas.microsoft.com/office/drawing/2014/main" id="{63A21C34-E675-7148-A7D0-8CBAE9B8C9F1}"/>
              </a:ext>
            </a:extLst>
          </p:cNvPr>
          <p:cNvSpPr>
            <a:spLocks noGrp="1"/>
          </p:cNvSpPr>
          <p:nvPr>
            <p:ph type="sldNum" sz="quarter" idx="12"/>
          </p:nvPr>
        </p:nvSpPr>
        <p:spPr/>
        <p:txBody>
          <a:bodyPr/>
          <a:lstStyle/>
          <a:p>
            <a:fld id="{47F042C8-DDB5-0141-B946-4F962685D46A}" type="slidenum">
              <a:rPr lang="en-US" smtClean="0"/>
              <a:pPr/>
              <a:t>‹#›</a:t>
            </a:fld>
            <a:endParaRPr lang="en-US"/>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6"/>
            <a:ext cx="5709920" cy="1034001"/>
          </a:xfrm>
        </p:spPr>
        <p:txBody>
          <a:body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9DB19048-B503-8646-AFB8-50C0B50715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25464"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dirty="0"/>
              <a:t>Click icon to add picture</a:t>
            </a:r>
          </a:p>
        </p:txBody>
      </p:sp>
    </p:spTree>
    <p:extLst>
      <p:ext uri="{BB962C8B-B14F-4D97-AF65-F5344CB8AC3E}">
        <p14:creationId xmlns:p14="http://schemas.microsoft.com/office/powerpoint/2010/main" val="206514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tx1">
                    <a:lumMod val="50000"/>
                  </a:schemeClr>
                </a:solidFill>
                <a:latin typeface="+mn-lt"/>
              </a:defRPr>
            </a:lvl1pPr>
          </a:lstStyle>
          <a:p>
            <a:r>
              <a:rPr lang="en-US" dirty="0"/>
              <a:t>Click to edit master title style</a:t>
            </a:r>
            <a:endParaRPr lang="en-ID" dirty="0"/>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tx1"/>
                </a:solidFill>
              </a:defRPr>
            </a:lvl1pPr>
            <a:lvl2pPr marL="320779" indent="-320779">
              <a:buClr>
                <a:schemeClr val="tx2"/>
              </a:buClr>
              <a:buSzPct val="80000"/>
              <a:buFont typeface="System Font Regular"/>
              <a:buChar char="→"/>
              <a:tabLst/>
              <a:defRPr>
                <a:solidFill>
                  <a:schemeClr val="tx1"/>
                </a:solidFill>
              </a:defRPr>
            </a:lvl2pPr>
            <a:lvl3pPr marL="477311" indent="-156531">
              <a:buClr>
                <a:schemeClr val="tx2"/>
              </a:buClr>
              <a:buSzPct val="80000"/>
              <a:tabLst/>
              <a:defRPr>
                <a:solidFill>
                  <a:schemeClr val="tx1"/>
                </a:solidFill>
              </a:defRPr>
            </a:lvl3pPr>
            <a:lvl4pPr marL="642660" indent="-165351">
              <a:buClr>
                <a:schemeClr val="tx2"/>
              </a:buClr>
              <a:buSzPct val="80000"/>
              <a:tabLst/>
              <a:defRPr>
                <a:solidFill>
                  <a:schemeClr val="tx1"/>
                </a:solidFill>
              </a:defRPr>
            </a:lvl4pPr>
            <a:lvl5pPr marL="799192" indent="-156531">
              <a:buClr>
                <a:schemeClr val="tx2"/>
              </a:buClr>
              <a:buSzPct val="80000"/>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74378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With Picture">
    <p:bg>
      <p:bgPr>
        <a:solidFill>
          <a:schemeClr val="accent5"/>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5874542-2663-4892-90C2-92A4C0B8E5DE}"/>
              </a:ext>
            </a:extLst>
          </p:cNvPr>
          <p:cNvSpPr>
            <a:spLocks noGrp="1"/>
          </p:cNvSpPr>
          <p:nvPr>
            <p:ph type="ctrTitle" hasCustomPrompt="1"/>
          </p:nvPr>
        </p:nvSpPr>
        <p:spPr>
          <a:xfrm>
            <a:off x="5195456" y="1122363"/>
            <a:ext cx="6488544" cy="2387600"/>
          </a:xfrm>
        </p:spPr>
        <p:txBody>
          <a:bodyPr anchor="b">
            <a:normAutofit/>
          </a:bodyPr>
          <a:lstStyle>
            <a:lvl1pPr algn="l">
              <a:defRPr sz="3733" b="1" i="0">
                <a:latin typeface="Source Sans Pro" panose="020B0503030403020204" pitchFamily="34" charset="0"/>
              </a:defRPr>
            </a:lvl1pPr>
          </a:lstStyle>
          <a:p>
            <a:r>
              <a:rPr lang="en-US" dirty="0"/>
              <a:t>Title slide with picture</a:t>
            </a:r>
            <a:endParaRPr lang="en-ID" dirty="0"/>
          </a:p>
        </p:txBody>
      </p:sp>
      <p:sp>
        <p:nvSpPr>
          <p:cNvPr id="10" name="Subtitle 2">
            <a:extLst>
              <a:ext uri="{FF2B5EF4-FFF2-40B4-BE49-F238E27FC236}">
                <a16:creationId xmlns:a16="http://schemas.microsoft.com/office/drawing/2014/main" id="{8A567B3B-9E58-4A6B-BCE5-9CD5B1264987}"/>
              </a:ext>
            </a:extLst>
          </p:cNvPr>
          <p:cNvSpPr>
            <a:spLocks noGrp="1"/>
          </p:cNvSpPr>
          <p:nvPr>
            <p:ph type="subTitle" idx="1" hasCustomPrompt="1"/>
          </p:nvPr>
        </p:nvSpPr>
        <p:spPr>
          <a:xfrm>
            <a:off x="5195456" y="3602037"/>
            <a:ext cx="6488544" cy="1655763"/>
          </a:xfrm>
          <a:prstGeom prst="rect">
            <a:avLst/>
          </a:prstGeom>
        </p:spPr>
        <p:txBody>
          <a:bodyPr/>
          <a:lstStyle>
            <a:lvl1pPr marL="0" indent="0" algn="l">
              <a:buNone/>
              <a:defRPr sz="2400" b="0" i="0">
                <a:solidFill>
                  <a:schemeClr val="tx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ID" dirty="0"/>
          </a:p>
        </p:txBody>
      </p:sp>
      <p:sp>
        <p:nvSpPr>
          <p:cNvPr id="6" name="Picture Placeholder 5">
            <a:extLst>
              <a:ext uri="{FF2B5EF4-FFF2-40B4-BE49-F238E27FC236}">
                <a16:creationId xmlns:a16="http://schemas.microsoft.com/office/drawing/2014/main" id="{6E05BEAC-C1DD-43E1-A339-67C947C61DDE}"/>
              </a:ext>
            </a:extLst>
          </p:cNvPr>
          <p:cNvSpPr>
            <a:spLocks noGrp="1"/>
          </p:cNvSpPr>
          <p:nvPr>
            <p:ph type="pic" sz="quarter" idx="13"/>
          </p:nvPr>
        </p:nvSpPr>
        <p:spPr>
          <a:xfrm>
            <a:off x="2" y="0"/>
            <a:ext cx="4804756" cy="6858000"/>
          </a:xfrm>
          <a:prstGeom prst="rect">
            <a:avLst/>
          </a:prstGeom>
        </p:spPr>
        <p:txBody>
          <a:bodyPr/>
          <a:lstStyle/>
          <a:p>
            <a:r>
              <a:rPr lang="en-US" dirty="0"/>
              <a:t>Click icon to add picture</a:t>
            </a:r>
            <a:endParaRPr lang="en-ID" dirty="0"/>
          </a:p>
        </p:txBody>
      </p:sp>
      <p:pic>
        <p:nvPicPr>
          <p:cNvPr id="5" name="Graphic 4">
            <a:extLst>
              <a:ext uri="{FF2B5EF4-FFF2-40B4-BE49-F238E27FC236}">
                <a16:creationId xmlns:a16="http://schemas.microsoft.com/office/drawing/2014/main" id="{97503836-1E64-4842-9A26-FE9E3077A6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164910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Only Seashell">
    <p:bg>
      <p:bgPr>
        <a:gradFill>
          <a:gsLst>
            <a:gs pos="0">
              <a:srgbClr val="3C4857"/>
            </a:gs>
            <a:gs pos="100000">
              <a:srgbClr val="1D2024"/>
            </a:gs>
          </a:gsLst>
          <a:lin ang="2700000" scaled="1"/>
        </a:gradFill>
        <a:effectLst/>
      </p:bgPr>
    </p:bg>
    <p:spTree>
      <p:nvGrpSpPr>
        <p:cNvPr id="1" name=""/>
        <p:cNvGrpSpPr/>
        <p:nvPr/>
      </p:nvGrpSpPr>
      <p:grpSpPr>
        <a:xfrm>
          <a:off x="0" y="0"/>
          <a:ext cx="0" cy="0"/>
          <a:chOff x="0" y="0"/>
          <a:chExt cx="0" cy="0"/>
        </a:xfrm>
      </p:grpSpPr>
      <p:sp>
        <p:nvSpPr>
          <p:cNvPr id="8" name="Graphic 5">
            <a:extLst>
              <a:ext uri="{FF2B5EF4-FFF2-40B4-BE49-F238E27FC236}">
                <a16:creationId xmlns:a16="http://schemas.microsoft.com/office/drawing/2014/main" id="{4426409D-282C-CA41-BFFD-ADE2A84D2310}"/>
              </a:ext>
            </a:extLst>
          </p:cNvPr>
          <p:cNvSpPr/>
          <p:nvPr userDrawn="1"/>
        </p:nvSpPr>
        <p:spPr>
          <a:xfrm>
            <a:off x="7973182" y="-1891675"/>
            <a:ext cx="13459527" cy="15023667"/>
          </a:xfrm>
          <a:custGeom>
            <a:avLst/>
            <a:gdLst>
              <a:gd name="connsiteX0" fmla="*/ 8138639 w 8149731"/>
              <a:gd name="connsiteY0" fmla="*/ 3007983 h 9096817"/>
              <a:gd name="connsiteX1" fmla="*/ 4605491 w 8149731"/>
              <a:gd name="connsiteY1" fmla="*/ 11294 h 9096817"/>
              <a:gd name="connsiteX2" fmla="*/ 3352793 w 8149731"/>
              <a:gd name="connsiteY2" fmla="*/ 375758 h 9096817"/>
              <a:gd name="connsiteX3" fmla="*/ 2930116 w 8149731"/>
              <a:gd name="connsiteY3" fmla="*/ 639448 h 9096817"/>
              <a:gd name="connsiteX4" fmla="*/ 2033409 w 8149731"/>
              <a:gd name="connsiteY4" fmla="*/ 1317023 h 9096817"/>
              <a:gd name="connsiteX5" fmla="*/ 1295095 w 8149731"/>
              <a:gd name="connsiteY5" fmla="*/ 2119401 h 9096817"/>
              <a:gd name="connsiteX6" fmla="*/ 692914 w 8149731"/>
              <a:gd name="connsiteY6" fmla="*/ 3064662 h 9096817"/>
              <a:gd name="connsiteX7" fmla="*/ 271862 w 8149731"/>
              <a:gd name="connsiteY7" fmla="*/ 4121045 h 9096817"/>
              <a:gd name="connsiteX8" fmla="*/ 55077 w 8149731"/>
              <a:gd name="connsiteY8" fmla="*/ 5216163 h 9096817"/>
              <a:gd name="connsiteX9" fmla="*/ 1 w 8149731"/>
              <a:gd name="connsiteY9" fmla="*/ 5818844 h 9096817"/>
              <a:gd name="connsiteX10" fmla="*/ 3279449 w 8149731"/>
              <a:gd name="connsiteY10" fmla="*/ 9096817 h 9096817"/>
              <a:gd name="connsiteX11" fmla="*/ 6295493 w 8149731"/>
              <a:gd name="connsiteY11" fmla="*/ 7095240 h 9096817"/>
              <a:gd name="connsiteX12" fmla="*/ 6541034 w 8149731"/>
              <a:gd name="connsiteY12" fmla="*/ 6101697 h 9096817"/>
              <a:gd name="connsiteX13" fmla="*/ 8138639 w 8149731"/>
              <a:gd name="connsiteY13" fmla="*/ 3007983 h 9096817"/>
              <a:gd name="connsiteX14" fmla="*/ 2931943 w 8149731"/>
              <a:gd name="connsiteY14" fmla="*/ 642360 h 9096817"/>
              <a:gd name="connsiteX15" fmla="*/ 7339227 w 8149731"/>
              <a:gd name="connsiteY15" fmla="*/ 2066257 h 9096817"/>
              <a:gd name="connsiteX16" fmla="*/ 7288549 w 8149731"/>
              <a:gd name="connsiteY16" fmla="*/ 5148514 h 9096817"/>
              <a:gd name="connsiteX17" fmla="*/ 6544688 w 8149731"/>
              <a:gd name="connsiteY17" fmla="*/ 6054770 h 9096817"/>
              <a:gd name="connsiteX18" fmla="*/ 6546785 w 8149731"/>
              <a:gd name="connsiteY18" fmla="*/ 6022266 h 9096817"/>
              <a:gd name="connsiteX19" fmla="*/ 6148588 w 8149731"/>
              <a:gd name="connsiteY19" fmla="*/ 1400600 h 9096817"/>
              <a:gd name="connsiteX20" fmla="*/ 2628282 w 8149731"/>
              <a:gd name="connsiteY20" fmla="*/ 949862 h 9096817"/>
              <a:gd name="connsiteX21" fmla="*/ 2516845 w 8149731"/>
              <a:gd name="connsiteY21" fmla="*/ 1005729 h 9096817"/>
              <a:gd name="connsiteX22" fmla="*/ 2931943 w 8149731"/>
              <a:gd name="connsiteY22" fmla="*/ 642360 h 9096817"/>
              <a:gd name="connsiteX23" fmla="*/ 6470599 w 8149731"/>
              <a:gd name="connsiteY23" fmla="*/ 6104609 h 9096817"/>
              <a:gd name="connsiteX24" fmla="*/ 6489138 w 8149731"/>
              <a:gd name="connsiteY24" fmla="*/ 6075423 h 9096817"/>
              <a:gd name="connsiteX25" fmla="*/ 6482372 w 8149731"/>
              <a:gd name="connsiteY25" fmla="*/ 6091743 h 9096817"/>
              <a:gd name="connsiteX26" fmla="*/ 6477906 w 8149731"/>
              <a:gd name="connsiteY26" fmla="*/ 6101562 h 9096817"/>
              <a:gd name="connsiteX27" fmla="*/ 6472155 w 8149731"/>
              <a:gd name="connsiteY27" fmla="*/ 6114564 h 9096817"/>
              <a:gd name="connsiteX28" fmla="*/ 6455578 w 8149731"/>
              <a:gd name="connsiteY28" fmla="*/ 6128107 h 9096817"/>
              <a:gd name="connsiteX29" fmla="*/ 6459232 w 8149731"/>
              <a:gd name="connsiteY29" fmla="*/ 6122419 h 9096817"/>
              <a:gd name="connsiteX30" fmla="*/ 6456593 w 8149731"/>
              <a:gd name="connsiteY30" fmla="*/ 6120049 h 9096817"/>
              <a:gd name="connsiteX31" fmla="*/ 6433453 w 8149731"/>
              <a:gd name="connsiteY31" fmla="*/ 6145104 h 9096817"/>
              <a:gd name="connsiteX32" fmla="*/ 6374318 w 8149731"/>
              <a:gd name="connsiteY32" fmla="*/ 6190000 h 9096817"/>
              <a:gd name="connsiteX33" fmla="*/ 1965159 w 8149731"/>
              <a:gd name="connsiteY33" fmla="*/ 4783520 h 9096817"/>
              <a:gd name="connsiteX34" fmla="*/ 1612356 w 8149731"/>
              <a:gd name="connsiteY34" fmla="*/ 2997419 h 9096817"/>
              <a:gd name="connsiteX35" fmla="*/ 6094392 w 8149731"/>
              <a:gd name="connsiteY35" fmla="*/ 4150692 h 9096817"/>
              <a:gd name="connsiteX36" fmla="*/ 6549559 w 8149731"/>
              <a:gd name="connsiteY36" fmla="*/ 5819115 h 9096817"/>
              <a:gd name="connsiteX37" fmla="*/ 6548747 w 8149731"/>
              <a:gd name="connsiteY37" fmla="*/ 5892114 h 9096817"/>
              <a:gd name="connsiteX38" fmla="*/ 6535215 w 8149731"/>
              <a:gd name="connsiteY38" fmla="*/ 5960575 h 9096817"/>
              <a:gd name="connsiteX39" fmla="*/ 6497190 w 8149731"/>
              <a:gd name="connsiteY39" fmla="*/ 6055718 h 9096817"/>
              <a:gd name="connsiteX40" fmla="*/ 6456526 w 8149731"/>
              <a:gd name="connsiteY40" fmla="*/ 6120049 h 9096817"/>
              <a:gd name="connsiteX41" fmla="*/ 2621516 w 8149731"/>
              <a:gd name="connsiteY41" fmla="*/ 2099628 h 9096817"/>
              <a:gd name="connsiteX42" fmla="*/ 6525486 w 8149731"/>
              <a:gd name="connsiteY42" fmla="*/ 4584602 h 9096817"/>
              <a:gd name="connsiteX43" fmla="*/ 6552604 w 8149731"/>
              <a:gd name="connsiteY43" fmla="*/ 5871460 h 9096817"/>
              <a:gd name="connsiteX44" fmla="*/ 6553010 w 8149731"/>
              <a:gd name="connsiteY44" fmla="*/ 5819250 h 9096817"/>
              <a:gd name="connsiteX45" fmla="*/ 3278129 w 8149731"/>
              <a:gd name="connsiteY45" fmla="*/ 2539009 h 9096817"/>
              <a:gd name="connsiteX46" fmla="*/ 1612694 w 8149731"/>
              <a:gd name="connsiteY46" fmla="*/ 2993491 h 9096817"/>
              <a:gd name="connsiteX47" fmla="*/ 1706472 w 8149731"/>
              <a:gd name="connsiteY47" fmla="*/ 2454261 h 9096817"/>
              <a:gd name="connsiteX48" fmla="*/ 2621516 w 8149731"/>
              <a:gd name="connsiteY48" fmla="*/ 2099628 h 9096817"/>
              <a:gd name="connsiteX49" fmla="*/ 1707690 w 8149731"/>
              <a:gd name="connsiteY49" fmla="*/ 2449453 h 9096817"/>
              <a:gd name="connsiteX50" fmla="*/ 1749640 w 8149731"/>
              <a:gd name="connsiteY50" fmla="*/ 2303320 h 9096817"/>
              <a:gd name="connsiteX51" fmla="*/ 1893486 w 8149731"/>
              <a:gd name="connsiteY51" fmla="*/ 1925054 h 9096817"/>
              <a:gd name="connsiteX52" fmla="*/ 2137065 w 8149731"/>
              <a:gd name="connsiteY52" fmla="*/ 1803163 h 9096817"/>
              <a:gd name="connsiteX53" fmla="*/ 6463522 w 8149731"/>
              <a:gd name="connsiteY53" fmla="*/ 3442827 h 9096817"/>
              <a:gd name="connsiteX54" fmla="*/ 6551521 w 8149731"/>
              <a:gd name="connsiteY54" fmla="*/ 5917643 h 9096817"/>
              <a:gd name="connsiteX55" fmla="*/ 6552130 w 8149731"/>
              <a:gd name="connsiteY55" fmla="*/ 5892452 h 9096817"/>
              <a:gd name="connsiteX56" fmla="*/ 6552807 w 8149731"/>
              <a:gd name="connsiteY56" fmla="*/ 5888999 h 9096817"/>
              <a:gd name="connsiteX57" fmla="*/ 3925473 w 8149731"/>
              <a:gd name="connsiteY57" fmla="*/ 2071979 h 9096817"/>
              <a:gd name="connsiteX58" fmla="*/ 1707690 w 8149731"/>
              <a:gd name="connsiteY58" fmla="*/ 2449453 h 9096817"/>
              <a:gd name="connsiteX59" fmla="*/ 1609108 w 8149731"/>
              <a:gd name="connsiteY59" fmla="*/ 2995387 h 9096817"/>
              <a:gd name="connsiteX60" fmla="*/ 1162548 w 8149731"/>
              <a:gd name="connsiteY60" fmla="*/ 3313250 h 9096817"/>
              <a:gd name="connsiteX61" fmla="*/ 1177636 w 8149731"/>
              <a:gd name="connsiteY61" fmla="*/ 3160752 h 9096817"/>
              <a:gd name="connsiteX62" fmla="*/ 1249356 w 8149731"/>
              <a:gd name="connsiteY62" fmla="*/ 2770025 h 9096817"/>
              <a:gd name="connsiteX63" fmla="*/ 1471892 w 8149731"/>
              <a:gd name="connsiteY63" fmla="*/ 2602155 h 9096817"/>
              <a:gd name="connsiteX64" fmla="*/ 1702345 w 8149731"/>
              <a:gd name="connsiteY64" fmla="*/ 2456564 h 9096817"/>
              <a:gd name="connsiteX65" fmla="*/ 1609108 w 8149731"/>
              <a:gd name="connsiteY65" fmla="*/ 2995387 h 9096817"/>
              <a:gd name="connsiteX66" fmla="*/ 1609108 w 8149731"/>
              <a:gd name="connsiteY66" fmla="*/ 2999518 h 9096817"/>
              <a:gd name="connsiteX67" fmla="*/ 4589597 w 8149731"/>
              <a:gd name="connsiteY67" fmla="*/ 6547180 h 9096817"/>
              <a:gd name="connsiteX68" fmla="*/ 6357673 w 8149731"/>
              <a:gd name="connsiteY68" fmla="*/ 6202528 h 9096817"/>
              <a:gd name="connsiteX69" fmla="*/ 1785121 w 8149731"/>
              <a:gd name="connsiteY69" fmla="*/ 5493390 h 9096817"/>
              <a:gd name="connsiteX70" fmla="*/ 1162751 w 8149731"/>
              <a:gd name="connsiteY70" fmla="*/ 3317787 h 9096817"/>
              <a:gd name="connsiteX71" fmla="*/ 1608770 w 8149731"/>
              <a:gd name="connsiteY71" fmla="*/ 2999518 h 9096817"/>
              <a:gd name="connsiteX72" fmla="*/ 1263362 w 8149731"/>
              <a:gd name="connsiteY72" fmla="*/ 4414260 h 9096817"/>
              <a:gd name="connsiteX73" fmla="*/ 5279324 w 8149731"/>
              <a:gd name="connsiteY73" fmla="*/ 6724314 h 9096817"/>
              <a:gd name="connsiteX74" fmla="*/ 6376077 w 8149731"/>
              <a:gd name="connsiteY74" fmla="*/ 6192912 h 9096817"/>
              <a:gd name="connsiteX75" fmla="*/ 6393736 w 8149731"/>
              <a:gd name="connsiteY75" fmla="*/ 6183703 h 9096817"/>
              <a:gd name="connsiteX76" fmla="*/ 6400096 w 8149731"/>
              <a:gd name="connsiteY76" fmla="*/ 6180384 h 9096817"/>
              <a:gd name="connsiteX77" fmla="*/ 1773727 w 8149731"/>
              <a:gd name="connsiteY77" fmla="*/ 6273942 h 9096817"/>
              <a:gd name="connsiteX78" fmla="*/ 773904 w 8149731"/>
              <a:gd name="connsiteY78" fmla="*/ 4105877 h 9096817"/>
              <a:gd name="connsiteX79" fmla="*/ 773904 w 8149731"/>
              <a:gd name="connsiteY79" fmla="*/ 3707566 h 9096817"/>
              <a:gd name="connsiteX80" fmla="*/ 962136 w 8149731"/>
              <a:gd name="connsiteY80" fmla="*/ 3502790 h 9096817"/>
              <a:gd name="connsiteX81" fmla="*/ 1158894 w 8149731"/>
              <a:gd name="connsiteY81" fmla="*/ 3321038 h 9096817"/>
              <a:gd name="connsiteX82" fmla="*/ 1263362 w 8149731"/>
              <a:gd name="connsiteY82" fmla="*/ 4414260 h 9096817"/>
              <a:gd name="connsiteX83" fmla="*/ 6392924 w 8149731"/>
              <a:gd name="connsiteY83" fmla="*/ 6180317 h 9096817"/>
              <a:gd name="connsiteX84" fmla="*/ 6418906 w 8149731"/>
              <a:gd name="connsiteY84" fmla="*/ 6160611 h 9096817"/>
              <a:gd name="connsiteX85" fmla="*/ 6407472 w 8149731"/>
              <a:gd name="connsiteY85" fmla="*/ 6172597 h 9096817"/>
              <a:gd name="connsiteX86" fmla="*/ 6435686 w 8149731"/>
              <a:gd name="connsiteY86" fmla="*/ 6147610 h 9096817"/>
              <a:gd name="connsiteX87" fmla="*/ 6441234 w 8149731"/>
              <a:gd name="connsiteY87" fmla="*/ 6143276 h 9096817"/>
              <a:gd name="connsiteX88" fmla="*/ 6429529 w 8149731"/>
              <a:gd name="connsiteY88" fmla="*/ 6160814 h 9096817"/>
              <a:gd name="connsiteX89" fmla="*/ 6416944 w 8149731"/>
              <a:gd name="connsiteY89" fmla="*/ 6167586 h 9096817"/>
              <a:gd name="connsiteX90" fmla="*/ 6435686 w 8149731"/>
              <a:gd name="connsiteY90" fmla="*/ 6147610 h 9096817"/>
              <a:gd name="connsiteX91" fmla="*/ 6548274 w 8149731"/>
              <a:gd name="connsiteY91" fmla="*/ 5913241 h 9096817"/>
              <a:gd name="connsiteX92" fmla="*/ 6547800 w 8149731"/>
              <a:gd name="connsiteY92" fmla="*/ 5927597 h 9096817"/>
              <a:gd name="connsiteX93" fmla="*/ 6542861 w 8149731"/>
              <a:gd name="connsiteY93" fmla="*/ 5941141 h 9096817"/>
              <a:gd name="connsiteX94" fmla="*/ 6548274 w 8149731"/>
              <a:gd name="connsiteY94" fmla="*/ 5913241 h 9096817"/>
              <a:gd name="connsiteX95" fmla="*/ 6531156 w 8149731"/>
              <a:gd name="connsiteY95" fmla="*/ 5980958 h 9096817"/>
              <a:gd name="connsiteX96" fmla="*/ 6524389 w 8149731"/>
              <a:gd name="connsiteY96" fmla="*/ 6010686 h 9096817"/>
              <a:gd name="connsiteX97" fmla="*/ 6516067 w 8149731"/>
              <a:gd name="connsiteY97" fmla="*/ 6024229 h 9096817"/>
              <a:gd name="connsiteX98" fmla="*/ 6508286 w 8149731"/>
              <a:gd name="connsiteY98" fmla="*/ 6037028 h 9096817"/>
              <a:gd name="connsiteX99" fmla="*/ 6531156 w 8149731"/>
              <a:gd name="connsiteY99" fmla="*/ 5981094 h 9096817"/>
              <a:gd name="connsiteX100" fmla="*/ 6538666 w 8149731"/>
              <a:gd name="connsiteY100" fmla="*/ 5961388 h 9096817"/>
              <a:gd name="connsiteX101" fmla="*/ 6541913 w 8149731"/>
              <a:gd name="connsiteY101" fmla="*/ 5952856 h 9096817"/>
              <a:gd name="connsiteX102" fmla="*/ 6547462 w 8149731"/>
              <a:gd name="connsiteY102" fmla="*/ 5938161 h 9096817"/>
              <a:gd name="connsiteX103" fmla="*/ 6545973 w 8149731"/>
              <a:gd name="connsiteY103" fmla="*/ 5974593 h 9096817"/>
              <a:gd name="connsiteX104" fmla="*/ 6530140 w 8149731"/>
              <a:gd name="connsiteY104" fmla="*/ 6001679 h 9096817"/>
              <a:gd name="connsiteX105" fmla="*/ 6538666 w 8149731"/>
              <a:gd name="connsiteY105" fmla="*/ 5961523 h 9096817"/>
              <a:gd name="connsiteX106" fmla="*/ 6549289 w 8149731"/>
              <a:gd name="connsiteY106" fmla="*/ 5975609 h 9096817"/>
              <a:gd name="connsiteX107" fmla="*/ 5356965 w 8149731"/>
              <a:gd name="connsiteY107" fmla="*/ 1493203 h 9096817"/>
              <a:gd name="connsiteX108" fmla="*/ 2164197 w 8149731"/>
              <a:gd name="connsiteY108" fmla="*/ 1440945 h 9096817"/>
              <a:gd name="connsiteX109" fmla="*/ 2345460 w 8149731"/>
              <a:gd name="connsiteY109" fmla="*/ 1198316 h 9096817"/>
              <a:gd name="connsiteX110" fmla="*/ 2509470 w 8149731"/>
              <a:gd name="connsiteY110" fmla="*/ 1013313 h 9096817"/>
              <a:gd name="connsiteX111" fmla="*/ 2629770 w 8149731"/>
              <a:gd name="connsiteY111" fmla="*/ 952774 h 9096817"/>
              <a:gd name="connsiteX112" fmla="*/ 6995105 w 8149731"/>
              <a:gd name="connsiteY112" fmla="*/ 2493219 h 9096817"/>
              <a:gd name="connsiteX113" fmla="*/ 6547326 w 8149731"/>
              <a:gd name="connsiteY113" fmla="*/ 6016442 h 9096817"/>
              <a:gd name="connsiteX114" fmla="*/ 6549559 w 8149731"/>
              <a:gd name="connsiteY114" fmla="*/ 5975744 h 9096817"/>
              <a:gd name="connsiteX115" fmla="*/ 2934108 w 8149731"/>
              <a:gd name="connsiteY115" fmla="*/ 1148950 h 9096817"/>
              <a:gd name="connsiteX116" fmla="*/ 6894493 w 8149731"/>
              <a:gd name="connsiteY116" fmla="*/ 3542831 h 9096817"/>
              <a:gd name="connsiteX117" fmla="*/ 6549559 w 8149731"/>
              <a:gd name="connsiteY117" fmla="*/ 5968363 h 9096817"/>
              <a:gd name="connsiteX118" fmla="*/ 6551115 w 8149731"/>
              <a:gd name="connsiteY118" fmla="*/ 5928275 h 9096817"/>
              <a:gd name="connsiteX119" fmla="*/ 4619767 w 8149731"/>
              <a:gd name="connsiteY119" fmla="*/ 1715470 h 9096817"/>
              <a:gd name="connsiteX120" fmla="*/ 2135779 w 8149731"/>
              <a:gd name="connsiteY120" fmla="*/ 1800048 h 9096817"/>
              <a:gd name="connsiteX121" fmla="*/ 1895855 w 8149731"/>
              <a:gd name="connsiteY121" fmla="*/ 1919839 h 9096817"/>
              <a:gd name="connsiteX122" fmla="*/ 2160137 w 8149731"/>
              <a:gd name="connsiteY122" fmla="*/ 1447108 h 9096817"/>
              <a:gd name="connsiteX123" fmla="*/ 2934108 w 8149731"/>
              <a:gd name="connsiteY123" fmla="*/ 1148950 h 9096817"/>
              <a:gd name="connsiteX124" fmla="*/ 1890847 w 8149731"/>
              <a:gd name="connsiteY124" fmla="*/ 1922616 h 9096817"/>
              <a:gd name="connsiteX125" fmla="*/ 1434408 w 8149731"/>
              <a:gd name="connsiteY125" fmla="*/ 2227748 h 9096817"/>
              <a:gd name="connsiteX126" fmla="*/ 1564655 w 8149731"/>
              <a:gd name="connsiteY126" fmla="*/ 1966225 h 9096817"/>
              <a:gd name="connsiteX127" fmla="*/ 1693549 w 8149731"/>
              <a:gd name="connsiteY127" fmla="*/ 1753256 h 9096817"/>
              <a:gd name="connsiteX128" fmla="*/ 1795040 w 8149731"/>
              <a:gd name="connsiteY128" fmla="*/ 1676397 h 9096817"/>
              <a:gd name="connsiteX129" fmla="*/ 2153168 w 8149731"/>
              <a:gd name="connsiteY129" fmla="*/ 1450629 h 9096817"/>
              <a:gd name="connsiteX130" fmla="*/ 1890847 w 8149731"/>
              <a:gd name="connsiteY130" fmla="*/ 1922616 h 9096817"/>
              <a:gd name="connsiteX131" fmla="*/ 1888547 w 8149731"/>
              <a:gd name="connsiteY131" fmla="*/ 1927762 h 9096817"/>
              <a:gd name="connsiteX132" fmla="*/ 1746460 w 8149731"/>
              <a:gd name="connsiteY132" fmla="*/ 2302305 h 9096817"/>
              <a:gd name="connsiteX133" fmla="*/ 1703630 w 8149731"/>
              <a:gd name="connsiteY133" fmla="*/ 2451824 h 9096817"/>
              <a:gd name="connsiteX134" fmla="*/ 1470066 w 8149731"/>
              <a:gd name="connsiteY134" fmla="*/ 2599243 h 9096817"/>
              <a:gd name="connsiteX135" fmla="*/ 1250777 w 8149731"/>
              <a:gd name="connsiteY135" fmla="*/ 2764405 h 9096817"/>
              <a:gd name="connsiteX136" fmla="*/ 1431702 w 8149731"/>
              <a:gd name="connsiteY136" fmla="*/ 2234520 h 9096817"/>
              <a:gd name="connsiteX137" fmla="*/ 1888547 w 8149731"/>
              <a:gd name="connsiteY137" fmla="*/ 1927762 h 9096817"/>
              <a:gd name="connsiteX138" fmla="*/ 1246379 w 8149731"/>
              <a:gd name="connsiteY138" fmla="*/ 2767994 h 9096817"/>
              <a:gd name="connsiteX139" fmla="*/ 857127 w 8149731"/>
              <a:gd name="connsiteY139" fmla="*/ 3146870 h 9096817"/>
              <a:gd name="connsiteX140" fmla="*/ 939267 w 8149731"/>
              <a:gd name="connsiteY140" fmla="*/ 2861037 h 9096817"/>
              <a:gd name="connsiteX141" fmla="*/ 1034804 w 8149731"/>
              <a:gd name="connsiteY141" fmla="*/ 2611568 h 9096817"/>
              <a:gd name="connsiteX142" fmla="*/ 1112479 w 8149731"/>
              <a:gd name="connsiteY142" fmla="*/ 2527328 h 9096817"/>
              <a:gd name="connsiteX143" fmla="*/ 1425951 w 8149731"/>
              <a:gd name="connsiteY143" fmla="*/ 2239057 h 9096817"/>
              <a:gd name="connsiteX144" fmla="*/ 1246379 w 8149731"/>
              <a:gd name="connsiteY144" fmla="*/ 2767994 h 9096817"/>
              <a:gd name="connsiteX145" fmla="*/ 1245026 w 8149731"/>
              <a:gd name="connsiteY145" fmla="*/ 2773479 h 9096817"/>
              <a:gd name="connsiteX146" fmla="*/ 1174456 w 8149731"/>
              <a:gd name="connsiteY146" fmla="*/ 3160346 h 9096817"/>
              <a:gd name="connsiteX147" fmla="*/ 1159165 w 8149731"/>
              <a:gd name="connsiteY147" fmla="*/ 3316095 h 9096817"/>
              <a:gd name="connsiteX148" fmla="*/ 959633 w 8149731"/>
              <a:gd name="connsiteY148" fmla="*/ 3500149 h 9096817"/>
              <a:gd name="connsiteX149" fmla="*/ 774175 w 8149731"/>
              <a:gd name="connsiteY149" fmla="*/ 3701675 h 9096817"/>
              <a:gd name="connsiteX150" fmla="*/ 855368 w 8149731"/>
              <a:gd name="connsiteY150" fmla="*/ 3153777 h 9096817"/>
              <a:gd name="connsiteX151" fmla="*/ 1244958 w 8149731"/>
              <a:gd name="connsiteY151" fmla="*/ 2773479 h 9096817"/>
              <a:gd name="connsiteX152" fmla="*/ 770521 w 8149731"/>
              <a:gd name="connsiteY152" fmla="*/ 3706212 h 9096817"/>
              <a:gd name="connsiteX153" fmla="*/ 447035 w 8149731"/>
              <a:gd name="connsiteY153" fmla="*/ 4164113 h 9096817"/>
              <a:gd name="connsiteX154" fmla="*/ 476874 w 8149731"/>
              <a:gd name="connsiteY154" fmla="*/ 3858033 h 9096817"/>
              <a:gd name="connsiteX155" fmla="*/ 521191 w 8149731"/>
              <a:gd name="connsiteY155" fmla="*/ 3616283 h 9096817"/>
              <a:gd name="connsiteX156" fmla="*/ 594468 w 8149731"/>
              <a:gd name="connsiteY156" fmla="*/ 3499404 h 9096817"/>
              <a:gd name="connsiteX157" fmla="*/ 850632 w 8149731"/>
              <a:gd name="connsiteY157" fmla="*/ 3159533 h 9096817"/>
              <a:gd name="connsiteX158" fmla="*/ 770521 w 8149731"/>
              <a:gd name="connsiteY158" fmla="*/ 3706212 h 9096817"/>
              <a:gd name="connsiteX159" fmla="*/ 770521 w 8149731"/>
              <a:gd name="connsiteY159" fmla="*/ 3711832 h 9096817"/>
              <a:gd name="connsiteX160" fmla="*/ 770521 w 8149731"/>
              <a:gd name="connsiteY160" fmla="*/ 4106080 h 9096817"/>
              <a:gd name="connsiteX161" fmla="*/ 4234027 w 8149731"/>
              <a:gd name="connsiteY161" fmla="*/ 7184423 h 9096817"/>
              <a:gd name="connsiteX162" fmla="*/ 6409569 w 8149731"/>
              <a:gd name="connsiteY162" fmla="*/ 6175374 h 9096817"/>
              <a:gd name="connsiteX163" fmla="*/ 6425469 w 8149731"/>
              <a:gd name="connsiteY163" fmla="*/ 6166841 h 9096817"/>
              <a:gd name="connsiteX164" fmla="*/ 1878215 w 8149731"/>
              <a:gd name="connsiteY164" fmla="*/ 7037952 h 9096817"/>
              <a:gd name="connsiteX165" fmla="*/ 446562 w 8149731"/>
              <a:gd name="connsiteY165" fmla="*/ 4171765 h 9096817"/>
              <a:gd name="connsiteX166" fmla="*/ 770183 w 8149731"/>
              <a:gd name="connsiteY166" fmla="*/ 3711832 h 9096817"/>
              <a:gd name="connsiteX167" fmla="*/ 535197 w 8149731"/>
              <a:gd name="connsiteY167" fmla="*/ 5113031 h 9096817"/>
              <a:gd name="connsiteX168" fmla="*/ 4495664 w 8149731"/>
              <a:gd name="connsiteY168" fmla="*/ 7515627 h 9096817"/>
              <a:gd name="connsiteX169" fmla="*/ 6431897 w 8149731"/>
              <a:gd name="connsiteY169" fmla="*/ 6163387 h 9096817"/>
              <a:gd name="connsiteX170" fmla="*/ 6456255 w 8149731"/>
              <a:gd name="connsiteY170" fmla="*/ 6149844 h 9096817"/>
              <a:gd name="connsiteX171" fmla="*/ 2318463 w 8149731"/>
              <a:gd name="connsiteY171" fmla="*/ 7851367 h 9096817"/>
              <a:gd name="connsiteX172" fmla="*/ 208667 w 8149731"/>
              <a:gd name="connsiteY172" fmla="*/ 4910963 h 9096817"/>
              <a:gd name="connsiteX173" fmla="*/ 208261 w 8149731"/>
              <a:gd name="connsiteY173" fmla="*/ 4675647 h 9096817"/>
              <a:gd name="connsiteX174" fmla="*/ 260630 w 8149731"/>
              <a:gd name="connsiteY174" fmla="*/ 4544005 h 9096817"/>
              <a:gd name="connsiteX175" fmla="*/ 442976 w 8149731"/>
              <a:gd name="connsiteY175" fmla="*/ 4177792 h 9096817"/>
              <a:gd name="connsiteX176" fmla="*/ 535197 w 8149731"/>
              <a:gd name="connsiteY176" fmla="*/ 5113031 h 9096817"/>
              <a:gd name="connsiteX177" fmla="*/ 6435957 w 8149731"/>
              <a:gd name="connsiteY177" fmla="*/ 6157293 h 9096817"/>
              <a:gd name="connsiteX178" fmla="*/ 6449489 w 8149731"/>
              <a:gd name="connsiteY178" fmla="*/ 6136978 h 9096817"/>
              <a:gd name="connsiteX179" fmla="*/ 6469043 w 8149731"/>
              <a:gd name="connsiteY179" fmla="*/ 6121538 h 9096817"/>
              <a:gd name="connsiteX180" fmla="*/ 6458420 w 8149731"/>
              <a:gd name="connsiteY180" fmla="*/ 6145172 h 9096817"/>
              <a:gd name="connsiteX181" fmla="*/ 6435957 w 8149731"/>
              <a:gd name="connsiteY181" fmla="*/ 6157293 h 9096817"/>
              <a:gd name="connsiteX182" fmla="*/ 6474862 w 8149731"/>
              <a:gd name="connsiteY182" fmla="*/ 6116663 h 9096817"/>
              <a:gd name="connsiteX183" fmla="*/ 6505647 w 8149731"/>
              <a:gd name="connsiteY183" fmla="*/ 6091676 h 9096817"/>
              <a:gd name="connsiteX184" fmla="*/ 6497798 w 8149731"/>
              <a:gd name="connsiteY184" fmla="*/ 6122825 h 9096817"/>
              <a:gd name="connsiteX185" fmla="*/ 6463495 w 8149731"/>
              <a:gd name="connsiteY185" fmla="*/ 6142124 h 9096817"/>
              <a:gd name="connsiteX186" fmla="*/ 6475132 w 8149731"/>
              <a:gd name="connsiteY186" fmla="*/ 6116730 h 9096817"/>
              <a:gd name="connsiteX187" fmla="*/ 6477839 w 8149731"/>
              <a:gd name="connsiteY187" fmla="*/ 6109891 h 9096817"/>
              <a:gd name="connsiteX188" fmla="*/ 6484943 w 8149731"/>
              <a:gd name="connsiteY188" fmla="*/ 6093436 h 9096817"/>
              <a:gd name="connsiteX189" fmla="*/ 6492521 w 8149731"/>
              <a:gd name="connsiteY189" fmla="*/ 6084904 h 9096817"/>
              <a:gd name="connsiteX190" fmla="*/ 6512819 w 8149731"/>
              <a:gd name="connsiteY190" fmla="*/ 6061677 h 9096817"/>
              <a:gd name="connsiteX191" fmla="*/ 6506865 w 8149731"/>
              <a:gd name="connsiteY191" fmla="*/ 6086123 h 9096817"/>
              <a:gd name="connsiteX192" fmla="*/ 6477839 w 8149731"/>
              <a:gd name="connsiteY192" fmla="*/ 6110027 h 9096817"/>
              <a:gd name="connsiteX193" fmla="*/ 6490018 w 8149731"/>
              <a:gd name="connsiteY193" fmla="*/ 6082805 h 9096817"/>
              <a:gd name="connsiteX194" fmla="*/ 6489206 w 8149731"/>
              <a:gd name="connsiteY194" fmla="*/ 6083685 h 9096817"/>
              <a:gd name="connsiteX195" fmla="*/ 6500370 w 8149731"/>
              <a:gd name="connsiteY195" fmla="*/ 6057275 h 9096817"/>
              <a:gd name="connsiteX196" fmla="*/ 6519247 w 8149731"/>
              <a:gd name="connsiteY196" fmla="*/ 6026464 h 9096817"/>
              <a:gd name="connsiteX197" fmla="*/ 6522292 w 8149731"/>
              <a:gd name="connsiteY197" fmla="*/ 6021318 h 9096817"/>
              <a:gd name="connsiteX198" fmla="*/ 6514646 w 8149731"/>
              <a:gd name="connsiteY198" fmla="*/ 6054702 h 9096817"/>
              <a:gd name="connsiteX199" fmla="*/ 6490018 w 8149731"/>
              <a:gd name="connsiteY199" fmla="*/ 6082805 h 9096817"/>
              <a:gd name="connsiteX200" fmla="*/ 6527840 w 8149731"/>
              <a:gd name="connsiteY200" fmla="*/ 6012108 h 9096817"/>
              <a:gd name="connsiteX201" fmla="*/ 6545635 w 8149731"/>
              <a:gd name="connsiteY201" fmla="*/ 5982042 h 9096817"/>
              <a:gd name="connsiteX202" fmla="*/ 6543469 w 8149731"/>
              <a:gd name="connsiteY202" fmla="*/ 6020911 h 9096817"/>
              <a:gd name="connsiteX203" fmla="*/ 6519382 w 8149731"/>
              <a:gd name="connsiteY203" fmla="*/ 6049217 h 9096817"/>
              <a:gd name="connsiteX204" fmla="*/ 6527840 w 8149731"/>
              <a:gd name="connsiteY204" fmla="*/ 6012108 h 9096817"/>
              <a:gd name="connsiteX205" fmla="*/ 2409602 w 8149731"/>
              <a:gd name="connsiteY205" fmla="*/ 977694 h 9096817"/>
              <a:gd name="connsiteX206" fmla="*/ 2912863 w 8149731"/>
              <a:gd name="connsiteY206" fmla="*/ 652653 h 9096817"/>
              <a:gd name="connsiteX207" fmla="*/ 2507372 w 8149731"/>
              <a:gd name="connsiteY207" fmla="*/ 1011078 h 9096817"/>
              <a:gd name="connsiteX208" fmla="*/ 2050595 w 8149731"/>
              <a:gd name="connsiteY208" fmla="*/ 1304157 h 9096817"/>
              <a:gd name="connsiteX209" fmla="*/ 2409602 w 8149731"/>
              <a:gd name="connsiteY209" fmla="*/ 977694 h 9096817"/>
              <a:gd name="connsiteX210" fmla="*/ 2035709 w 8149731"/>
              <a:gd name="connsiteY210" fmla="*/ 1319529 h 9096817"/>
              <a:gd name="connsiteX211" fmla="*/ 2499997 w 8149731"/>
              <a:gd name="connsiteY211" fmla="*/ 1018527 h 9096817"/>
              <a:gd name="connsiteX212" fmla="*/ 2342889 w 8149731"/>
              <a:gd name="connsiteY212" fmla="*/ 1196284 h 9096817"/>
              <a:gd name="connsiteX213" fmla="*/ 2157769 w 8149731"/>
              <a:gd name="connsiteY213" fmla="*/ 1444534 h 9096817"/>
              <a:gd name="connsiteX214" fmla="*/ 1793619 w 8149731"/>
              <a:gd name="connsiteY214" fmla="*/ 1673621 h 9096817"/>
              <a:gd name="connsiteX215" fmla="*/ 1699638 w 8149731"/>
              <a:gd name="connsiteY215" fmla="*/ 1744317 h 9096817"/>
              <a:gd name="connsiteX216" fmla="*/ 2035709 w 8149731"/>
              <a:gd name="connsiteY216" fmla="*/ 1319529 h 9096817"/>
              <a:gd name="connsiteX217" fmla="*/ 1592058 w 8149731"/>
              <a:gd name="connsiteY217" fmla="*/ 1736191 h 9096817"/>
              <a:gd name="connsiteX218" fmla="*/ 2018659 w 8149731"/>
              <a:gd name="connsiteY218" fmla="*/ 1332937 h 9096817"/>
              <a:gd name="connsiteX219" fmla="*/ 1691519 w 8149731"/>
              <a:gd name="connsiteY219" fmla="*/ 1750886 h 9096817"/>
              <a:gd name="connsiteX220" fmla="*/ 1309777 w 8149731"/>
              <a:gd name="connsiteY220" fmla="*/ 2103691 h 9096817"/>
              <a:gd name="connsiteX221" fmla="*/ 1592058 w 8149731"/>
              <a:gd name="connsiteY221" fmla="*/ 1736191 h 9096817"/>
              <a:gd name="connsiteX222" fmla="*/ 1297801 w 8149731"/>
              <a:gd name="connsiteY222" fmla="*/ 2121500 h 9096817"/>
              <a:gd name="connsiteX223" fmla="*/ 1685362 w 8149731"/>
              <a:gd name="connsiteY223" fmla="*/ 1759824 h 9096817"/>
              <a:gd name="connsiteX224" fmla="*/ 1561881 w 8149731"/>
              <a:gd name="connsiteY224" fmla="*/ 1964600 h 9096817"/>
              <a:gd name="connsiteX225" fmla="*/ 1428928 w 8149731"/>
              <a:gd name="connsiteY225" fmla="*/ 2232353 h 9096817"/>
              <a:gd name="connsiteX226" fmla="*/ 1110043 w 8149731"/>
              <a:gd name="connsiteY226" fmla="*/ 2525026 h 9096817"/>
              <a:gd name="connsiteX227" fmla="*/ 1039067 w 8149731"/>
              <a:gd name="connsiteY227" fmla="*/ 2601681 h 9096817"/>
              <a:gd name="connsiteX228" fmla="*/ 1297801 w 8149731"/>
              <a:gd name="connsiteY228" fmla="*/ 2121500 h 9096817"/>
              <a:gd name="connsiteX229" fmla="*/ 916195 w 8149731"/>
              <a:gd name="connsiteY229" fmla="*/ 2633982 h 9096817"/>
              <a:gd name="connsiteX230" fmla="*/ 1283525 w 8149731"/>
              <a:gd name="connsiteY230" fmla="*/ 2137346 h 9096817"/>
              <a:gd name="connsiteX231" fmla="*/ 1031895 w 8149731"/>
              <a:gd name="connsiteY231" fmla="*/ 2609739 h 9096817"/>
              <a:gd name="connsiteX232" fmla="*/ 704687 w 8149731"/>
              <a:gd name="connsiteY232" fmla="*/ 3046107 h 9096817"/>
              <a:gd name="connsiteX233" fmla="*/ 916195 w 8149731"/>
              <a:gd name="connsiteY233" fmla="*/ 2633982 h 9096817"/>
              <a:gd name="connsiteX234" fmla="*/ 696162 w 8149731"/>
              <a:gd name="connsiteY234" fmla="*/ 3066219 h 9096817"/>
              <a:gd name="connsiteX235" fmla="*/ 1027700 w 8149731"/>
              <a:gd name="connsiteY235" fmla="*/ 2619287 h 9096817"/>
              <a:gd name="connsiteX236" fmla="*/ 936087 w 8149731"/>
              <a:gd name="connsiteY236" fmla="*/ 2859682 h 9096817"/>
              <a:gd name="connsiteX237" fmla="*/ 852323 w 8149731"/>
              <a:gd name="connsiteY237" fmla="*/ 3152152 h 9096817"/>
              <a:gd name="connsiteX238" fmla="*/ 591626 w 8149731"/>
              <a:gd name="connsiteY238" fmla="*/ 3497508 h 9096817"/>
              <a:gd name="connsiteX239" fmla="*/ 523492 w 8149731"/>
              <a:gd name="connsiteY239" fmla="*/ 3605855 h 9096817"/>
              <a:gd name="connsiteX240" fmla="*/ 696162 w 8149731"/>
              <a:gd name="connsiteY240" fmla="*/ 3066219 h 9096817"/>
              <a:gd name="connsiteX241" fmla="*/ 420174 w 8149731"/>
              <a:gd name="connsiteY241" fmla="*/ 3627863 h 9096817"/>
              <a:gd name="connsiteX242" fmla="*/ 684727 w 8149731"/>
              <a:gd name="connsiteY242" fmla="*/ 3084909 h 9096817"/>
              <a:gd name="connsiteX243" fmla="*/ 518011 w 8149731"/>
              <a:gd name="connsiteY243" fmla="*/ 3614997 h 9096817"/>
              <a:gd name="connsiteX244" fmla="*/ 279778 w 8149731"/>
              <a:gd name="connsiteY244" fmla="*/ 4101137 h 9096817"/>
              <a:gd name="connsiteX245" fmla="*/ 420174 w 8149731"/>
              <a:gd name="connsiteY245" fmla="*/ 3627863 h 9096817"/>
              <a:gd name="connsiteX246" fmla="*/ 275312 w 8149731"/>
              <a:gd name="connsiteY246" fmla="*/ 4122197 h 9096817"/>
              <a:gd name="connsiteX247" fmla="*/ 515643 w 8149731"/>
              <a:gd name="connsiteY247" fmla="*/ 3625628 h 9096817"/>
              <a:gd name="connsiteX248" fmla="*/ 473491 w 8149731"/>
              <a:gd name="connsiteY248" fmla="*/ 3857694 h 9096817"/>
              <a:gd name="connsiteX249" fmla="*/ 443314 w 8149731"/>
              <a:gd name="connsiteY249" fmla="*/ 4170546 h 9096817"/>
              <a:gd name="connsiteX250" fmla="*/ 257450 w 8149731"/>
              <a:gd name="connsiteY250" fmla="*/ 4542990 h 9096817"/>
              <a:gd name="connsiteX251" fmla="*/ 208667 w 8149731"/>
              <a:gd name="connsiteY251" fmla="*/ 4665286 h 9096817"/>
              <a:gd name="connsiteX252" fmla="*/ 275312 w 8149731"/>
              <a:gd name="connsiteY252" fmla="*/ 4122061 h 9096817"/>
              <a:gd name="connsiteX253" fmla="*/ 111776 w 8149731"/>
              <a:gd name="connsiteY253" fmla="*/ 4706729 h 9096817"/>
              <a:gd name="connsiteX254" fmla="*/ 267734 w 8149731"/>
              <a:gd name="connsiteY254" fmla="*/ 4141902 h 9096817"/>
              <a:gd name="connsiteX255" fmla="*/ 204878 w 8149731"/>
              <a:gd name="connsiteY255" fmla="*/ 4674834 h 9096817"/>
              <a:gd name="connsiteX256" fmla="*/ 59069 w 8149731"/>
              <a:gd name="connsiteY256" fmla="*/ 5194968 h 9096817"/>
              <a:gd name="connsiteX257" fmla="*/ 111776 w 8149731"/>
              <a:gd name="connsiteY257" fmla="*/ 4706729 h 9096817"/>
              <a:gd name="connsiteX258" fmla="*/ 58460 w 8149731"/>
              <a:gd name="connsiteY258" fmla="*/ 5216570 h 9096817"/>
              <a:gd name="connsiteX259" fmla="*/ 204539 w 8149731"/>
              <a:gd name="connsiteY259" fmla="*/ 4685669 h 9096817"/>
              <a:gd name="connsiteX260" fmla="*/ 205284 w 8149731"/>
              <a:gd name="connsiteY260" fmla="*/ 4911099 h 9096817"/>
              <a:gd name="connsiteX261" fmla="*/ 3603963 w 8149731"/>
              <a:gd name="connsiteY261" fmla="*/ 8065217 h 9096817"/>
              <a:gd name="connsiteX262" fmla="*/ 5848865 w 8149731"/>
              <a:gd name="connsiteY262" fmla="*/ 7054610 h 9096817"/>
              <a:gd name="connsiteX263" fmla="*/ 6461194 w 8149731"/>
              <a:gd name="connsiteY263" fmla="*/ 6147203 h 9096817"/>
              <a:gd name="connsiteX264" fmla="*/ 6496581 w 8149731"/>
              <a:gd name="connsiteY264" fmla="*/ 6127295 h 9096817"/>
              <a:gd name="connsiteX265" fmla="*/ 2740260 w 8149731"/>
              <a:gd name="connsiteY265" fmla="*/ 8519191 h 9096817"/>
              <a:gd name="connsiteX266" fmla="*/ 58460 w 8149731"/>
              <a:gd name="connsiteY266" fmla="*/ 5216570 h 9096817"/>
              <a:gd name="connsiteX267" fmla="*/ 6292448 w 8149731"/>
              <a:gd name="connsiteY267" fmla="*/ 7094224 h 9096817"/>
              <a:gd name="connsiteX268" fmla="*/ 2000329 w 8149731"/>
              <a:gd name="connsiteY268" fmla="*/ 8835226 h 9096817"/>
              <a:gd name="connsiteX269" fmla="*/ 260765 w 8149731"/>
              <a:gd name="connsiteY269" fmla="*/ 7094224 h 9096817"/>
              <a:gd name="connsiteX270" fmla="*/ 3655 w 8149731"/>
              <a:gd name="connsiteY270" fmla="*/ 5819115 h 9096817"/>
              <a:gd name="connsiteX271" fmla="*/ 54806 w 8149731"/>
              <a:gd name="connsiteY271" fmla="*/ 5237765 h 9096817"/>
              <a:gd name="connsiteX272" fmla="*/ 2740057 w 8149731"/>
              <a:gd name="connsiteY272" fmla="*/ 8522509 h 9096817"/>
              <a:gd name="connsiteX273" fmla="*/ 6500979 w 8149731"/>
              <a:gd name="connsiteY273" fmla="*/ 6125331 h 9096817"/>
              <a:gd name="connsiteX274" fmla="*/ 6537718 w 8149731"/>
              <a:gd name="connsiteY274" fmla="*/ 6104000 h 9096817"/>
              <a:gd name="connsiteX275" fmla="*/ 6292448 w 8149731"/>
              <a:gd name="connsiteY275" fmla="*/ 7094224 h 9096817"/>
              <a:gd name="connsiteX276" fmla="*/ 6537786 w 8149731"/>
              <a:gd name="connsiteY276" fmla="*/ 6099666 h 9096817"/>
              <a:gd name="connsiteX277" fmla="*/ 6501858 w 8149731"/>
              <a:gd name="connsiteY277" fmla="*/ 6120523 h 9096817"/>
              <a:gd name="connsiteX278" fmla="*/ 6510045 w 8149731"/>
              <a:gd name="connsiteY278" fmla="*/ 6088154 h 9096817"/>
              <a:gd name="connsiteX279" fmla="*/ 6540763 w 8149731"/>
              <a:gd name="connsiteY279" fmla="*/ 6062557 h 9096817"/>
              <a:gd name="connsiteX280" fmla="*/ 6537786 w 8149731"/>
              <a:gd name="connsiteY280" fmla="*/ 6099666 h 9096817"/>
              <a:gd name="connsiteX281" fmla="*/ 6511398 w 8149731"/>
              <a:gd name="connsiteY281" fmla="*/ 6082669 h 9096817"/>
              <a:gd name="connsiteX282" fmla="*/ 6517691 w 8149731"/>
              <a:gd name="connsiteY282" fmla="*/ 6056327 h 9096817"/>
              <a:gd name="connsiteX283" fmla="*/ 6543131 w 8149731"/>
              <a:gd name="connsiteY283" fmla="*/ 6026599 h 9096817"/>
              <a:gd name="connsiteX284" fmla="*/ 6541101 w 8149731"/>
              <a:gd name="connsiteY284" fmla="*/ 6057885 h 9096817"/>
              <a:gd name="connsiteX285" fmla="*/ 7996890 w 8149731"/>
              <a:gd name="connsiteY285" fmla="*/ 4256141 h 9096817"/>
              <a:gd name="connsiteX286" fmla="*/ 6541372 w 8149731"/>
              <a:gd name="connsiteY286" fmla="*/ 6097567 h 9096817"/>
              <a:gd name="connsiteX287" fmla="*/ 6544349 w 8149731"/>
              <a:gd name="connsiteY287" fmla="*/ 6059510 h 9096817"/>
              <a:gd name="connsiteX288" fmla="*/ 6923588 w 8149731"/>
              <a:gd name="connsiteY288" fmla="*/ 1436530 h 9096817"/>
              <a:gd name="connsiteX289" fmla="*/ 3570525 w 8149731"/>
              <a:gd name="connsiteY289" fmla="*/ 391604 h 9096817"/>
              <a:gd name="connsiteX290" fmla="*/ 2949332 w 8149731"/>
              <a:gd name="connsiteY290" fmla="*/ 629697 h 9096817"/>
              <a:gd name="connsiteX291" fmla="*/ 3354417 w 8149731"/>
              <a:gd name="connsiteY291" fmla="*/ 378738 h 9096817"/>
              <a:gd name="connsiteX292" fmla="*/ 7771512 w 8149731"/>
              <a:gd name="connsiteY292" fmla="*/ 1756080 h 9096817"/>
              <a:gd name="connsiteX293" fmla="*/ 7996890 w 8149731"/>
              <a:gd name="connsiteY293" fmla="*/ 4256141 h 90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8149731" h="9096817">
                <a:moveTo>
                  <a:pt x="8138639" y="3007983"/>
                </a:moveTo>
                <a:cubicBezTo>
                  <a:pt x="7989785" y="1204011"/>
                  <a:pt x="6407972" y="-137654"/>
                  <a:pt x="4605491" y="11294"/>
                </a:cubicBezTo>
                <a:cubicBezTo>
                  <a:pt x="4167732" y="47469"/>
                  <a:pt x="3741713" y="171416"/>
                  <a:pt x="3352793" y="375758"/>
                </a:cubicBezTo>
                <a:cubicBezTo>
                  <a:pt x="3205475" y="452895"/>
                  <a:pt x="3064186" y="541042"/>
                  <a:pt x="2930116" y="639448"/>
                </a:cubicBezTo>
                <a:cubicBezTo>
                  <a:pt x="2594993" y="812790"/>
                  <a:pt x="2291764" y="1041917"/>
                  <a:pt x="2033409" y="1317023"/>
                </a:cubicBezTo>
                <a:cubicBezTo>
                  <a:pt x="1744964" y="1542108"/>
                  <a:pt x="1495519" y="1813192"/>
                  <a:pt x="1295095" y="2119401"/>
                </a:cubicBezTo>
                <a:cubicBezTo>
                  <a:pt x="1042429" y="2398165"/>
                  <a:pt x="838818" y="2717775"/>
                  <a:pt x="692914" y="3064662"/>
                </a:cubicBezTo>
                <a:cubicBezTo>
                  <a:pt x="493053" y="3390007"/>
                  <a:pt x="350624" y="3747350"/>
                  <a:pt x="271862" y="4121045"/>
                </a:cubicBezTo>
                <a:cubicBezTo>
                  <a:pt x="138458" y="4471250"/>
                  <a:pt x="65163" y="4841506"/>
                  <a:pt x="55077" y="5216163"/>
                </a:cubicBezTo>
                <a:cubicBezTo>
                  <a:pt x="18282" y="5414940"/>
                  <a:pt x="-154" y="5616682"/>
                  <a:pt x="1" y="5818844"/>
                </a:cubicBezTo>
                <a:cubicBezTo>
                  <a:pt x="1159" y="7630407"/>
                  <a:pt x="1469416" y="9097967"/>
                  <a:pt x="3279449" y="9096817"/>
                </a:cubicBezTo>
                <a:cubicBezTo>
                  <a:pt x="4595078" y="9096004"/>
                  <a:pt x="5782692" y="8307847"/>
                  <a:pt x="6295493" y="7095240"/>
                </a:cubicBezTo>
                <a:cubicBezTo>
                  <a:pt x="6429279" y="6779137"/>
                  <a:pt x="6512156" y="6443783"/>
                  <a:pt x="6541034" y="6101697"/>
                </a:cubicBezTo>
                <a:cubicBezTo>
                  <a:pt x="7621305" y="5461481"/>
                  <a:pt x="8241618" y="4260251"/>
                  <a:pt x="8138639" y="3007983"/>
                </a:cubicBezTo>
                <a:close/>
                <a:moveTo>
                  <a:pt x="2931943" y="642360"/>
                </a:moveTo>
                <a:cubicBezTo>
                  <a:pt x="4541856" y="-182495"/>
                  <a:pt x="6515065" y="455005"/>
                  <a:pt x="7339227" y="2066257"/>
                </a:cubicBezTo>
                <a:cubicBezTo>
                  <a:pt x="7836331" y="3038001"/>
                  <a:pt x="7817318" y="4193658"/>
                  <a:pt x="7288549" y="5148514"/>
                </a:cubicBezTo>
                <a:cubicBezTo>
                  <a:pt x="7097611" y="5493274"/>
                  <a:pt x="6845507" y="5800364"/>
                  <a:pt x="6544688" y="6054770"/>
                </a:cubicBezTo>
                <a:cubicBezTo>
                  <a:pt x="6545432" y="6043935"/>
                  <a:pt x="6546176" y="6033100"/>
                  <a:pt x="6546785" y="6022266"/>
                </a:cubicBezTo>
                <a:cubicBezTo>
                  <a:pt x="7712038" y="4635978"/>
                  <a:pt x="7533752" y="2566786"/>
                  <a:pt x="6148588" y="1400600"/>
                </a:cubicBezTo>
                <a:cubicBezTo>
                  <a:pt x="5164991" y="572475"/>
                  <a:pt x="3788508" y="396232"/>
                  <a:pt x="2628282" y="949862"/>
                </a:cubicBezTo>
                <a:cubicBezTo>
                  <a:pt x="2590751" y="967922"/>
                  <a:pt x="2553605" y="986545"/>
                  <a:pt x="2516845" y="1005729"/>
                </a:cubicBezTo>
                <a:cubicBezTo>
                  <a:pt x="2644622" y="872997"/>
                  <a:pt x="2783489" y="751431"/>
                  <a:pt x="2931943" y="642360"/>
                </a:cubicBezTo>
                <a:close/>
                <a:moveTo>
                  <a:pt x="6470599" y="6104609"/>
                </a:moveTo>
                <a:cubicBezTo>
                  <a:pt x="6476824" y="6094946"/>
                  <a:pt x="6483001" y="6085222"/>
                  <a:pt x="6489138" y="6075423"/>
                </a:cubicBezTo>
                <a:lnTo>
                  <a:pt x="6482372" y="6091743"/>
                </a:lnTo>
                <a:close/>
                <a:moveTo>
                  <a:pt x="6477906" y="6101562"/>
                </a:moveTo>
                <a:cubicBezTo>
                  <a:pt x="6476012" y="6105896"/>
                  <a:pt x="6474117" y="6110230"/>
                  <a:pt x="6472155" y="6114564"/>
                </a:cubicBezTo>
                <a:cubicBezTo>
                  <a:pt x="6466675" y="6119033"/>
                  <a:pt x="6461126" y="6123435"/>
                  <a:pt x="6455578" y="6128107"/>
                </a:cubicBezTo>
                <a:lnTo>
                  <a:pt x="6459232" y="6122419"/>
                </a:lnTo>
                <a:close/>
                <a:moveTo>
                  <a:pt x="6456593" y="6120049"/>
                </a:moveTo>
                <a:cubicBezTo>
                  <a:pt x="6448880" y="6128446"/>
                  <a:pt x="6441166" y="6136843"/>
                  <a:pt x="6433453" y="6145104"/>
                </a:cubicBezTo>
                <a:cubicBezTo>
                  <a:pt x="6413920" y="6160361"/>
                  <a:pt x="6394210" y="6175326"/>
                  <a:pt x="6374318" y="6190000"/>
                </a:cubicBezTo>
                <a:cubicBezTo>
                  <a:pt x="4768695" y="7020210"/>
                  <a:pt x="2794646" y="6390469"/>
                  <a:pt x="1965159" y="4783520"/>
                </a:cubicBezTo>
                <a:cubicBezTo>
                  <a:pt x="1681248" y="4233489"/>
                  <a:pt x="1558918" y="3614191"/>
                  <a:pt x="1612356" y="2997419"/>
                </a:cubicBezTo>
                <a:cubicBezTo>
                  <a:pt x="3168241" y="2077180"/>
                  <a:pt x="5174917" y="2593514"/>
                  <a:pt x="6094392" y="4150692"/>
                </a:cubicBezTo>
                <a:cubicBezTo>
                  <a:pt x="6392742" y="4655969"/>
                  <a:pt x="6549951" y="5232199"/>
                  <a:pt x="6549559" y="5819115"/>
                </a:cubicBezTo>
                <a:cubicBezTo>
                  <a:pt x="6549559" y="5843493"/>
                  <a:pt x="6549289" y="5867824"/>
                  <a:pt x="6548747" y="5892114"/>
                </a:cubicBezTo>
                <a:cubicBezTo>
                  <a:pt x="6544552" y="5915002"/>
                  <a:pt x="6540039" y="5937822"/>
                  <a:pt x="6535215" y="5960575"/>
                </a:cubicBezTo>
                <a:cubicBezTo>
                  <a:pt x="6522989" y="5992538"/>
                  <a:pt x="6510316" y="6024250"/>
                  <a:pt x="6497190" y="6055718"/>
                </a:cubicBezTo>
                <a:cubicBezTo>
                  <a:pt x="6483928" y="6077340"/>
                  <a:pt x="6470376" y="6098786"/>
                  <a:pt x="6456526" y="6120049"/>
                </a:cubicBezTo>
                <a:close/>
                <a:moveTo>
                  <a:pt x="2621516" y="2099628"/>
                </a:moveTo>
                <a:cubicBezTo>
                  <a:pt x="4385208" y="1706890"/>
                  <a:pt x="6133074" y="2819445"/>
                  <a:pt x="6525486" y="4584602"/>
                </a:cubicBezTo>
                <a:cubicBezTo>
                  <a:pt x="6619513" y="5007535"/>
                  <a:pt x="6628729" y="5444938"/>
                  <a:pt x="6552604" y="5871460"/>
                </a:cubicBezTo>
                <a:cubicBezTo>
                  <a:pt x="6552874" y="5854036"/>
                  <a:pt x="6553010" y="5836633"/>
                  <a:pt x="6553010" y="5819250"/>
                </a:cubicBezTo>
                <a:cubicBezTo>
                  <a:pt x="6553740" y="4008351"/>
                  <a:pt x="5087526" y="2539740"/>
                  <a:pt x="3278129" y="2539009"/>
                </a:cubicBezTo>
                <a:cubicBezTo>
                  <a:pt x="2692370" y="2538772"/>
                  <a:pt x="2117261" y="2695713"/>
                  <a:pt x="1612694" y="2993491"/>
                </a:cubicBezTo>
                <a:cubicBezTo>
                  <a:pt x="1628838" y="2811441"/>
                  <a:pt x="1660206" y="2631063"/>
                  <a:pt x="1706472" y="2454261"/>
                </a:cubicBezTo>
                <a:cubicBezTo>
                  <a:pt x="1991818" y="2290427"/>
                  <a:pt x="2300337" y="2170859"/>
                  <a:pt x="2621516" y="2099628"/>
                </a:cubicBezTo>
                <a:close/>
                <a:moveTo>
                  <a:pt x="1707690" y="2449453"/>
                </a:moveTo>
                <a:cubicBezTo>
                  <a:pt x="1720545" y="2400562"/>
                  <a:pt x="1734531" y="2351853"/>
                  <a:pt x="1749640" y="2303320"/>
                </a:cubicBezTo>
                <a:cubicBezTo>
                  <a:pt x="1789830" y="2174408"/>
                  <a:pt x="1837869" y="2048088"/>
                  <a:pt x="1893486" y="1925054"/>
                </a:cubicBezTo>
                <a:cubicBezTo>
                  <a:pt x="1972649" y="1881220"/>
                  <a:pt x="2053842" y="1840590"/>
                  <a:pt x="2137065" y="1803163"/>
                </a:cubicBezTo>
                <a:cubicBezTo>
                  <a:pt x="3784191" y="1060234"/>
                  <a:pt x="5721209" y="1794333"/>
                  <a:pt x="6463522" y="3442827"/>
                </a:cubicBezTo>
                <a:cubicBezTo>
                  <a:pt x="6815466" y="4224416"/>
                  <a:pt x="6847063" y="5112990"/>
                  <a:pt x="6551521" y="5917643"/>
                </a:cubicBezTo>
                <a:cubicBezTo>
                  <a:pt x="6551521" y="5909246"/>
                  <a:pt x="6551995" y="5900849"/>
                  <a:pt x="6552130" y="5892452"/>
                </a:cubicBezTo>
                <a:cubicBezTo>
                  <a:pt x="6552130" y="5891301"/>
                  <a:pt x="6552536" y="5890150"/>
                  <a:pt x="6552807" y="5888999"/>
                </a:cubicBezTo>
                <a:cubicBezTo>
                  <a:pt x="6880487" y="4108836"/>
                  <a:pt x="5704159" y="2399898"/>
                  <a:pt x="3925473" y="2071979"/>
                </a:cubicBezTo>
                <a:cubicBezTo>
                  <a:pt x="3164872" y="1931751"/>
                  <a:pt x="2379223" y="2065471"/>
                  <a:pt x="1707690" y="2449453"/>
                </a:cubicBezTo>
                <a:close/>
                <a:moveTo>
                  <a:pt x="1609108" y="2995387"/>
                </a:moveTo>
                <a:cubicBezTo>
                  <a:pt x="1451614" y="3088627"/>
                  <a:pt x="1302233" y="3194956"/>
                  <a:pt x="1162548" y="3313250"/>
                </a:cubicBezTo>
                <a:cubicBezTo>
                  <a:pt x="1166384" y="3262463"/>
                  <a:pt x="1171411" y="3211628"/>
                  <a:pt x="1177636" y="3160752"/>
                </a:cubicBezTo>
                <a:cubicBezTo>
                  <a:pt x="1193678" y="3029185"/>
                  <a:pt x="1217630" y="2898708"/>
                  <a:pt x="1249356" y="2770025"/>
                </a:cubicBezTo>
                <a:cubicBezTo>
                  <a:pt x="1320853" y="2711335"/>
                  <a:pt x="1395030" y="2655381"/>
                  <a:pt x="1471892" y="2602155"/>
                </a:cubicBezTo>
                <a:cubicBezTo>
                  <a:pt x="1547084" y="2550284"/>
                  <a:pt x="1623906" y="2501751"/>
                  <a:pt x="1702345" y="2456564"/>
                </a:cubicBezTo>
                <a:cubicBezTo>
                  <a:pt x="1656302" y="2633251"/>
                  <a:pt x="1625110" y="2813493"/>
                  <a:pt x="1609108" y="2995387"/>
                </a:cubicBezTo>
                <a:close/>
                <a:moveTo>
                  <a:pt x="1609108" y="2999518"/>
                </a:moveTo>
                <a:cubicBezTo>
                  <a:pt x="1453299" y="4802901"/>
                  <a:pt x="2787711" y="6391241"/>
                  <a:pt x="4589597" y="6547180"/>
                </a:cubicBezTo>
                <a:cubicBezTo>
                  <a:pt x="5199558" y="6599972"/>
                  <a:pt x="5812091" y="6480567"/>
                  <a:pt x="6357673" y="6202528"/>
                </a:cubicBezTo>
                <a:cubicBezTo>
                  <a:pt x="4899335" y="7270423"/>
                  <a:pt x="2852137" y="6952967"/>
                  <a:pt x="1785121" y="5493390"/>
                </a:cubicBezTo>
                <a:cubicBezTo>
                  <a:pt x="1325921" y="4865261"/>
                  <a:pt x="1105280" y="4093965"/>
                  <a:pt x="1162751" y="3317787"/>
                </a:cubicBezTo>
                <a:cubicBezTo>
                  <a:pt x="1302213" y="3199330"/>
                  <a:pt x="1451418" y="3092866"/>
                  <a:pt x="1608770" y="2999518"/>
                </a:cubicBezTo>
                <a:close/>
                <a:moveTo>
                  <a:pt x="1263362" y="4414260"/>
                </a:moveTo>
                <a:cubicBezTo>
                  <a:pt x="1734964" y="6162060"/>
                  <a:pt x="3532973" y="7196342"/>
                  <a:pt x="5279324" y="6724314"/>
                </a:cubicBezTo>
                <a:cubicBezTo>
                  <a:pt x="5674902" y="6617402"/>
                  <a:pt x="6046921" y="6437147"/>
                  <a:pt x="6376077" y="6192912"/>
                </a:cubicBezTo>
                <a:lnTo>
                  <a:pt x="6393736" y="6183703"/>
                </a:lnTo>
                <a:lnTo>
                  <a:pt x="6400096" y="6180384"/>
                </a:lnTo>
                <a:cubicBezTo>
                  <a:pt x="5148373" y="7484815"/>
                  <a:pt x="3077075" y="7526732"/>
                  <a:pt x="1773727" y="6273942"/>
                </a:cubicBezTo>
                <a:cubicBezTo>
                  <a:pt x="1179686" y="5702953"/>
                  <a:pt x="822654" y="4928746"/>
                  <a:pt x="773904" y="4105877"/>
                </a:cubicBezTo>
                <a:cubicBezTo>
                  <a:pt x="765887" y="3973226"/>
                  <a:pt x="765887" y="3840217"/>
                  <a:pt x="773904" y="3707566"/>
                </a:cubicBezTo>
                <a:cubicBezTo>
                  <a:pt x="833534" y="3636917"/>
                  <a:pt x="896282" y="3568658"/>
                  <a:pt x="962136" y="3502790"/>
                </a:cubicBezTo>
                <a:cubicBezTo>
                  <a:pt x="1025555" y="3439271"/>
                  <a:pt x="1091145" y="3378685"/>
                  <a:pt x="1158894" y="3321038"/>
                </a:cubicBezTo>
                <a:cubicBezTo>
                  <a:pt x="1131748" y="3688734"/>
                  <a:pt x="1167067" y="4058380"/>
                  <a:pt x="1263362" y="4414260"/>
                </a:cubicBezTo>
                <a:close/>
                <a:moveTo>
                  <a:pt x="6392924" y="6180317"/>
                </a:moveTo>
                <a:lnTo>
                  <a:pt x="6418906" y="6160611"/>
                </a:lnTo>
                <a:lnTo>
                  <a:pt x="6407472" y="6172597"/>
                </a:lnTo>
                <a:close/>
                <a:moveTo>
                  <a:pt x="6435686" y="6147610"/>
                </a:moveTo>
                <a:lnTo>
                  <a:pt x="6441234" y="6143276"/>
                </a:lnTo>
                <a:cubicBezTo>
                  <a:pt x="6437377" y="6149167"/>
                  <a:pt x="6433453" y="6154991"/>
                  <a:pt x="6429529" y="6160814"/>
                </a:cubicBezTo>
                <a:lnTo>
                  <a:pt x="6416944" y="6167586"/>
                </a:lnTo>
                <a:cubicBezTo>
                  <a:pt x="6423237" y="6160950"/>
                  <a:pt x="6429461" y="6154314"/>
                  <a:pt x="6435686" y="6147610"/>
                </a:cubicBezTo>
                <a:close/>
                <a:moveTo>
                  <a:pt x="6548274" y="5913241"/>
                </a:moveTo>
                <a:cubicBezTo>
                  <a:pt x="6548274" y="5918049"/>
                  <a:pt x="6548274" y="5922857"/>
                  <a:pt x="6547800" y="5927597"/>
                </a:cubicBezTo>
                <a:cubicBezTo>
                  <a:pt x="6546176" y="5932067"/>
                  <a:pt x="6544485" y="5936536"/>
                  <a:pt x="6542861" y="5941141"/>
                </a:cubicBezTo>
                <a:cubicBezTo>
                  <a:pt x="6544688" y="5931728"/>
                  <a:pt x="6546447" y="5922518"/>
                  <a:pt x="6548274" y="5913241"/>
                </a:cubicBezTo>
                <a:close/>
                <a:moveTo>
                  <a:pt x="6531156" y="5980958"/>
                </a:moveTo>
                <a:cubicBezTo>
                  <a:pt x="6528990" y="5990845"/>
                  <a:pt x="6526893" y="6000799"/>
                  <a:pt x="6524389" y="6010686"/>
                </a:cubicBezTo>
                <a:lnTo>
                  <a:pt x="6516067" y="6024229"/>
                </a:lnTo>
                <a:cubicBezTo>
                  <a:pt x="6513496" y="6028496"/>
                  <a:pt x="6510925" y="6032762"/>
                  <a:pt x="6508286" y="6037028"/>
                </a:cubicBezTo>
                <a:cubicBezTo>
                  <a:pt x="6516270" y="6018812"/>
                  <a:pt x="6523780" y="6000122"/>
                  <a:pt x="6531156" y="5981094"/>
                </a:cubicBezTo>
                <a:close/>
                <a:moveTo>
                  <a:pt x="6538666" y="5961388"/>
                </a:moveTo>
                <a:lnTo>
                  <a:pt x="6541913" y="5952856"/>
                </a:lnTo>
                <a:cubicBezTo>
                  <a:pt x="6543808" y="5947980"/>
                  <a:pt x="6545635" y="5943037"/>
                  <a:pt x="6547462" y="5938161"/>
                </a:cubicBezTo>
                <a:cubicBezTo>
                  <a:pt x="6546988" y="5950283"/>
                  <a:pt x="6546514" y="5962472"/>
                  <a:pt x="6545973" y="5974593"/>
                </a:cubicBezTo>
                <a:cubicBezTo>
                  <a:pt x="6540784" y="5983619"/>
                  <a:pt x="6535506" y="5992653"/>
                  <a:pt x="6530140" y="6001679"/>
                </a:cubicBezTo>
                <a:cubicBezTo>
                  <a:pt x="6533030" y="5988319"/>
                  <a:pt x="6535871" y="5974932"/>
                  <a:pt x="6538666" y="5961523"/>
                </a:cubicBezTo>
                <a:close/>
                <a:moveTo>
                  <a:pt x="6549289" y="5975609"/>
                </a:moveTo>
                <a:cubicBezTo>
                  <a:pt x="7456821" y="4408301"/>
                  <a:pt x="6922979" y="2401462"/>
                  <a:pt x="5356965" y="1493203"/>
                </a:cubicBezTo>
                <a:cubicBezTo>
                  <a:pt x="4373739" y="922952"/>
                  <a:pt x="3165528" y="903171"/>
                  <a:pt x="2164197" y="1440945"/>
                </a:cubicBezTo>
                <a:cubicBezTo>
                  <a:pt x="2220673" y="1357566"/>
                  <a:pt x="2281094" y="1276685"/>
                  <a:pt x="2345460" y="1198316"/>
                </a:cubicBezTo>
                <a:cubicBezTo>
                  <a:pt x="2397965" y="1134391"/>
                  <a:pt x="2452635" y="1072721"/>
                  <a:pt x="2509470" y="1013313"/>
                </a:cubicBezTo>
                <a:cubicBezTo>
                  <a:pt x="2549071" y="992368"/>
                  <a:pt x="2589174" y="972189"/>
                  <a:pt x="2629770" y="952774"/>
                </a:cubicBezTo>
                <a:cubicBezTo>
                  <a:pt x="4260259" y="171696"/>
                  <a:pt x="6214693" y="861377"/>
                  <a:pt x="6995105" y="2493219"/>
                </a:cubicBezTo>
                <a:cubicBezTo>
                  <a:pt x="7550126" y="3653731"/>
                  <a:pt x="7374952" y="5031953"/>
                  <a:pt x="6547326" y="6016442"/>
                </a:cubicBezTo>
                <a:cubicBezTo>
                  <a:pt x="6548003" y="6002946"/>
                  <a:pt x="6548747" y="5989376"/>
                  <a:pt x="6549559" y="5975744"/>
                </a:cubicBezTo>
                <a:close/>
                <a:moveTo>
                  <a:pt x="2934108" y="1148950"/>
                </a:moveTo>
                <a:cubicBezTo>
                  <a:pt x="4688240" y="715460"/>
                  <a:pt x="6461370" y="1787236"/>
                  <a:pt x="6894493" y="3542831"/>
                </a:cubicBezTo>
                <a:cubicBezTo>
                  <a:pt x="7097475" y="4365551"/>
                  <a:pt x="6973859" y="5234989"/>
                  <a:pt x="6549559" y="5968363"/>
                </a:cubicBezTo>
                <a:cubicBezTo>
                  <a:pt x="6550168" y="5954819"/>
                  <a:pt x="6550641" y="5941682"/>
                  <a:pt x="6551115" y="5928275"/>
                </a:cubicBezTo>
                <a:cubicBezTo>
                  <a:pt x="7180157" y="4231174"/>
                  <a:pt x="6315460" y="2345034"/>
                  <a:pt x="4619767" y="1715470"/>
                </a:cubicBezTo>
                <a:cubicBezTo>
                  <a:pt x="3812838" y="1415883"/>
                  <a:pt x="2920502" y="1446268"/>
                  <a:pt x="2135779" y="1800048"/>
                </a:cubicBezTo>
                <a:cubicBezTo>
                  <a:pt x="2053822" y="1836886"/>
                  <a:pt x="1973847" y="1876819"/>
                  <a:pt x="1895855" y="1919839"/>
                </a:cubicBezTo>
                <a:cubicBezTo>
                  <a:pt x="1970653" y="1755179"/>
                  <a:pt x="2059059" y="1597053"/>
                  <a:pt x="2160137" y="1447108"/>
                </a:cubicBezTo>
                <a:cubicBezTo>
                  <a:pt x="2404453" y="1315283"/>
                  <a:pt x="2664535" y="1215096"/>
                  <a:pt x="2934108" y="1148950"/>
                </a:cubicBezTo>
                <a:close/>
                <a:moveTo>
                  <a:pt x="1890847" y="1922616"/>
                </a:moveTo>
                <a:cubicBezTo>
                  <a:pt x="1730410" y="2011318"/>
                  <a:pt x="1577720" y="2113388"/>
                  <a:pt x="1434408" y="2227748"/>
                </a:cubicBezTo>
                <a:cubicBezTo>
                  <a:pt x="1473787" y="2138951"/>
                  <a:pt x="1517205" y="2051772"/>
                  <a:pt x="1564655" y="1966225"/>
                </a:cubicBezTo>
                <a:cubicBezTo>
                  <a:pt x="1605252" y="1893362"/>
                  <a:pt x="1648216" y="1822374"/>
                  <a:pt x="1693549" y="1753256"/>
                </a:cubicBezTo>
                <a:cubicBezTo>
                  <a:pt x="1726885" y="1726982"/>
                  <a:pt x="1760716" y="1701364"/>
                  <a:pt x="1795040" y="1676397"/>
                </a:cubicBezTo>
                <a:cubicBezTo>
                  <a:pt x="1909414" y="1593471"/>
                  <a:pt x="2029038" y="1518055"/>
                  <a:pt x="2153168" y="1450629"/>
                </a:cubicBezTo>
                <a:cubicBezTo>
                  <a:pt x="2052787" y="1600398"/>
                  <a:pt x="1965044" y="1758274"/>
                  <a:pt x="1890847" y="1922616"/>
                </a:cubicBezTo>
                <a:close/>
                <a:moveTo>
                  <a:pt x="1888547" y="1927762"/>
                </a:moveTo>
                <a:cubicBezTo>
                  <a:pt x="1833708" y="2049639"/>
                  <a:pt x="1786264" y="2174712"/>
                  <a:pt x="1746460" y="2302305"/>
                </a:cubicBezTo>
                <a:cubicBezTo>
                  <a:pt x="1730945" y="2351961"/>
                  <a:pt x="1716669" y="2401801"/>
                  <a:pt x="1703630" y="2451824"/>
                </a:cubicBezTo>
                <a:cubicBezTo>
                  <a:pt x="1624061" y="2497465"/>
                  <a:pt x="1546204" y="2546607"/>
                  <a:pt x="1470066" y="2599243"/>
                </a:cubicBezTo>
                <a:cubicBezTo>
                  <a:pt x="1393927" y="2651880"/>
                  <a:pt x="1320826" y="2706934"/>
                  <a:pt x="1250777" y="2764405"/>
                </a:cubicBezTo>
                <a:cubicBezTo>
                  <a:pt x="1295758" y="2582903"/>
                  <a:pt x="1356287" y="2405614"/>
                  <a:pt x="1431702" y="2234520"/>
                </a:cubicBezTo>
                <a:cubicBezTo>
                  <a:pt x="1575048" y="2119530"/>
                  <a:pt x="1727880" y="2016912"/>
                  <a:pt x="1888547" y="1927762"/>
                </a:cubicBezTo>
                <a:close/>
                <a:moveTo>
                  <a:pt x="1246379" y="2767994"/>
                </a:moveTo>
                <a:cubicBezTo>
                  <a:pt x="1106315" y="2883221"/>
                  <a:pt x="976115" y="3009953"/>
                  <a:pt x="857127" y="3146870"/>
                </a:cubicBezTo>
                <a:cubicBezTo>
                  <a:pt x="880044" y="3050712"/>
                  <a:pt x="907419" y="2955434"/>
                  <a:pt x="939267" y="2861037"/>
                </a:cubicBezTo>
                <a:cubicBezTo>
                  <a:pt x="967820" y="2776343"/>
                  <a:pt x="999668" y="2693187"/>
                  <a:pt x="1034804" y="2611568"/>
                </a:cubicBezTo>
                <a:cubicBezTo>
                  <a:pt x="1060197" y="2583039"/>
                  <a:pt x="1086091" y="2554956"/>
                  <a:pt x="1112479" y="2527328"/>
                </a:cubicBezTo>
                <a:cubicBezTo>
                  <a:pt x="1210620" y="2424547"/>
                  <a:pt x="1315332" y="2328254"/>
                  <a:pt x="1425951" y="2239057"/>
                </a:cubicBezTo>
                <a:cubicBezTo>
                  <a:pt x="1351044" y="2409886"/>
                  <a:pt x="1290961" y="2586851"/>
                  <a:pt x="1246379" y="2767994"/>
                </a:cubicBezTo>
                <a:close/>
                <a:moveTo>
                  <a:pt x="1245026" y="2773479"/>
                </a:moveTo>
                <a:cubicBezTo>
                  <a:pt x="1213848" y="2900915"/>
                  <a:pt x="1190282" y="3030099"/>
                  <a:pt x="1174456" y="3160346"/>
                </a:cubicBezTo>
                <a:cubicBezTo>
                  <a:pt x="1168143" y="3212352"/>
                  <a:pt x="1163041" y="3264271"/>
                  <a:pt x="1159165" y="3316095"/>
                </a:cubicBezTo>
                <a:cubicBezTo>
                  <a:pt x="1090469" y="3374466"/>
                  <a:pt x="1023958" y="3435818"/>
                  <a:pt x="959633" y="3500149"/>
                </a:cubicBezTo>
                <a:cubicBezTo>
                  <a:pt x="895308" y="3564480"/>
                  <a:pt x="833493" y="3631655"/>
                  <a:pt x="774175" y="3701675"/>
                </a:cubicBezTo>
                <a:cubicBezTo>
                  <a:pt x="785623" y="3517065"/>
                  <a:pt x="812789" y="3333769"/>
                  <a:pt x="855368" y="3153777"/>
                </a:cubicBezTo>
                <a:cubicBezTo>
                  <a:pt x="974390" y="3016339"/>
                  <a:pt x="1104711" y="2889132"/>
                  <a:pt x="1244958" y="2773479"/>
                </a:cubicBezTo>
                <a:close/>
                <a:moveTo>
                  <a:pt x="770521" y="3706212"/>
                </a:moveTo>
                <a:cubicBezTo>
                  <a:pt x="649757" y="3849270"/>
                  <a:pt x="541529" y="4002466"/>
                  <a:pt x="447035" y="4164113"/>
                </a:cubicBezTo>
                <a:cubicBezTo>
                  <a:pt x="452178" y="4061996"/>
                  <a:pt x="462124" y="3959967"/>
                  <a:pt x="476874" y="3858033"/>
                </a:cubicBezTo>
                <a:cubicBezTo>
                  <a:pt x="488647" y="3776772"/>
                  <a:pt x="503419" y="3696190"/>
                  <a:pt x="521191" y="3616283"/>
                </a:cubicBezTo>
                <a:cubicBezTo>
                  <a:pt x="544737" y="3576872"/>
                  <a:pt x="569163" y="3537915"/>
                  <a:pt x="594468" y="3499404"/>
                </a:cubicBezTo>
                <a:cubicBezTo>
                  <a:pt x="672390" y="3380669"/>
                  <a:pt x="757957" y="3267135"/>
                  <a:pt x="850632" y="3159533"/>
                </a:cubicBezTo>
                <a:cubicBezTo>
                  <a:pt x="808506" y="3339159"/>
                  <a:pt x="781706" y="3522042"/>
                  <a:pt x="770521" y="3706212"/>
                </a:cubicBezTo>
                <a:close/>
                <a:moveTo>
                  <a:pt x="770521" y="3711832"/>
                </a:moveTo>
                <a:cubicBezTo>
                  <a:pt x="762706" y="3843128"/>
                  <a:pt x="762706" y="3974784"/>
                  <a:pt x="770521" y="4106080"/>
                </a:cubicBezTo>
                <a:cubicBezTo>
                  <a:pt x="877588" y="5913357"/>
                  <a:pt x="2428256" y="7291551"/>
                  <a:pt x="4234027" y="7184423"/>
                </a:cubicBezTo>
                <a:cubicBezTo>
                  <a:pt x="5060577" y="7135396"/>
                  <a:pt x="5837890" y="6774871"/>
                  <a:pt x="6409569" y="6175374"/>
                </a:cubicBezTo>
                <a:lnTo>
                  <a:pt x="6425469" y="6166841"/>
                </a:lnTo>
                <a:cubicBezTo>
                  <a:pt x="5410126" y="7664130"/>
                  <a:pt x="3374255" y="8054111"/>
                  <a:pt x="1878215" y="7037952"/>
                </a:cubicBezTo>
                <a:cubicBezTo>
                  <a:pt x="934917" y="6397201"/>
                  <a:pt x="392592" y="5311468"/>
                  <a:pt x="446562" y="4171765"/>
                </a:cubicBezTo>
                <a:cubicBezTo>
                  <a:pt x="540996" y="4009407"/>
                  <a:pt x="649273" y="3855527"/>
                  <a:pt x="770183" y="3711832"/>
                </a:cubicBezTo>
                <a:close/>
                <a:moveTo>
                  <a:pt x="535197" y="5113031"/>
                </a:moveTo>
                <a:cubicBezTo>
                  <a:pt x="965932" y="6871029"/>
                  <a:pt x="2739097" y="7946780"/>
                  <a:pt x="4495664" y="7515627"/>
                </a:cubicBezTo>
                <a:cubicBezTo>
                  <a:pt x="5286631" y="7321550"/>
                  <a:pt x="5976946" y="6839406"/>
                  <a:pt x="6431897" y="6163387"/>
                </a:cubicBezTo>
                <a:lnTo>
                  <a:pt x="6456255" y="6149844"/>
                </a:lnTo>
                <a:cubicBezTo>
                  <a:pt x="5741189" y="7720403"/>
                  <a:pt x="3930250" y="8465085"/>
                  <a:pt x="2318463" y="7851367"/>
                </a:cubicBezTo>
                <a:cubicBezTo>
                  <a:pt x="1089224" y="7383917"/>
                  <a:pt x="258446" y="6226087"/>
                  <a:pt x="208667" y="4910963"/>
                </a:cubicBezTo>
                <a:cubicBezTo>
                  <a:pt x="205690" y="4832276"/>
                  <a:pt x="205554" y="4753840"/>
                  <a:pt x="208261" y="4675647"/>
                </a:cubicBezTo>
                <a:cubicBezTo>
                  <a:pt x="224680" y="4631496"/>
                  <a:pt x="242136" y="4587615"/>
                  <a:pt x="260630" y="4544005"/>
                </a:cubicBezTo>
                <a:cubicBezTo>
                  <a:pt x="313716" y="4418242"/>
                  <a:pt x="374617" y="4295931"/>
                  <a:pt x="442976" y="4177792"/>
                </a:cubicBezTo>
                <a:cubicBezTo>
                  <a:pt x="428611" y="4492358"/>
                  <a:pt x="459671" y="4807350"/>
                  <a:pt x="535197" y="5113031"/>
                </a:cubicBezTo>
                <a:close/>
                <a:moveTo>
                  <a:pt x="6435957" y="6157293"/>
                </a:moveTo>
                <a:cubicBezTo>
                  <a:pt x="6440558" y="6150522"/>
                  <a:pt x="6445091" y="6143750"/>
                  <a:pt x="6449489" y="6136978"/>
                </a:cubicBezTo>
                <a:cubicBezTo>
                  <a:pt x="6456255" y="6131832"/>
                  <a:pt x="6462547" y="6126753"/>
                  <a:pt x="6469043" y="6121538"/>
                </a:cubicBezTo>
                <a:cubicBezTo>
                  <a:pt x="6465525" y="6129461"/>
                  <a:pt x="6462277" y="6137317"/>
                  <a:pt x="6458420" y="6145172"/>
                </a:cubicBezTo>
                <a:cubicBezTo>
                  <a:pt x="6451045" y="6149099"/>
                  <a:pt x="6443535" y="6153230"/>
                  <a:pt x="6435957" y="6157293"/>
                </a:cubicBezTo>
                <a:close/>
                <a:moveTo>
                  <a:pt x="6474862" y="6116663"/>
                </a:moveTo>
                <a:cubicBezTo>
                  <a:pt x="6485214" y="6108401"/>
                  <a:pt x="6495160" y="6100072"/>
                  <a:pt x="6505647" y="6091676"/>
                </a:cubicBezTo>
                <a:cubicBezTo>
                  <a:pt x="6503076" y="6102104"/>
                  <a:pt x="6500437" y="6112465"/>
                  <a:pt x="6497798" y="6122825"/>
                </a:cubicBezTo>
                <a:cubicBezTo>
                  <a:pt x="6486432" y="6129326"/>
                  <a:pt x="6474997" y="6135759"/>
                  <a:pt x="6463495" y="6142124"/>
                </a:cubicBezTo>
                <a:cubicBezTo>
                  <a:pt x="6467351" y="6133727"/>
                  <a:pt x="6471140" y="6125195"/>
                  <a:pt x="6475132" y="6116730"/>
                </a:cubicBezTo>
                <a:close/>
                <a:moveTo>
                  <a:pt x="6477839" y="6109891"/>
                </a:moveTo>
                <a:lnTo>
                  <a:pt x="6484943" y="6093436"/>
                </a:lnTo>
                <a:lnTo>
                  <a:pt x="6492521" y="6084904"/>
                </a:lnTo>
                <a:cubicBezTo>
                  <a:pt x="6499335" y="6077184"/>
                  <a:pt x="6506101" y="6069444"/>
                  <a:pt x="6512819" y="6061677"/>
                </a:cubicBezTo>
                <a:cubicBezTo>
                  <a:pt x="6510857" y="6069870"/>
                  <a:pt x="6508895" y="6077997"/>
                  <a:pt x="6506865" y="6086123"/>
                </a:cubicBezTo>
                <a:cubicBezTo>
                  <a:pt x="6497325" y="6094249"/>
                  <a:pt x="6487649" y="6102104"/>
                  <a:pt x="6477839" y="6110027"/>
                </a:cubicBezTo>
                <a:close/>
                <a:moveTo>
                  <a:pt x="6490018" y="6082805"/>
                </a:moveTo>
                <a:lnTo>
                  <a:pt x="6489206" y="6083685"/>
                </a:lnTo>
                <a:cubicBezTo>
                  <a:pt x="6492995" y="6074949"/>
                  <a:pt x="6496716" y="6066078"/>
                  <a:pt x="6500370" y="6057275"/>
                </a:cubicBezTo>
                <a:cubicBezTo>
                  <a:pt x="6506730" y="6047030"/>
                  <a:pt x="6513022" y="6036757"/>
                  <a:pt x="6519247" y="6026464"/>
                </a:cubicBezTo>
                <a:lnTo>
                  <a:pt x="6522292" y="6021318"/>
                </a:lnTo>
                <a:cubicBezTo>
                  <a:pt x="6519768" y="6032511"/>
                  <a:pt x="6517217" y="6043644"/>
                  <a:pt x="6514646" y="6054702"/>
                </a:cubicBezTo>
                <a:cubicBezTo>
                  <a:pt x="6506344" y="6064135"/>
                  <a:pt x="6498137" y="6073507"/>
                  <a:pt x="6490018" y="6082805"/>
                </a:cubicBezTo>
                <a:close/>
                <a:moveTo>
                  <a:pt x="6527840" y="6012108"/>
                </a:moveTo>
                <a:cubicBezTo>
                  <a:pt x="6533794" y="6002086"/>
                  <a:pt x="6539748" y="5992132"/>
                  <a:pt x="6545635" y="5982042"/>
                </a:cubicBezTo>
                <a:cubicBezTo>
                  <a:pt x="6544958" y="5994976"/>
                  <a:pt x="6544281" y="6007977"/>
                  <a:pt x="6543469" y="6020911"/>
                </a:cubicBezTo>
                <a:cubicBezTo>
                  <a:pt x="6535533" y="6030391"/>
                  <a:pt x="6527502" y="6039824"/>
                  <a:pt x="6519382" y="6049217"/>
                </a:cubicBezTo>
                <a:cubicBezTo>
                  <a:pt x="6522495" y="6036825"/>
                  <a:pt x="6525066" y="6024500"/>
                  <a:pt x="6527840" y="6012108"/>
                </a:cubicBezTo>
                <a:close/>
                <a:moveTo>
                  <a:pt x="2409602" y="977694"/>
                </a:moveTo>
                <a:cubicBezTo>
                  <a:pt x="2567144" y="854273"/>
                  <a:pt x="2735592" y="745479"/>
                  <a:pt x="2912863" y="652653"/>
                </a:cubicBezTo>
                <a:cubicBezTo>
                  <a:pt x="2767940" y="760587"/>
                  <a:pt x="2632301" y="880480"/>
                  <a:pt x="2507372" y="1011078"/>
                </a:cubicBezTo>
                <a:cubicBezTo>
                  <a:pt x="2347185" y="1095806"/>
                  <a:pt x="2194387" y="1193840"/>
                  <a:pt x="2050595" y="1304157"/>
                </a:cubicBezTo>
                <a:cubicBezTo>
                  <a:pt x="2162113" y="1186682"/>
                  <a:pt x="2282109" y="1077570"/>
                  <a:pt x="2409602" y="977694"/>
                </a:cubicBezTo>
                <a:close/>
                <a:moveTo>
                  <a:pt x="2035709" y="1319529"/>
                </a:moveTo>
                <a:cubicBezTo>
                  <a:pt x="2181586" y="1206096"/>
                  <a:pt x="2336921" y="1105394"/>
                  <a:pt x="2499997" y="1018527"/>
                </a:cubicBezTo>
                <a:cubicBezTo>
                  <a:pt x="2445868" y="1075680"/>
                  <a:pt x="2393499" y="1134933"/>
                  <a:pt x="2342889" y="1196284"/>
                </a:cubicBezTo>
                <a:cubicBezTo>
                  <a:pt x="2277075" y="1276414"/>
                  <a:pt x="2215369" y="1359164"/>
                  <a:pt x="2157769" y="1444534"/>
                </a:cubicBezTo>
                <a:cubicBezTo>
                  <a:pt x="2031501" y="1512827"/>
                  <a:pt x="1909860" y="1589354"/>
                  <a:pt x="1793619" y="1673621"/>
                </a:cubicBezTo>
                <a:cubicBezTo>
                  <a:pt x="1761819" y="1696692"/>
                  <a:pt x="1730492" y="1720257"/>
                  <a:pt x="1699638" y="1744317"/>
                </a:cubicBezTo>
                <a:cubicBezTo>
                  <a:pt x="1799593" y="1593566"/>
                  <a:pt x="1912012" y="1451469"/>
                  <a:pt x="2035709" y="1319529"/>
                </a:cubicBezTo>
                <a:close/>
                <a:moveTo>
                  <a:pt x="1592058" y="1736191"/>
                </a:moveTo>
                <a:cubicBezTo>
                  <a:pt x="1721980" y="1589333"/>
                  <a:pt x="1864744" y="1454374"/>
                  <a:pt x="2018659" y="1332937"/>
                </a:cubicBezTo>
                <a:cubicBezTo>
                  <a:pt x="1898351" y="1463048"/>
                  <a:pt x="1788937" y="1602836"/>
                  <a:pt x="1691519" y="1750886"/>
                </a:cubicBezTo>
                <a:cubicBezTo>
                  <a:pt x="1555034" y="1858068"/>
                  <a:pt x="1427378" y="1976044"/>
                  <a:pt x="1309777" y="2103691"/>
                </a:cubicBezTo>
                <a:cubicBezTo>
                  <a:pt x="1395192" y="1974751"/>
                  <a:pt x="1489511" y="1851953"/>
                  <a:pt x="1592058" y="1736191"/>
                </a:cubicBezTo>
                <a:close/>
                <a:moveTo>
                  <a:pt x="1297801" y="2121500"/>
                </a:moveTo>
                <a:cubicBezTo>
                  <a:pt x="1416925" y="1990570"/>
                  <a:pt x="1546542" y="1869607"/>
                  <a:pt x="1685362" y="1759824"/>
                </a:cubicBezTo>
                <a:cubicBezTo>
                  <a:pt x="1641836" y="1826370"/>
                  <a:pt x="1600671" y="1894628"/>
                  <a:pt x="1561881" y="1964600"/>
                </a:cubicBezTo>
                <a:cubicBezTo>
                  <a:pt x="1513348" y="2052179"/>
                  <a:pt x="1469030" y="2141430"/>
                  <a:pt x="1428928" y="2232353"/>
                </a:cubicBezTo>
                <a:cubicBezTo>
                  <a:pt x="1316307" y="2322775"/>
                  <a:pt x="1209781" y="2420545"/>
                  <a:pt x="1110043" y="2525026"/>
                </a:cubicBezTo>
                <a:cubicBezTo>
                  <a:pt x="1085956" y="2550216"/>
                  <a:pt x="1062295" y="2575766"/>
                  <a:pt x="1039067" y="2601681"/>
                </a:cubicBezTo>
                <a:cubicBezTo>
                  <a:pt x="1111673" y="2434630"/>
                  <a:pt x="1198225" y="2273999"/>
                  <a:pt x="1297801" y="2121500"/>
                </a:cubicBezTo>
                <a:close/>
                <a:moveTo>
                  <a:pt x="916195" y="2633982"/>
                </a:moveTo>
                <a:cubicBezTo>
                  <a:pt x="1022794" y="2457268"/>
                  <a:pt x="1145781" y="2290989"/>
                  <a:pt x="1283525" y="2137346"/>
                </a:cubicBezTo>
                <a:cubicBezTo>
                  <a:pt x="1186770" y="2287590"/>
                  <a:pt x="1102607" y="2445594"/>
                  <a:pt x="1031895" y="2609739"/>
                </a:cubicBezTo>
                <a:cubicBezTo>
                  <a:pt x="910768" y="2745735"/>
                  <a:pt x="801314" y="2891706"/>
                  <a:pt x="704687" y="3046107"/>
                </a:cubicBezTo>
                <a:cubicBezTo>
                  <a:pt x="765467" y="2903949"/>
                  <a:pt x="836139" y="2766233"/>
                  <a:pt x="916195" y="2633982"/>
                </a:cubicBezTo>
                <a:close/>
                <a:moveTo>
                  <a:pt x="696162" y="3066219"/>
                </a:moveTo>
                <a:cubicBezTo>
                  <a:pt x="793648" y="2907992"/>
                  <a:pt x="904571" y="2758459"/>
                  <a:pt x="1027700" y="2619287"/>
                </a:cubicBezTo>
                <a:cubicBezTo>
                  <a:pt x="994140" y="2697974"/>
                  <a:pt x="963605" y="2778104"/>
                  <a:pt x="936087" y="2859682"/>
                </a:cubicBezTo>
                <a:cubicBezTo>
                  <a:pt x="903522" y="2956199"/>
                  <a:pt x="875598" y="3053692"/>
                  <a:pt x="852323" y="3152152"/>
                </a:cubicBezTo>
                <a:cubicBezTo>
                  <a:pt x="757916" y="3261393"/>
                  <a:pt x="670827" y="3376769"/>
                  <a:pt x="591626" y="3497508"/>
                </a:cubicBezTo>
                <a:cubicBezTo>
                  <a:pt x="568170" y="3533175"/>
                  <a:pt x="545459" y="3569288"/>
                  <a:pt x="523492" y="3605855"/>
                </a:cubicBezTo>
                <a:cubicBezTo>
                  <a:pt x="565172" y="3421272"/>
                  <a:pt x="622950" y="3240699"/>
                  <a:pt x="696162" y="3066219"/>
                </a:cubicBezTo>
                <a:close/>
                <a:moveTo>
                  <a:pt x="420174" y="3627863"/>
                </a:moveTo>
                <a:cubicBezTo>
                  <a:pt x="491528" y="3439136"/>
                  <a:pt x="580085" y="3257384"/>
                  <a:pt x="684727" y="3084909"/>
                </a:cubicBezTo>
                <a:cubicBezTo>
                  <a:pt x="614052" y="3256490"/>
                  <a:pt x="558274" y="3433841"/>
                  <a:pt x="518011" y="3614997"/>
                </a:cubicBezTo>
                <a:cubicBezTo>
                  <a:pt x="425193" y="3770109"/>
                  <a:pt x="345504" y="3932725"/>
                  <a:pt x="279778" y="4101137"/>
                </a:cubicBezTo>
                <a:cubicBezTo>
                  <a:pt x="314722" y="3940099"/>
                  <a:pt x="361652" y="3781899"/>
                  <a:pt x="420174" y="3627863"/>
                </a:cubicBezTo>
                <a:close/>
                <a:moveTo>
                  <a:pt x="275312" y="4122197"/>
                </a:moveTo>
                <a:cubicBezTo>
                  <a:pt x="341179" y="3950141"/>
                  <a:pt x="421580" y="3784018"/>
                  <a:pt x="515643" y="3625628"/>
                </a:cubicBezTo>
                <a:cubicBezTo>
                  <a:pt x="498863" y="3702372"/>
                  <a:pt x="484812" y="3779732"/>
                  <a:pt x="473491" y="3857694"/>
                </a:cubicBezTo>
                <a:cubicBezTo>
                  <a:pt x="458380" y="3961843"/>
                  <a:pt x="448321" y="4066127"/>
                  <a:pt x="443314" y="4170546"/>
                </a:cubicBezTo>
                <a:cubicBezTo>
                  <a:pt x="373567" y="4290642"/>
                  <a:pt x="311488" y="4415038"/>
                  <a:pt x="257450" y="4542990"/>
                </a:cubicBezTo>
                <a:cubicBezTo>
                  <a:pt x="240354" y="4583620"/>
                  <a:pt x="224093" y="4624385"/>
                  <a:pt x="208667" y="4665286"/>
                </a:cubicBezTo>
                <a:cubicBezTo>
                  <a:pt x="215525" y="4482654"/>
                  <a:pt x="237820" y="4300929"/>
                  <a:pt x="275312" y="4122061"/>
                </a:cubicBezTo>
                <a:close/>
                <a:moveTo>
                  <a:pt x="111776" y="4706729"/>
                </a:moveTo>
                <a:cubicBezTo>
                  <a:pt x="146889" y="4514190"/>
                  <a:pt x="199081" y="4325165"/>
                  <a:pt x="267734" y="4141902"/>
                </a:cubicBezTo>
                <a:cubicBezTo>
                  <a:pt x="232084" y="4317499"/>
                  <a:pt x="211059" y="4495757"/>
                  <a:pt x="204878" y="4674834"/>
                </a:cubicBezTo>
                <a:cubicBezTo>
                  <a:pt x="141904" y="4843849"/>
                  <a:pt x="93132" y="5017834"/>
                  <a:pt x="59069" y="5194968"/>
                </a:cubicBezTo>
                <a:cubicBezTo>
                  <a:pt x="64525" y="5031140"/>
                  <a:pt x="82142" y="4867943"/>
                  <a:pt x="111776" y="4706729"/>
                </a:cubicBezTo>
                <a:close/>
                <a:moveTo>
                  <a:pt x="58460" y="5216570"/>
                </a:moveTo>
                <a:cubicBezTo>
                  <a:pt x="91999" y="5035772"/>
                  <a:pt x="140869" y="4858164"/>
                  <a:pt x="204539" y="4685669"/>
                </a:cubicBezTo>
                <a:cubicBezTo>
                  <a:pt x="202239" y="4760564"/>
                  <a:pt x="202487" y="4835709"/>
                  <a:pt x="205284" y="4911099"/>
                </a:cubicBezTo>
                <a:cubicBezTo>
                  <a:pt x="273542" y="6721382"/>
                  <a:pt x="1795182" y="8133544"/>
                  <a:pt x="3603963" y="8065217"/>
                </a:cubicBezTo>
                <a:cubicBezTo>
                  <a:pt x="4455040" y="8033051"/>
                  <a:pt x="5260189" y="7670630"/>
                  <a:pt x="5848865" y="7054610"/>
                </a:cubicBezTo>
                <a:cubicBezTo>
                  <a:pt x="6102836" y="6789024"/>
                  <a:pt x="6309885" y="6482185"/>
                  <a:pt x="6461194" y="6147203"/>
                </a:cubicBezTo>
                <a:cubicBezTo>
                  <a:pt x="6473055" y="6140614"/>
                  <a:pt x="6484855" y="6133978"/>
                  <a:pt x="6496581" y="6127295"/>
                </a:cubicBezTo>
                <a:cubicBezTo>
                  <a:pt x="6063938" y="7786359"/>
                  <a:pt x="4425121" y="8829876"/>
                  <a:pt x="2740260" y="8519191"/>
                </a:cubicBezTo>
                <a:cubicBezTo>
                  <a:pt x="1155809" y="8229295"/>
                  <a:pt x="18037" y="6828097"/>
                  <a:pt x="58460" y="5216570"/>
                </a:cubicBezTo>
                <a:close/>
                <a:moveTo>
                  <a:pt x="6292448" y="7094224"/>
                </a:moveTo>
                <a:cubicBezTo>
                  <a:pt x="5587579" y="8761211"/>
                  <a:pt x="3665933" y="9540700"/>
                  <a:pt x="2000329" y="8835226"/>
                </a:cubicBezTo>
                <a:cubicBezTo>
                  <a:pt x="1216433" y="8503210"/>
                  <a:pt x="592504" y="7878793"/>
                  <a:pt x="260765" y="7094224"/>
                </a:cubicBezTo>
                <a:cubicBezTo>
                  <a:pt x="90204" y="6690835"/>
                  <a:pt x="2754" y="6257135"/>
                  <a:pt x="3655" y="5819115"/>
                </a:cubicBezTo>
                <a:cubicBezTo>
                  <a:pt x="3514" y="5624199"/>
                  <a:pt x="20631" y="5429655"/>
                  <a:pt x="54806" y="5237765"/>
                </a:cubicBezTo>
                <a:cubicBezTo>
                  <a:pt x="24589" y="6843333"/>
                  <a:pt x="1161594" y="8234171"/>
                  <a:pt x="2740057" y="8522509"/>
                </a:cubicBezTo>
                <a:cubicBezTo>
                  <a:pt x="4427739" y="8833668"/>
                  <a:pt x="6069019" y="7787510"/>
                  <a:pt x="6500979" y="6125331"/>
                </a:cubicBezTo>
                <a:cubicBezTo>
                  <a:pt x="6513293" y="6118288"/>
                  <a:pt x="6525540" y="6111178"/>
                  <a:pt x="6537718" y="6104000"/>
                </a:cubicBezTo>
                <a:cubicBezTo>
                  <a:pt x="6508665" y="6444955"/>
                  <a:pt x="6425882" y="6779137"/>
                  <a:pt x="6292448" y="7094224"/>
                </a:cubicBezTo>
                <a:close/>
                <a:moveTo>
                  <a:pt x="6537786" y="6099666"/>
                </a:moveTo>
                <a:cubicBezTo>
                  <a:pt x="6525878" y="6106438"/>
                  <a:pt x="6513902" y="6113616"/>
                  <a:pt x="6501858" y="6120523"/>
                </a:cubicBezTo>
                <a:cubicBezTo>
                  <a:pt x="6504632" y="6109756"/>
                  <a:pt x="6507339" y="6098989"/>
                  <a:pt x="6510045" y="6088154"/>
                </a:cubicBezTo>
                <a:cubicBezTo>
                  <a:pt x="6520330" y="6079710"/>
                  <a:pt x="6530567" y="6071177"/>
                  <a:pt x="6540763" y="6062557"/>
                </a:cubicBezTo>
                <a:cubicBezTo>
                  <a:pt x="6539816" y="6074949"/>
                  <a:pt x="6538869" y="6087274"/>
                  <a:pt x="6537786" y="6099666"/>
                </a:cubicBezTo>
                <a:close/>
                <a:moveTo>
                  <a:pt x="6511398" y="6082669"/>
                </a:moveTo>
                <a:cubicBezTo>
                  <a:pt x="6513564" y="6073866"/>
                  <a:pt x="6515661" y="6065130"/>
                  <a:pt x="6517691" y="6056327"/>
                </a:cubicBezTo>
                <a:cubicBezTo>
                  <a:pt x="6526264" y="6046441"/>
                  <a:pt x="6534741" y="6036534"/>
                  <a:pt x="6543131" y="6026599"/>
                </a:cubicBezTo>
                <a:cubicBezTo>
                  <a:pt x="6542543" y="6037028"/>
                  <a:pt x="6541866" y="6047456"/>
                  <a:pt x="6541101" y="6057885"/>
                </a:cubicBezTo>
                <a:close/>
                <a:moveTo>
                  <a:pt x="7996890" y="4256141"/>
                </a:moveTo>
                <a:cubicBezTo>
                  <a:pt x="7756762" y="5029400"/>
                  <a:pt x="7238007" y="5685706"/>
                  <a:pt x="6541372" y="6097567"/>
                </a:cubicBezTo>
                <a:cubicBezTo>
                  <a:pt x="6542455" y="6084904"/>
                  <a:pt x="6543402" y="6072173"/>
                  <a:pt x="6544349" y="6059510"/>
                </a:cubicBezTo>
                <a:cubicBezTo>
                  <a:pt x="7924628" y="4887716"/>
                  <a:pt x="8094388" y="2817935"/>
                  <a:pt x="6923588" y="1436530"/>
                </a:cubicBezTo>
                <a:cubicBezTo>
                  <a:pt x="6102410" y="467695"/>
                  <a:pt x="4796084" y="60595"/>
                  <a:pt x="3570525" y="391604"/>
                </a:cubicBezTo>
                <a:cubicBezTo>
                  <a:pt x="3355858" y="449455"/>
                  <a:pt x="3147700" y="529238"/>
                  <a:pt x="2949332" y="629697"/>
                </a:cubicBezTo>
                <a:cubicBezTo>
                  <a:pt x="3078151" y="536401"/>
                  <a:pt x="3213534" y="452530"/>
                  <a:pt x="3354417" y="378738"/>
                </a:cubicBezTo>
                <a:cubicBezTo>
                  <a:pt x="4954200" y="-461690"/>
                  <a:pt x="6931842" y="154966"/>
                  <a:pt x="7771512" y="1756080"/>
                </a:cubicBezTo>
                <a:cubicBezTo>
                  <a:pt x="8175514" y="2526373"/>
                  <a:pt x="8256639" y="3425918"/>
                  <a:pt x="7996890" y="4256141"/>
                </a:cubicBezTo>
                <a:close/>
              </a:path>
            </a:pathLst>
          </a:custGeom>
          <a:gradFill flip="none" rotWithShape="1">
            <a:gsLst>
              <a:gs pos="0">
                <a:srgbClr val="FF6D70"/>
              </a:gs>
              <a:gs pos="66000">
                <a:srgbClr val="2C1F56"/>
              </a:gs>
              <a:gs pos="26000">
                <a:schemeClr val="accent1">
                  <a:lumMod val="45000"/>
                  <a:lumOff val="55000"/>
                </a:schemeClr>
              </a:gs>
            </a:gsLst>
            <a:lin ang="0" scaled="0"/>
            <a:tileRect/>
          </a:gradFill>
          <a:ln w="6758" cap="flat">
            <a:noFill/>
            <a:prstDash val="solid"/>
            <a:miter/>
          </a:ln>
        </p:spPr>
        <p:txBody>
          <a:bodyPr rtlCol="0" anchor="ctr"/>
          <a:lstStyle/>
          <a:p>
            <a:endParaRPr lang="en-US" sz="2400"/>
          </a:p>
        </p:txBody>
      </p:sp>
      <p:sp>
        <p:nvSpPr>
          <p:cNvPr id="2" name="Title 1">
            <a:extLst>
              <a:ext uri="{FF2B5EF4-FFF2-40B4-BE49-F238E27FC236}">
                <a16:creationId xmlns:a16="http://schemas.microsoft.com/office/drawing/2014/main" id="{1731944A-0D3C-514A-A98E-4FD741224354}"/>
              </a:ext>
            </a:extLst>
          </p:cNvPr>
          <p:cNvSpPr>
            <a:spLocks noGrp="1"/>
          </p:cNvSpPr>
          <p:nvPr>
            <p:ph type="title" hasCustomPrompt="1"/>
          </p:nvPr>
        </p:nvSpPr>
        <p:spPr>
          <a:xfrm>
            <a:off x="508000" y="365677"/>
            <a:ext cx="11176000" cy="517001"/>
          </a:xfrm>
        </p:spPr>
        <p:txBody>
          <a:bodyPr/>
          <a:lstStyle>
            <a:lvl1pPr>
              <a:defRPr>
                <a:solidFill>
                  <a:schemeClr val="bg1"/>
                </a:solidFill>
              </a:defRPr>
            </a:lvl1pPr>
          </a:lstStyle>
          <a:p>
            <a:r>
              <a:rPr lang="en-US" dirty="0"/>
              <a:t>Click to edit master title style</a:t>
            </a:r>
          </a:p>
        </p:txBody>
      </p:sp>
      <p:sp>
        <p:nvSpPr>
          <p:cNvPr id="7" name="Date Placeholder 2">
            <a:extLst>
              <a:ext uri="{FF2B5EF4-FFF2-40B4-BE49-F238E27FC236}">
                <a16:creationId xmlns:a16="http://schemas.microsoft.com/office/drawing/2014/main" id="{B1BE08C3-486D-4D29-A4CC-55058E6CAD49}"/>
              </a:ext>
            </a:extLst>
          </p:cNvPr>
          <p:cNvSpPr>
            <a:spLocks noGrp="1"/>
          </p:cNvSpPr>
          <p:nvPr>
            <p:ph type="dt" sz="half" idx="10"/>
          </p:nvPr>
        </p:nvSpPr>
        <p:spPr>
          <a:xfrm>
            <a:off x="508000" y="6356351"/>
            <a:ext cx="814269" cy="365125"/>
          </a:xfrm>
        </p:spPr>
        <p:txBody>
          <a:bodyPr/>
          <a:lstStyle>
            <a:lvl1pPr>
              <a:defRPr>
                <a:solidFill>
                  <a:schemeClr val="bg1"/>
                </a:solidFill>
              </a:defRPr>
            </a:lvl1pPr>
          </a:lstStyle>
          <a:p>
            <a:fld id="{B01F1F41-2107-2B4A-AFD3-0A9C893A5C18}" type="datetimeFigureOut">
              <a:rPr lang="en-US" smtClean="0"/>
              <a:pPr/>
              <a:t>7/16/2021</a:t>
            </a:fld>
            <a:endParaRPr lang="en-US"/>
          </a:p>
        </p:txBody>
      </p:sp>
      <p:sp>
        <p:nvSpPr>
          <p:cNvPr id="9" name="Footer Placeholder 3">
            <a:extLst>
              <a:ext uri="{FF2B5EF4-FFF2-40B4-BE49-F238E27FC236}">
                <a16:creationId xmlns:a16="http://schemas.microsoft.com/office/drawing/2014/main" id="{4FD8289E-60DA-49A2-ACD5-817042829A10}"/>
              </a:ext>
            </a:extLst>
          </p:cNvPr>
          <p:cNvSpPr>
            <a:spLocks noGrp="1"/>
          </p:cNvSpPr>
          <p:nvPr>
            <p:ph type="ftr" sz="quarter" idx="11"/>
          </p:nvPr>
        </p:nvSpPr>
        <p:spPr>
          <a:xfrm>
            <a:off x="1340532" y="6356351"/>
            <a:ext cx="2823179" cy="365125"/>
          </a:xfrm>
        </p:spPr>
        <p:txBody>
          <a:bodyPr/>
          <a:lstStyle/>
          <a:p>
            <a:r>
              <a:rPr lang="en-US">
                <a:solidFill>
                  <a:schemeClr val="tx2"/>
                </a:solidFill>
              </a:rPr>
              <a:t>|</a:t>
            </a:r>
            <a:r>
              <a:rPr lang="en-US"/>
              <a:t>  </a:t>
            </a:r>
            <a:r>
              <a:rPr lang="en-US">
                <a:solidFill>
                  <a:schemeClr val="bg1"/>
                </a:solidFill>
              </a:rPr>
              <a:t>Footer</a:t>
            </a:r>
          </a:p>
        </p:txBody>
      </p:sp>
      <p:pic>
        <p:nvPicPr>
          <p:cNvPr id="11" name="Graphic 10">
            <a:extLst>
              <a:ext uri="{FF2B5EF4-FFF2-40B4-BE49-F238E27FC236}">
                <a16:creationId xmlns:a16="http://schemas.microsoft.com/office/drawing/2014/main" id="{B1B20BC1-BF3E-48DF-8D38-782E26BEB7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269917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Engage CTA">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10" name="Text Placeholder 9">
            <a:extLst>
              <a:ext uri="{FF2B5EF4-FFF2-40B4-BE49-F238E27FC236}">
                <a16:creationId xmlns:a16="http://schemas.microsoft.com/office/drawing/2014/main" id="{DB6FC22D-6295-4A49-BC29-503E7C2A5F37}"/>
              </a:ext>
            </a:extLst>
          </p:cNvPr>
          <p:cNvSpPr>
            <a:spLocks noGrp="1"/>
          </p:cNvSpPr>
          <p:nvPr>
            <p:ph type="body" sz="quarter" idx="10"/>
          </p:nvPr>
        </p:nvSpPr>
        <p:spPr>
          <a:xfrm>
            <a:off x="5723348" y="736600"/>
            <a:ext cx="5960653" cy="4150784"/>
          </a:xfrm>
        </p:spPr>
        <p:txBody>
          <a:bodyPr>
            <a:normAutofit/>
          </a:bodyPr>
          <a:lstStyle>
            <a:lvl1pPr marL="0" indent="383108">
              <a:spcAft>
                <a:spcPts val="2400"/>
              </a:spcAft>
              <a:buFontTx/>
              <a:buBlip>
                <a:blip r:embed="rId3"/>
              </a:buBlip>
              <a:tabLst/>
              <a:defRPr sz="2133">
                <a:solidFill>
                  <a:schemeClr val="accent5"/>
                </a:solidFill>
                <a:latin typeface="+mn-lt"/>
              </a:defRPr>
            </a:lvl1pPr>
            <a:lvl2pPr marL="0" indent="383108">
              <a:spcAft>
                <a:spcPts val="2400"/>
              </a:spcAft>
              <a:buFontTx/>
              <a:buBlip>
                <a:blip r:embed="rId3"/>
              </a:buBlip>
              <a:tabLst/>
              <a:defRPr sz="2133">
                <a:solidFill>
                  <a:schemeClr val="accent5"/>
                </a:solidFill>
                <a:latin typeface="+mn-lt"/>
              </a:defRPr>
            </a:lvl2pPr>
            <a:lvl3pPr marL="0" indent="383108">
              <a:spcAft>
                <a:spcPts val="2400"/>
              </a:spcAft>
              <a:buFontTx/>
              <a:buBlip>
                <a:blip r:embed="rId3"/>
              </a:buBlip>
              <a:tabLst/>
              <a:defRPr sz="2133">
                <a:solidFill>
                  <a:schemeClr val="accent5"/>
                </a:solidFill>
                <a:latin typeface="+mn-lt"/>
              </a:defRPr>
            </a:lvl3pPr>
            <a:lvl4pPr marL="0" indent="383108">
              <a:spcAft>
                <a:spcPts val="2400"/>
              </a:spcAft>
              <a:buFontTx/>
              <a:buBlip>
                <a:blip r:embed="rId3"/>
              </a:buBlip>
              <a:tabLst/>
              <a:defRPr sz="2133">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667827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7531181"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6016579" y="2019357"/>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5551891" y="5442395"/>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5551891" y="5367695"/>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spTree>
    <p:extLst>
      <p:ext uri="{BB962C8B-B14F-4D97-AF65-F5344CB8AC3E}">
        <p14:creationId xmlns:p14="http://schemas.microsoft.com/office/powerpoint/2010/main" val="135622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65" name="Group 64">
            <a:extLst>
              <a:ext uri="{FF2B5EF4-FFF2-40B4-BE49-F238E27FC236}">
                <a16:creationId xmlns:a16="http://schemas.microsoft.com/office/drawing/2014/main" id="{CC0EE77F-062F-7044-B649-E334A4557711}"/>
              </a:ext>
            </a:extLst>
          </p:cNvPr>
          <p:cNvGrpSpPr/>
          <p:nvPr userDrawn="1"/>
        </p:nvGrpSpPr>
        <p:grpSpPr>
          <a:xfrm>
            <a:off x="5551891" y="1"/>
            <a:ext cx="7959877" cy="7591636"/>
            <a:chOff x="7994577" y="0"/>
            <a:chExt cx="11462017" cy="10932307"/>
          </a:xfrm>
        </p:grpSpPr>
        <p:grpSp>
          <p:nvGrpSpPr>
            <p:cNvPr id="8" name="Circle">
              <a:extLst>
                <a:ext uri="{FF2B5EF4-FFF2-40B4-BE49-F238E27FC236}">
                  <a16:creationId xmlns:a16="http://schemas.microsoft.com/office/drawing/2014/main" id="{4970906B-47AF-9543-A23B-58EC8065A7D2}"/>
                </a:ext>
              </a:extLst>
            </p:cNvPr>
            <p:cNvGrpSpPr/>
            <p:nvPr userDrawn="1"/>
          </p:nvGrpSpPr>
          <p:grpSpPr>
            <a:xfrm>
              <a:off x="9956627" y="1432340"/>
              <a:ext cx="9499967" cy="9499967"/>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14" name="one lump">
              <a:extLst>
                <a:ext uri="{FF2B5EF4-FFF2-40B4-BE49-F238E27FC236}">
                  <a16:creationId xmlns:a16="http://schemas.microsoft.com/office/drawing/2014/main" id="{4CA3D591-3B0F-8948-88A0-ACCBF374FB5D}"/>
                </a:ext>
              </a:extLst>
            </p:cNvPr>
            <p:cNvGrpSpPr/>
            <p:nvPr userDrawn="1"/>
          </p:nvGrpSpPr>
          <p:grpSpPr>
            <a:xfrm rot="10800000">
              <a:off x="14016662" y="0"/>
              <a:ext cx="3562164" cy="4398387"/>
              <a:chOff x="2328672" y="2862072"/>
              <a:chExt cx="1847682" cy="2281428"/>
            </a:xfrm>
          </p:grpSpPr>
          <p:sp>
            <p:nvSpPr>
              <p:cNvPr id="15" name="Graphic 6" hidden="1">
                <a:extLst>
                  <a:ext uri="{FF2B5EF4-FFF2-40B4-BE49-F238E27FC236}">
                    <a16:creationId xmlns:a16="http://schemas.microsoft.com/office/drawing/2014/main" id="{918EB62E-DBF3-B948-B499-9E979886B8C6}"/>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16" name="Graphic 6">
                <a:extLst>
                  <a:ext uri="{FF2B5EF4-FFF2-40B4-BE49-F238E27FC236}">
                    <a16:creationId xmlns:a16="http://schemas.microsoft.com/office/drawing/2014/main" id="{216FA2DA-94DF-9540-9EB3-655F51D1AC9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37" name="4 Xs">
              <a:extLst>
                <a:ext uri="{FF2B5EF4-FFF2-40B4-BE49-F238E27FC236}">
                  <a16:creationId xmlns:a16="http://schemas.microsoft.com/office/drawing/2014/main" id="{2428E0FC-1648-9543-BAF3-57967B99CAF3}"/>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38" name="Graphic 37">
                <a:extLst>
                  <a:ext uri="{FF2B5EF4-FFF2-40B4-BE49-F238E27FC236}">
                    <a16:creationId xmlns:a16="http://schemas.microsoft.com/office/drawing/2014/main" id="{890E5B45-35A6-E24C-892F-F944E2F1576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39" name="Graphic 37">
                <a:extLst>
                  <a:ext uri="{FF2B5EF4-FFF2-40B4-BE49-F238E27FC236}">
                    <a16:creationId xmlns:a16="http://schemas.microsoft.com/office/drawing/2014/main" id="{4C913FCA-D8CF-0544-8BEA-D9483D1026D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0" name="Graphic 37">
                <a:extLst>
                  <a:ext uri="{FF2B5EF4-FFF2-40B4-BE49-F238E27FC236}">
                    <a16:creationId xmlns:a16="http://schemas.microsoft.com/office/drawing/2014/main" id="{FE4A9092-A59B-2B4B-992A-B70F0727CE4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1" name="Graphic 37">
                <a:extLst>
                  <a:ext uri="{FF2B5EF4-FFF2-40B4-BE49-F238E27FC236}">
                    <a16:creationId xmlns:a16="http://schemas.microsoft.com/office/drawing/2014/main" id="{8885AE4E-A2DB-B34B-9080-690ED54CEB4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11117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35" name="4 Xs">
            <a:extLst>
              <a:ext uri="{FF2B5EF4-FFF2-40B4-BE49-F238E27FC236}">
                <a16:creationId xmlns:a16="http://schemas.microsoft.com/office/drawing/2014/main" id="{6B49B282-FF20-8449-BA31-484C4E7A5229}"/>
              </a:ext>
            </a:extLst>
          </p:cNvPr>
          <p:cNvGrpSpPr/>
          <p:nvPr userDrawn="1"/>
        </p:nvGrpSpPr>
        <p:grpSpPr>
          <a:xfrm>
            <a:off x="10281533" y="2246882"/>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3" y="5548188"/>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grpSp>
      <p:grpSp>
        <p:nvGrpSpPr>
          <p:cNvPr id="44" name="waves">
            <a:extLst>
              <a:ext uri="{FF2B5EF4-FFF2-40B4-BE49-F238E27FC236}">
                <a16:creationId xmlns:a16="http://schemas.microsoft.com/office/drawing/2014/main" id="{3E36DA55-C2AD-DB4B-B056-C8D8A465ACBC}"/>
              </a:ext>
            </a:extLst>
          </p:cNvPr>
          <p:cNvGrpSpPr/>
          <p:nvPr userDrawn="1"/>
        </p:nvGrpSpPr>
        <p:grpSpPr>
          <a:xfrm>
            <a:off x="6096001" y="4542732"/>
            <a:ext cx="7779727" cy="2330729"/>
            <a:chOff x="4253152" y="151074"/>
            <a:chExt cx="6930220" cy="2076330"/>
          </a:xfrm>
        </p:grpSpPr>
        <p:sp>
          <p:nvSpPr>
            <p:cNvPr id="45" name="coral">
              <a:extLst>
                <a:ext uri="{FF2B5EF4-FFF2-40B4-BE49-F238E27FC236}">
                  <a16:creationId xmlns:a16="http://schemas.microsoft.com/office/drawing/2014/main" id="{2D6DBFE9-65EF-3D48-B26A-C68DFA974FD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Source Sans Pro" panose="020B0503030403020204" pitchFamily="34" charset="0"/>
              </a:endParaRPr>
            </a:p>
          </p:txBody>
        </p:sp>
        <p:sp>
          <p:nvSpPr>
            <p:cNvPr id="46" name="green">
              <a:extLst>
                <a:ext uri="{FF2B5EF4-FFF2-40B4-BE49-F238E27FC236}">
                  <a16:creationId xmlns:a16="http://schemas.microsoft.com/office/drawing/2014/main" id="{2C2D7C0F-291B-4C40-BA4D-FEDF4CBE20C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latin typeface="Source Sans Pro" panose="020B0503030403020204" pitchFamily="34" charset="0"/>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0"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gr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66"/>
            <a:ext cx="6980716" cy="1111535"/>
          </a:xfrm>
          <a:prstGeom prst="rect">
            <a:avLst/>
          </a:prstGeom>
        </p:spPr>
        <p:txBody>
          <a:bodyPr anchor="ctr" anchorCtr="0">
            <a:normAutofit/>
          </a:bodyPr>
          <a:lstStyle>
            <a:lvl1pPr algn="l">
              <a:defRPr sz="4583">
                <a:solidFill>
                  <a:schemeClr val="accent5"/>
                </a:solidFill>
                <a:latin typeface="Source Sans Pro" panose="020B0503030403020204" pitchFamily="34" charset="0"/>
              </a:defRPr>
            </a:lvl1pPr>
          </a:lstStyle>
          <a:p>
            <a:r>
              <a:rPr lang="en-US" dirty="0"/>
              <a:t>First Last</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5" y="3826100"/>
            <a:ext cx="6875983" cy="532587"/>
          </a:xfrm>
          <a:prstGeom prst="rect">
            <a:avLst/>
          </a:prstGeom>
        </p:spPr>
        <p:txBody>
          <a:bodyPr/>
          <a:lstStyle>
            <a:lvl1pPr marL="0" indent="0" algn="l">
              <a:buNone/>
              <a:defRPr sz="2400">
                <a:solidFill>
                  <a:schemeClr val="bg2"/>
                </a:solidFill>
                <a:latin typeface="Source Sans Pro" panose="020B0503030403020204" pitchFamily="34" charset="0"/>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Title, Company</a:t>
            </a:r>
          </a:p>
        </p:txBody>
      </p:sp>
      <p:pic>
        <p:nvPicPr>
          <p:cNvPr id="6" name="Picture 5">
            <a:extLst>
              <a:ext uri="{FF2B5EF4-FFF2-40B4-BE49-F238E27FC236}">
                <a16:creationId xmlns:a16="http://schemas.microsoft.com/office/drawing/2014/main" id="{513E09BB-3A34-7645-AFFB-D25C8E2D5F72}"/>
              </a:ext>
            </a:extLst>
          </p:cNvPr>
          <p:cNvPicPr>
            <a:picLocks noChangeAspect="1"/>
          </p:cNvPicPr>
          <p:nvPr userDrawn="1"/>
        </p:nvPicPr>
        <p:blipFill>
          <a:blip r:embed="rId2"/>
          <a:stretch>
            <a:fillRect/>
          </a:stretch>
        </p:blipFill>
        <p:spPr>
          <a:xfrm>
            <a:off x="508229" y="563421"/>
            <a:ext cx="927403" cy="927401"/>
          </a:xfrm>
          <a:prstGeom prst="rect">
            <a:avLst/>
          </a:prstGeom>
        </p:spPr>
      </p:pic>
      <p:grpSp>
        <p:nvGrpSpPr>
          <p:cNvPr id="7" name="Photo">
            <a:extLst>
              <a:ext uri="{FF2B5EF4-FFF2-40B4-BE49-F238E27FC236}">
                <a16:creationId xmlns:a16="http://schemas.microsoft.com/office/drawing/2014/main" id="{2199EC45-4F3B-724E-97CC-7FC956B4B86B}"/>
              </a:ext>
            </a:extLst>
          </p:cNvPr>
          <p:cNvGrpSpPr/>
          <p:nvPr userDrawn="1"/>
        </p:nvGrpSpPr>
        <p:grpSpPr>
          <a:xfrm>
            <a:off x="1209262" y="1953610"/>
            <a:ext cx="2952036" cy="2951885"/>
            <a:chOff x="2925896" y="913502"/>
            <a:chExt cx="3630630" cy="3630630"/>
          </a:xfrm>
        </p:grpSpPr>
        <p:sp>
          <p:nvSpPr>
            <p:cNvPr id="8" name="Oval 7">
              <a:extLst>
                <a:ext uri="{FF2B5EF4-FFF2-40B4-BE49-F238E27FC236}">
                  <a16:creationId xmlns:a16="http://schemas.microsoft.com/office/drawing/2014/main" id="{3F3B23D8-7258-B541-90BD-1AD09EC73516}"/>
                </a:ext>
              </a:extLst>
            </p:cNvPr>
            <p:cNvSpPr/>
            <p:nvPr/>
          </p:nvSpPr>
          <p:spPr>
            <a:xfrm>
              <a:off x="2925896" y="913502"/>
              <a:ext cx="3630630" cy="3630630"/>
            </a:xfrm>
            <a:prstGeom prst="ellipse">
              <a:avLst/>
            </a:prstGeom>
            <a:gradFill flip="none" rotWithShape="1">
              <a:gsLst>
                <a:gs pos="0">
                  <a:srgbClr val="4D80A4"/>
                </a:gs>
                <a:gs pos="72000">
                  <a:srgbClr val="22415F"/>
                </a:gs>
                <a:gs pos="99000">
                  <a:schemeClr val="tx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8070" rtl="0" eaLnBrk="1" fontAlgn="auto" latinLnBrk="0" hangingPunct="1">
                <a:lnSpc>
                  <a:spcPct val="100000"/>
                </a:lnSpc>
                <a:spcBef>
                  <a:spcPts val="0"/>
                </a:spcBef>
                <a:spcAft>
                  <a:spcPts val="0"/>
                </a:spcAft>
                <a:buClrTx/>
                <a:buSzTx/>
                <a:buFontTx/>
                <a:buNone/>
                <a:tabLst/>
                <a:defRPr/>
              </a:pPr>
              <a:endParaRPr kumimoji="0" lang="en-US" sz="740" u="none" strike="noStrike" kern="1200" cap="none" spc="0" normalizeH="0" baseline="0" noProof="0" dirty="0">
                <a:ln>
                  <a:noFill/>
                </a:ln>
                <a:solidFill>
                  <a:srgbClr val="F8F3EF"/>
                </a:solidFill>
                <a:effectLst/>
                <a:uLnTx/>
                <a:uFillTx/>
                <a:latin typeface="Source Sans Pro" panose="020B0503030403020204" pitchFamily="34" charset="0"/>
                <a:ea typeface="+mn-ea"/>
                <a:cs typeface="+mn-cs"/>
              </a:endParaRPr>
            </a:p>
          </p:txBody>
        </p:sp>
        <p:pic>
          <p:nvPicPr>
            <p:cNvPr id="9" name="Picture 8">
              <a:extLst>
                <a:ext uri="{FF2B5EF4-FFF2-40B4-BE49-F238E27FC236}">
                  <a16:creationId xmlns:a16="http://schemas.microsoft.com/office/drawing/2014/main" id="{309D3969-35AE-BA42-959F-89CC45BB343C}"/>
                </a:ext>
              </a:extLst>
            </p:cNvPr>
            <p:cNvPicPr>
              <a:picLocks noChangeAspect="1"/>
            </p:cNvPicPr>
            <p:nvPr/>
          </p:nvPicPr>
          <p:blipFill rotWithShape="1">
            <a:blip r:embed="rId3"/>
            <a:srcRect l="5686" t="25971" r="24859" b="20353"/>
            <a:stretch/>
          </p:blipFill>
          <p:spPr>
            <a:xfrm>
              <a:off x="2925896" y="913502"/>
              <a:ext cx="3630630" cy="3630630"/>
            </a:xfrm>
            <a:prstGeom prst="ellipse">
              <a:avLst/>
            </a:prstGeom>
          </p:spPr>
        </p:pic>
      </p:grpSp>
    </p:spTree>
    <p:extLst>
      <p:ext uri="{BB962C8B-B14F-4D97-AF65-F5344CB8AC3E}">
        <p14:creationId xmlns:p14="http://schemas.microsoft.com/office/powerpoint/2010/main" val="376154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decel="50000" fill="hold" nodeType="withEffect">
                                  <p:stCondLst>
                                    <p:cond delay="0"/>
                                  </p:stCondLst>
                                  <p:childTnLst>
                                    <p:animScale>
                                      <p:cBhvr>
                                        <p:cTn id="9" dur="5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2_Divid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48979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Divider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914549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1_Divider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tx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1">
                  <a:lumMod val="60000"/>
                  <a:lumOff val="40000"/>
                </a:schemeClr>
              </a:gs>
              <a:gs pos="100000">
                <a:schemeClr val="accent3">
                  <a:lumMod val="40000"/>
                  <a:lumOff val="60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44" name="Group 43">
            <a:extLst>
              <a:ext uri="{FF2B5EF4-FFF2-40B4-BE49-F238E27FC236}">
                <a16:creationId xmlns:a16="http://schemas.microsoft.com/office/drawing/2014/main" id="{9F385DED-ED43-A743-AE64-BC03522DC7DC}"/>
              </a:ext>
            </a:extLst>
          </p:cNvPr>
          <p:cNvGrpSpPr/>
          <p:nvPr userDrawn="1"/>
        </p:nvGrpSpPr>
        <p:grpSpPr>
          <a:xfrm>
            <a:off x="-733314" y="5049600"/>
            <a:ext cx="19125951" cy="1808401"/>
            <a:chOff x="7994577" y="7729729"/>
            <a:chExt cx="9753466" cy="2185140"/>
          </a:xfrm>
        </p:grpSpPr>
        <p:sp>
          <p:nvSpPr>
            <p:cNvPr id="45" name="Graphic 56">
              <a:extLst>
                <a:ext uri="{FF2B5EF4-FFF2-40B4-BE49-F238E27FC236}">
                  <a16:creationId xmlns:a16="http://schemas.microsoft.com/office/drawing/2014/main" id="{3FA4DCE2-42D3-F848-9A47-7D27C5A6AF7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46" name="Graphic 61">
              <a:extLst>
                <a:ext uri="{FF2B5EF4-FFF2-40B4-BE49-F238E27FC236}">
                  <a16:creationId xmlns:a16="http://schemas.microsoft.com/office/drawing/2014/main" id="{329069BE-19D3-3845-8A43-23C29D6BB37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58885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grpSp>
        <p:nvGrpSpPr>
          <p:cNvPr id="56" name="dot and strokes">
            <a:extLst>
              <a:ext uri="{FF2B5EF4-FFF2-40B4-BE49-F238E27FC236}">
                <a16:creationId xmlns:a16="http://schemas.microsoft.com/office/drawing/2014/main" id="{777B85B1-2E82-5D42-B38D-7114B297ECC0}"/>
              </a:ext>
            </a:extLst>
          </p:cNvPr>
          <p:cNvGrpSpPr/>
          <p:nvPr userDrawn="1"/>
        </p:nvGrpSpPr>
        <p:grpSpPr>
          <a:xfrm>
            <a:off x="389550" y="4724217"/>
            <a:ext cx="1015173" cy="2143992"/>
            <a:chOff x="8220065" y="840135"/>
            <a:chExt cx="539621" cy="1139708"/>
          </a:xfrm>
          <a:gradFill>
            <a:gsLst>
              <a:gs pos="100000">
                <a:srgbClr val="F9F8F6">
                  <a:alpha val="0"/>
                </a:srgbClr>
              </a:gs>
              <a:gs pos="0">
                <a:srgbClr val="F9F8F6">
                  <a:alpha val="14955"/>
                </a:srgbClr>
              </a:gs>
            </a:gsLst>
            <a:lin ang="16200000" scaled="1"/>
          </a:gradFill>
        </p:grpSpPr>
        <p:sp>
          <p:nvSpPr>
            <p:cNvPr id="57" name="Graphic 43">
              <a:extLst>
                <a:ext uri="{FF2B5EF4-FFF2-40B4-BE49-F238E27FC236}">
                  <a16:creationId xmlns:a16="http://schemas.microsoft.com/office/drawing/2014/main" id="{0F90D69D-036E-9E44-8CA4-05F80CD58109}"/>
                </a:ext>
              </a:extLst>
            </p:cNvPr>
            <p:cNvSpPr/>
            <p:nvPr/>
          </p:nvSpPr>
          <p:spPr>
            <a:xfrm>
              <a:off x="8220065" y="840135"/>
              <a:ext cx="117197" cy="1139708"/>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pFill/>
            <a:ln w="6872" cap="flat">
              <a:noFill/>
              <a:prstDash val="solid"/>
              <a:miter/>
            </a:ln>
          </p:spPr>
          <p:txBody>
            <a:bodyPr rtlCol="0" anchor="ctr"/>
            <a:lstStyle/>
            <a:p>
              <a:endParaRPr lang="en-US" sz="1249"/>
            </a:p>
          </p:txBody>
        </p:sp>
        <p:sp>
          <p:nvSpPr>
            <p:cNvPr id="58" name="Graphic 43">
              <a:extLst>
                <a:ext uri="{FF2B5EF4-FFF2-40B4-BE49-F238E27FC236}">
                  <a16:creationId xmlns:a16="http://schemas.microsoft.com/office/drawing/2014/main" id="{262D4C59-3E26-F149-B57B-1CA347E5F237}"/>
                </a:ext>
              </a:extLst>
            </p:cNvPr>
            <p:cNvSpPr/>
            <p:nvPr/>
          </p:nvSpPr>
          <p:spPr>
            <a:xfrm>
              <a:off x="8431277" y="904252"/>
              <a:ext cx="117197" cy="1075591"/>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pFill/>
            <a:ln w="6872" cap="flat">
              <a:noFill/>
              <a:prstDash val="solid"/>
              <a:miter/>
            </a:ln>
          </p:spPr>
          <p:txBody>
            <a:bodyPr rtlCol="0" anchor="ctr"/>
            <a:lstStyle/>
            <a:p>
              <a:endParaRPr lang="en-US" sz="1249"/>
            </a:p>
          </p:txBody>
        </p:sp>
        <p:sp>
          <p:nvSpPr>
            <p:cNvPr id="59" name="Graphic 43">
              <a:extLst>
                <a:ext uri="{FF2B5EF4-FFF2-40B4-BE49-F238E27FC236}">
                  <a16:creationId xmlns:a16="http://schemas.microsoft.com/office/drawing/2014/main" id="{3BA89126-75DF-AF40-AEB6-F04F1BC8C6CC}"/>
                </a:ext>
              </a:extLst>
            </p:cNvPr>
            <p:cNvSpPr/>
            <p:nvPr/>
          </p:nvSpPr>
          <p:spPr>
            <a:xfrm>
              <a:off x="8642488" y="988262"/>
              <a:ext cx="117198" cy="99158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pFill/>
            <a:ln w="6872" cap="flat">
              <a:noFill/>
              <a:prstDash val="solid"/>
              <a:miter/>
            </a:ln>
          </p:spPr>
          <p:txBody>
            <a:bodyPr rtlCol="0" anchor="ctr"/>
            <a:lstStyle/>
            <a:p>
              <a:endParaRPr lang="en-US" sz="1249"/>
            </a:p>
          </p:txBody>
        </p:sp>
      </p:grpSp>
      <p:sp>
        <p:nvSpPr>
          <p:cNvPr id="41" name="!!Title 1">
            <a:extLst>
              <a:ext uri="{FF2B5EF4-FFF2-40B4-BE49-F238E27FC236}">
                <a16:creationId xmlns:a16="http://schemas.microsoft.com/office/drawing/2014/main" id="{20CCBE6A-1302-704E-9371-712B8AF5B5B1}"/>
              </a:ext>
            </a:extLst>
          </p:cNvPr>
          <p:cNvSpPr txBox="1">
            <a:spLocks/>
          </p:cNvSpPr>
          <p:nvPr userDrawn="1"/>
        </p:nvSpPr>
        <p:spPr>
          <a:xfrm>
            <a:off x="542903" y="538142"/>
            <a:ext cx="2771799" cy="854849"/>
          </a:xfrm>
          <a:prstGeom prst="rect">
            <a:avLst/>
          </a:prstGeom>
        </p:spPr>
        <p:txBody>
          <a:bodyPr vert="horz" wrap="square" lIns="0" tIns="0" rIns="0" bIns="0" rtlCol="0" anchor="t" anchorCtr="0">
            <a:spAutoFit/>
          </a:bodyPr>
          <a:lstStyle>
            <a:lvl1pPr algn="l" defTabSz="685800" rtl="0" eaLnBrk="1" latinLnBrk="0" hangingPunct="1">
              <a:lnSpc>
                <a:spcPct val="90000"/>
              </a:lnSpc>
              <a:spcBef>
                <a:spcPct val="0"/>
              </a:spcBef>
              <a:buNone/>
              <a:defRPr sz="2800" b="1" i="0" kern="1200">
                <a:solidFill>
                  <a:schemeClr val="tx1"/>
                </a:solidFill>
                <a:latin typeface="+mj-lt"/>
                <a:ea typeface="+mj-ea"/>
                <a:cs typeface="+mj-cs"/>
              </a:defRPr>
            </a:lvl1pPr>
          </a:lstStyle>
          <a:p>
            <a:pPr marL="0" marR="0" lvl="0" indent="0" algn="l" defTabSz="914318" rtl="0" eaLnBrk="1" fontAlgn="auto" latinLnBrk="0" hangingPunct="1">
              <a:lnSpc>
                <a:spcPct val="100000"/>
              </a:lnSpc>
              <a:spcBef>
                <a:spcPct val="0"/>
              </a:spcBef>
              <a:spcAft>
                <a:spcPts val="0"/>
              </a:spcAft>
              <a:buClrTx/>
              <a:buSzTx/>
              <a:buFontTx/>
              <a:buNone/>
              <a:tabLst/>
              <a:defRPr/>
            </a:pPr>
            <a:r>
              <a:rPr kumimoji="0" lang="en-US" sz="5555" b="1" i="0" u="none" strike="noStrike" kern="1200" cap="none" spc="0" normalizeH="0" baseline="0" noProof="0" dirty="0">
                <a:ln>
                  <a:noFill/>
                </a:ln>
                <a:solidFill>
                  <a:srgbClr val="F8F3EF"/>
                </a:solidFill>
                <a:effectLst/>
                <a:uLnTx/>
                <a:uFillTx/>
                <a:latin typeface="+mn-lt"/>
                <a:ea typeface="+mj-ea"/>
                <a:cs typeface="+mj-cs"/>
              </a:rPr>
              <a:t>Agenda</a:t>
            </a:r>
          </a:p>
        </p:txBody>
      </p:sp>
      <p:grpSp>
        <p:nvGrpSpPr>
          <p:cNvPr id="4" name="Group 3">
            <a:extLst>
              <a:ext uri="{FF2B5EF4-FFF2-40B4-BE49-F238E27FC236}">
                <a16:creationId xmlns:a16="http://schemas.microsoft.com/office/drawing/2014/main" id="{4BFCADD9-4881-604B-8EB8-6C1A2638D8E7}"/>
              </a:ext>
            </a:extLst>
          </p:cNvPr>
          <p:cNvGrpSpPr/>
          <p:nvPr userDrawn="1"/>
        </p:nvGrpSpPr>
        <p:grpSpPr>
          <a:xfrm>
            <a:off x="4172707" y="807293"/>
            <a:ext cx="7511064" cy="5370624"/>
            <a:chOff x="3147293" y="773464"/>
            <a:chExt cx="5029200" cy="3596201"/>
          </a:xfrm>
        </p:grpSpPr>
        <p:grpSp>
          <p:nvGrpSpPr>
            <p:cNvPr id="16" name="Group 15">
              <a:extLst>
                <a:ext uri="{FF2B5EF4-FFF2-40B4-BE49-F238E27FC236}">
                  <a16:creationId xmlns:a16="http://schemas.microsoft.com/office/drawing/2014/main" id="{70E88F39-C460-2540-9D74-F35CBBFA4E98}"/>
                </a:ext>
              </a:extLst>
            </p:cNvPr>
            <p:cNvGrpSpPr/>
            <p:nvPr userDrawn="1"/>
          </p:nvGrpSpPr>
          <p:grpSpPr>
            <a:xfrm>
              <a:off x="3147293" y="773464"/>
              <a:ext cx="5029200" cy="444441"/>
              <a:chOff x="3289965" y="773464"/>
              <a:chExt cx="5029200" cy="444441"/>
            </a:xfrm>
          </p:grpSpPr>
          <p:sp>
            <p:nvSpPr>
              <p:cNvPr id="17" name="Rectangle 16">
                <a:extLst>
                  <a:ext uri="{FF2B5EF4-FFF2-40B4-BE49-F238E27FC236}">
                    <a16:creationId xmlns:a16="http://schemas.microsoft.com/office/drawing/2014/main" id="{5DF7AB99-02BE-5943-B626-BE44176C382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18" name="Rectangle 17">
                <a:extLst>
                  <a:ext uri="{FF2B5EF4-FFF2-40B4-BE49-F238E27FC236}">
                    <a16:creationId xmlns:a16="http://schemas.microsoft.com/office/drawing/2014/main" id="{FEEA5CC3-760F-3A45-986F-7390E5F15629}"/>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19" name="Straight Connector 18">
                <a:extLst>
                  <a:ext uri="{FF2B5EF4-FFF2-40B4-BE49-F238E27FC236}">
                    <a16:creationId xmlns:a16="http://schemas.microsoft.com/office/drawing/2014/main" id="{ACDE1167-B544-2F44-A630-23A8276B4E38}"/>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5BE498E3-0F9B-D548-8B27-BC6DF4EC9B8B}"/>
                </a:ext>
              </a:extLst>
            </p:cNvPr>
            <p:cNvGrpSpPr/>
            <p:nvPr userDrawn="1"/>
          </p:nvGrpSpPr>
          <p:grpSpPr>
            <a:xfrm>
              <a:off x="3147293" y="1298757"/>
              <a:ext cx="5029200" cy="444441"/>
              <a:chOff x="3289965" y="773464"/>
              <a:chExt cx="5029200" cy="444441"/>
            </a:xfrm>
          </p:grpSpPr>
          <p:sp>
            <p:nvSpPr>
              <p:cNvPr id="21" name="Rectangle 20">
                <a:extLst>
                  <a:ext uri="{FF2B5EF4-FFF2-40B4-BE49-F238E27FC236}">
                    <a16:creationId xmlns:a16="http://schemas.microsoft.com/office/drawing/2014/main" id="{DCDA2227-6D8F-AC43-B17C-0F496F95681F}"/>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2" name="Rectangle 21">
                <a:extLst>
                  <a:ext uri="{FF2B5EF4-FFF2-40B4-BE49-F238E27FC236}">
                    <a16:creationId xmlns:a16="http://schemas.microsoft.com/office/drawing/2014/main" id="{CDBE0476-A6EC-DF44-ABDA-BE99371562B6}"/>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3" name="Straight Connector 22">
                <a:extLst>
                  <a:ext uri="{FF2B5EF4-FFF2-40B4-BE49-F238E27FC236}">
                    <a16:creationId xmlns:a16="http://schemas.microsoft.com/office/drawing/2014/main" id="{2CBE9C63-E0CE-2E43-8C2E-C35ADF208BB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8D8D7322-B958-964E-8B8C-9192588194CA}"/>
                </a:ext>
              </a:extLst>
            </p:cNvPr>
            <p:cNvGrpSpPr/>
            <p:nvPr userDrawn="1"/>
          </p:nvGrpSpPr>
          <p:grpSpPr>
            <a:xfrm>
              <a:off x="3147293" y="1824051"/>
              <a:ext cx="5029200" cy="444441"/>
              <a:chOff x="3289965" y="773464"/>
              <a:chExt cx="5029200" cy="444441"/>
            </a:xfrm>
          </p:grpSpPr>
          <p:sp>
            <p:nvSpPr>
              <p:cNvPr id="25" name="Rectangle 24">
                <a:extLst>
                  <a:ext uri="{FF2B5EF4-FFF2-40B4-BE49-F238E27FC236}">
                    <a16:creationId xmlns:a16="http://schemas.microsoft.com/office/drawing/2014/main" id="{C791330F-BDF6-2E49-85E0-1C48472A201B}"/>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6" name="Rectangle 25">
                <a:extLst>
                  <a:ext uri="{FF2B5EF4-FFF2-40B4-BE49-F238E27FC236}">
                    <a16:creationId xmlns:a16="http://schemas.microsoft.com/office/drawing/2014/main" id="{5B2F4183-33A8-224A-A443-8F2527418F0C}"/>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7" name="Straight Connector 26">
                <a:extLst>
                  <a:ext uri="{FF2B5EF4-FFF2-40B4-BE49-F238E27FC236}">
                    <a16:creationId xmlns:a16="http://schemas.microsoft.com/office/drawing/2014/main" id="{E9E735A5-C4E1-2F4B-BDED-418827467CAD}"/>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A330632E-6C0F-6C4D-B1FE-F7EDC5F4D184}"/>
                </a:ext>
              </a:extLst>
            </p:cNvPr>
            <p:cNvGrpSpPr/>
            <p:nvPr userDrawn="1"/>
          </p:nvGrpSpPr>
          <p:grpSpPr>
            <a:xfrm>
              <a:off x="3147293" y="2349344"/>
              <a:ext cx="5029200" cy="444441"/>
              <a:chOff x="3289965" y="773464"/>
              <a:chExt cx="5029200" cy="444441"/>
            </a:xfrm>
          </p:grpSpPr>
          <p:sp>
            <p:nvSpPr>
              <p:cNvPr id="29" name="Rectangle 28">
                <a:extLst>
                  <a:ext uri="{FF2B5EF4-FFF2-40B4-BE49-F238E27FC236}">
                    <a16:creationId xmlns:a16="http://schemas.microsoft.com/office/drawing/2014/main" id="{50C1BABE-EBEC-9B4E-9E43-DC7585F46A58}"/>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0" name="Rectangle 29">
                <a:extLst>
                  <a:ext uri="{FF2B5EF4-FFF2-40B4-BE49-F238E27FC236}">
                    <a16:creationId xmlns:a16="http://schemas.microsoft.com/office/drawing/2014/main" id="{5B6F25F9-E801-AB42-BE21-F9E1408A4E0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1" name="Straight Connector 30">
                <a:extLst>
                  <a:ext uri="{FF2B5EF4-FFF2-40B4-BE49-F238E27FC236}">
                    <a16:creationId xmlns:a16="http://schemas.microsoft.com/office/drawing/2014/main" id="{C208CCBF-FCE0-6143-9629-AD31C02BB80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01BBE74D-B5EC-9443-9C9A-4BD991427D8F}"/>
                </a:ext>
              </a:extLst>
            </p:cNvPr>
            <p:cNvGrpSpPr/>
            <p:nvPr userDrawn="1"/>
          </p:nvGrpSpPr>
          <p:grpSpPr>
            <a:xfrm>
              <a:off x="3147293" y="2874637"/>
              <a:ext cx="5029200" cy="444441"/>
              <a:chOff x="3289965" y="773464"/>
              <a:chExt cx="5029200" cy="444441"/>
            </a:xfrm>
          </p:grpSpPr>
          <p:sp>
            <p:nvSpPr>
              <p:cNvPr id="33" name="Rectangle 32">
                <a:extLst>
                  <a:ext uri="{FF2B5EF4-FFF2-40B4-BE49-F238E27FC236}">
                    <a16:creationId xmlns:a16="http://schemas.microsoft.com/office/drawing/2014/main" id="{6C145362-781B-0449-8DA6-5B30A6E1ADD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4" name="Rectangle 33">
                <a:extLst>
                  <a:ext uri="{FF2B5EF4-FFF2-40B4-BE49-F238E27FC236}">
                    <a16:creationId xmlns:a16="http://schemas.microsoft.com/office/drawing/2014/main" id="{C17FE23F-751A-2E43-8393-8780EF906E6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5" name="Straight Connector 34">
                <a:extLst>
                  <a:ext uri="{FF2B5EF4-FFF2-40B4-BE49-F238E27FC236}">
                    <a16:creationId xmlns:a16="http://schemas.microsoft.com/office/drawing/2014/main" id="{AC49855D-1F75-7A44-B1AB-4C19DF741BC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2FCC83A-22AF-3441-B243-A44A4B8146E4}"/>
                </a:ext>
              </a:extLst>
            </p:cNvPr>
            <p:cNvGrpSpPr/>
            <p:nvPr userDrawn="1"/>
          </p:nvGrpSpPr>
          <p:grpSpPr>
            <a:xfrm>
              <a:off x="3147293" y="3393446"/>
              <a:ext cx="5029200" cy="444441"/>
              <a:chOff x="3289965" y="773464"/>
              <a:chExt cx="5029200" cy="444441"/>
            </a:xfrm>
          </p:grpSpPr>
          <p:sp>
            <p:nvSpPr>
              <p:cNvPr id="37" name="Rectangle 36">
                <a:extLst>
                  <a:ext uri="{FF2B5EF4-FFF2-40B4-BE49-F238E27FC236}">
                    <a16:creationId xmlns:a16="http://schemas.microsoft.com/office/drawing/2014/main" id="{1E045387-A767-EA44-8486-5E8171EFA239}"/>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8" name="Rectangle 37">
                <a:extLst>
                  <a:ext uri="{FF2B5EF4-FFF2-40B4-BE49-F238E27FC236}">
                    <a16:creationId xmlns:a16="http://schemas.microsoft.com/office/drawing/2014/main" id="{B8D58236-0418-D747-BAD3-43F04C594E1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9" name="Straight Connector 38">
                <a:extLst>
                  <a:ext uri="{FF2B5EF4-FFF2-40B4-BE49-F238E27FC236}">
                    <a16:creationId xmlns:a16="http://schemas.microsoft.com/office/drawing/2014/main" id="{EBF363B8-2878-2044-B1AC-6737706B5FB3}"/>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B022F0C3-B8F9-7543-98A7-F67CA8C3FD38}"/>
                </a:ext>
              </a:extLst>
            </p:cNvPr>
            <p:cNvGrpSpPr/>
            <p:nvPr userDrawn="1"/>
          </p:nvGrpSpPr>
          <p:grpSpPr>
            <a:xfrm>
              <a:off x="3147293" y="3925224"/>
              <a:ext cx="5029200" cy="444441"/>
              <a:chOff x="3289965" y="773464"/>
              <a:chExt cx="5029200" cy="444441"/>
            </a:xfrm>
          </p:grpSpPr>
          <p:sp>
            <p:nvSpPr>
              <p:cNvPr id="42" name="Rectangle 41">
                <a:extLst>
                  <a:ext uri="{FF2B5EF4-FFF2-40B4-BE49-F238E27FC236}">
                    <a16:creationId xmlns:a16="http://schemas.microsoft.com/office/drawing/2014/main" id="{763C5C9A-E187-414D-B0C1-06E6F2FFC731}"/>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43" name="Rectangle 42">
                <a:extLst>
                  <a:ext uri="{FF2B5EF4-FFF2-40B4-BE49-F238E27FC236}">
                    <a16:creationId xmlns:a16="http://schemas.microsoft.com/office/drawing/2014/main" id="{3ABE93C9-68C2-C84D-83F8-CCF17419700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44" name="Straight Connector 43">
                <a:extLst>
                  <a:ext uri="{FF2B5EF4-FFF2-40B4-BE49-F238E27FC236}">
                    <a16:creationId xmlns:a16="http://schemas.microsoft.com/office/drawing/2014/main" id="{D4DCE20A-7D09-E447-9DF9-7502974647F0}"/>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0" name="one hump">
            <a:extLst>
              <a:ext uri="{FF2B5EF4-FFF2-40B4-BE49-F238E27FC236}">
                <a16:creationId xmlns:a16="http://schemas.microsoft.com/office/drawing/2014/main" id="{21E1BD3D-DFAF-6749-B9A7-D4B5A6014991}"/>
              </a:ext>
            </a:extLst>
          </p:cNvPr>
          <p:cNvSpPr/>
          <p:nvPr userDrawn="1"/>
        </p:nvSpPr>
        <p:spPr>
          <a:xfrm>
            <a:off x="1" y="3995061"/>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1249" dirty="0"/>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800547" y="4071512"/>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58596260"/>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41"/>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 Subhead and cont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noFill/>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tx1"/>
                </a:solidFill>
                <a:latin typeface="+mn-lt"/>
                <a:ea typeface="Source Sans Pro" panose="020B0503030403020204" pitchFamily="34" charset="0"/>
                <a:cs typeface="Calibri" charset="0"/>
              </a:defRPr>
            </a:lvl1pPr>
            <a:lvl2pPr>
              <a:buClr>
                <a:schemeClr val="tx2"/>
              </a:buClr>
              <a:defRPr b="0" i="0">
                <a:solidFill>
                  <a:schemeClr val="tx1"/>
                </a:solidFill>
                <a:latin typeface="+mn-lt"/>
                <a:ea typeface="Source Sans Pro" panose="020B0503030403020204" pitchFamily="34" charset="0"/>
                <a:cs typeface="Calibri" charset="0"/>
              </a:defRPr>
            </a:lvl2pPr>
            <a:lvl3pPr>
              <a:buClr>
                <a:schemeClr val="tx2"/>
              </a:buClr>
              <a:defRPr b="0" i="0">
                <a:solidFill>
                  <a:schemeClr val="tx1"/>
                </a:solidFill>
                <a:latin typeface="+mn-lt"/>
                <a:ea typeface="Source Sans Pro" panose="020B0503030403020204" pitchFamily="34" charset="0"/>
                <a:cs typeface="Calibri" charset="0"/>
              </a:defRPr>
            </a:lvl3pPr>
            <a:lvl4pPr>
              <a:buClr>
                <a:schemeClr val="tx2"/>
              </a:buClr>
              <a:defRPr b="0" i="0">
                <a:solidFill>
                  <a:schemeClr val="tx1"/>
                </a:solidFill>
                <a:latin typeface="+mn-lt"/>
                <a:ea typeface="Source Sans Pro" panose="020B0503030403020204" pitchFamily="34" charset="0"/>
                <a:cs typeface="Calibri" charset="0"/>
              </a:defRPr>
            </a:lvl4pPr>
            <a:lvl5pPr marL="634944" indent="-114642">
              <a:buClr>
                <a:schemeClr val="tx2"/>
              </a:buCl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730679865"/>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BE92D8BB-EA7F-DB42-896F-417FCFEA167C}"/>
              </a:ext>
            </a:extLst>
          </p:cNvPr>
          <p:cNvSpPr/>
          <p:nvPr userDrawn="1"/>
        </p:nvSpPr>
        <p:spPr>
          <a:xfrm flipH="1">
            <a:off x="-1194343" y="3423382"/>
            <a:ext cx="4109992" cy="4109785"/>
          </a:xfrm>
          <a:prstGeom prst="ellipse">
            <a:avLst/>
          </a:prstGeom>
          <a:gradFill flip="none" rotWithShape="1">
            <a:gsLst>
              <a:gs pos="50000">
                <a:schemeClr val="accent1">
                  <a:lumMod val="75000"/>
                  <a:alpha val="18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2" y="5394434"/>
            <a:ext cx="5282068" cy="277804"/>
          </a:xfrm>
        </p:spPr>
        <p:txBody>
          <a:bodyPr>
            <a:noAutofit/>
          </a:bodyPr>
          <a:lstStyle>
            <a:lvl1pPr>
              <a:defRPr sz="2223">
                <a:solidFill>
                  <a:schemeClr val="tx2"/>
                </a:solidFill>
              </a:defRPr>
            </a:lvl1pPr>
          </a:lstStyle>
          <a:p>
            <a:r>
              <a:rPr lang="en-US" dirty="0"/>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2" y="1498157"/>
            <a:ext cx="7386348" cy="3444388"/>
          </a:xfrm>
        </p:spPr>
        <p:txBody>
          <a:bodyPr>
            <a:normAutofit/>
          </a:bodyPr>
          <a:lstStyle>
            <a:lvl1pPr>
              <a:defRPr sz="3333"/>
            </a:lvl1pPr>
          </a:lstStyle>
          <a:p>
            <a:endParaRPr lang="en-US" dirty="0"/>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401052"/>
            <a:chOff x="5283035" y="1188441"/>
            <a:chExt cx="1038225" cy="1203159"/>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8"/>
              <a:ext cx="570673" cy="886852"/>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6111" dirty="0">
                  <a:solidFill>
                    <a:srgbClr val="FF6D70"/>
                  </a:solidFill>
                  <a:latin typeface="+mn-lt"/>
                </a:rPr>
                <a:t>“</a:t>
              </a:r>
              <a:endParaRPr lang="en-US" sz="7985" dirty="0">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0" y="825520"/>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4" name="waves">
            <a:extLst>
              <a:ext uri="{FF2B5EF4-FFF2-40B4-BE49-F238E27FC236}">
                <a16:creationId xmlns:a16="http://schemas.microsoft.com/office/drawing/2014/main" id="{90AB9E35-83B3-FE47-AC3F-0AC4CC70C1D3}"/>
              </a:ext>
            </a:extLst>
          </p:cNvPr>
          <p:cNvGrpSpPr/>
          <p:nvPr userDrawn="1"/>
        </p:nvGrpSpPr>
        <p:grpSpPr>
          <a:xfrm rot="5400000">
            <a:off x="-2804257" y="2453977"/>
            <a:ext cx="7120597" cy="1687452"/>
            <a:chOff x="4253152" y="151074"/>
            <a:chExt cx="6930220" cy="2076330"/>
          </a:xfrm>
        </p:grpSpPr>
        <p:sp>
          <p:nvSpPr>
            <p:cNvPr id="35" name="coral">
              <a:extLst>
                <a:ext uri="{FF2B5EF4-FFF2-40B4-BE49-F238E27FC236}">
                  <a16:creationId xmlns:a16="http://schemas.microsoft.com/office/drawing/2014/main" id="{8303D869-46DF-1C40-BBF8-3AED65A75F8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6" name="green">
              <a:extLst>
                <a:ext uri="{FF2B5EF4-FFF2-40B4-BE49-F238E27FC236}">
                  <a16:creationId xmlns:a16="http://schemas.microsoft.com/office/drawing/2014/main" id="{E35618F7-242C-4148-A231-0E9002E01B7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7" name="Text Placeholder 6">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7"/>
            <a:ext cx="2330580" cy="1436420"/>
          </a:xfrm>
        </p:spPr>
        <p:txBody>
          <a:bodyPr>
            <a:noAutofit/>
          </a:bodyPr>
          <a:lstStyle>
            <a:lvl1pPr>
              <a:defRPr sz="5555" b="1">
                <a:solidFill>
                  <a:schemeClr val="accent5"/>
                </a:solidFill>
              </a:defRPr>
            </a:lvl1pPr>
          </a:lstStyle>
          <a:p>
            <a:pPr lvl="0"/>
            <a:r>
              <a:rPr lang="en-US" dirty="0"/>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967131" y="5478273"/>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98789774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1"/>
            <a:ext cx="5427349" cy="2913763"/>
          </a:xfrm>
        </p:spPr>
        <p:txBody>
          <a:bodyPr anchor="ctr" anchorCtr="0">
            <a:noAutofit/>
          </a:bodyPr>
          <a:lstStyle>
            <a:lvl1pPr algn="r">
              <a:defRPr sz="23887" b="1">
                <a:solidFill>
                  <a:schemeClr val="bg1"/>
                </a:solidFill>
                <a:latin typeface="+mn-lt"/>
              </a:defRPr>
            </a:lvl1pPr>
            <a:lvl2pPr algn="r">
              <a:defRPr/>
            </a:lvl2pPr>
            <a:lvl3pPr algn="r">
              <a:defRPr/>
            </a:lvl3pPr>
            <a:lvl4pPr algn="r">
              <a:defRPr/>
            </a:lvl4pPr>
            <a:lvl5pPr algn="r">
              <a:defRPr/>
            </a:lvl5pPr>
          </a:lstStyle>
          <a:p>
            <a:pPr lvl="0"/>
            <a:r>
              <a:rPr lang="en-US" dirty="0"/>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2" y="1972671"/>
            <a:ext cx="1791325" cy="2913763"/>
          </a:xfrm>
        </p:spPr>
        <p:txBody>
          <a:bodyPr anchor="ctr" anchorCtr="0">
            <a:noAutofit/>
          </a:bodyPr>
          <a:lstStyle>
            <a:lvl1pPr algn="l">
              <a:defRPr sz="11944"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dirty="0"/>
              <a:t>it</a:t>
            </a:r>
          </a:p>
        </p:txBody>
      </p:sp>
      <p:grpSp>
        <p:nvGrpSpPr>
          <p:cNvPr id="20" name="waves">
            <a:extLst>
              <a:ext uri="{FF2B5EF4-FFF2-40B4-BE49-F238E27FC236}">
                <a16:creationId xmlns:a16="http://schemas.microsoft.com/office/drawing/2014/main" id="{091EAC0F-F6B6-804E-81C1-DC14DB0CFEB4}"/>
              </a:ext>
            </a:extLst>
          </p:cNvPr>
          <p:cNvGrpSpPr/>
          <p:nvPr userDrawn="1"/>
        </p:nvGrpSpPr>
        <p:grpSpPr>
          <a:xfrm>
            <a:off x="2563907" y="4742329"/>
            <a:ext cx="11311821" cy="2131131"/>
            <a:chOff x="4253152" y="151074"/>
            <a:chExt cx="6930220" cy="2076330"/>
          </a:xfrm>
        </p:grpSpPr>
        <p:sp>
          <p:nvSpPr>
            <p:cNvPr id="21" name="coral">
              <a:extLst>
                <a:ext uri="{FF2B5EF4-FFF2-40B4-BE49-F238E27FC236}">
                  <a16:creationId xmlns:a16="http://schemas.microsoft.com/office/drawing/2014/main" id="{5544ED0D-A342-F44A-8373-4300D2A9FC5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6981805-0618-3A4E-BF33-F709D396003A}"/>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7" y="1490445"/>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7" y="5369819"/>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5" y="5396784"/>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87670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Oval 6">
            <a:extLst>
              <a:ext uri="{FF2B5EF4-FFF2-40B4-BE49-F238E27FC236}">
                <a16:creationId xmlns:a16="http://schemas.microsoft.com/office/drawing/2014/main" id="{26F17582-2F62-A148-8696-1C39223CE799}"/>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89418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9268B40-4CED-5446-BECA-119CE8F3CD72}"/>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8" name="3 Xs">
            <a:extLst>
              <a:ext uri="{FF2B5EF4-FFF2-40B4-BE49-F238E27FC236}">
                <a16:creationId xmlns:a16="http://schemas.microsoft.com/office/drawing/2014/main" id="{41CADA79-152E-724D-8B57-FD7B7338D609}"/>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048E5BB7-1C8E-6C4D-B676-D37BA28DDBD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10" name="Freeform 9">
              <a:extLst>
                <a:ext uri="{FF2B5EF4-FFF2-40B4-BE49-F238E27FC236}">
                  <a16:creationId xmlns:a16="http://schemas.microsoft.com/office/drawing/2014/main" id="{2D574E84-0116-584A-8A38-A4721963F891}"/>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11" name="Freeform 10">
              <a:extLst>
                <a:ext uri="{FF2B5EF4-FFF2-40B4-BE49-F238E27FC236}">
                  <a16:creationId xmlns:a16="http://schemas.microsoft.com/office/drawing/2014/main" id="{BB7A9C06-6BC6-A345-80A2-F3C9B691A533}"/>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94657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tx1">
                    <a:lumMod val="50000"/>
                  </a:schemeClr>
                </a:solidFill>
                <a:latin typeface="+mn-lt"/>
              </a:defRPr>
            </a:lvl1pPr>
          </a:lstStyle>
          <a:p>
            <a:r>
              <a:rPr lang="en-US" dirty="0"/>
              <a:t>Click to edit master title style</a:t>
            </a:r>
            <a:endParaRPr lang="en-ID" dirty="0"/>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tx1"/>
                </a:solidFill>
              </a:defRPr>
            </a:lvl1pPr>
            <a:lvl2pPr marL="320779" indent="-320779">
              <a:buClr>
                <a:schemeClr val="tx2"/>
              </a:buClr>
              <a:buSzPct val="80000"/>
              <a:buFont typeface="System Font Regular"/>
              <a:buChar char="→"/>
              <a:tabLst/>
              <a:defRPr>
                <a:solidFill>
                  <a:schemeClr val="tx1"/>
                </a:solidFill>
              </a:defRPr>
            </a:lvl2pPr>
            <a:lvl3pPr marL="477311" indent="-156531">
              <a:buClr>
                <a:schemeClr val="tx2"/>
              </a:buClr>
              <a:buSzPct val="80000"/>
              <a:tabLst/>
              <a:defRPr>
                <a:solidFill>
                  <a:schemeClr val="tx1"/>
                </a:solidFill>
              </a:defRPr>
            </a:lvl3pPr>
            <a:lvl4pPr marL="642660" indent="-165351">
              <a:buClr>
                <a:schemeClr val="tx2"/>
              </a:buClr>
              <a:buSzPct val="80000"/>
              <a:tabLst/>
              <a:defRPr>
                <a:solidFill>
                  <a:schemeClr val="tx1"/>
                </a:solidFill>
              </a:defRPr>
            </a:lvl4pPr>
            <a:lvl5pPr marL="799192" indent="-156531">
              <a:buClr>
                <a:schemeClr val="tx2"/>
              </a:buClr>
              <a:buSzPct val="80000"/>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75334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w/ Subhead and cont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noFill/>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tx1"/>
                </a:solidFill>
                <a:latin typeface="+mn-lt"/>
                <a:ea typeface="Source Sans Pro" panose="020B0503030403020204" pitchFamily="34" charset="0"/>
                <a:cs typeface="Calibri" charset="0"/>
              </a:defRPr>
            </a:lvl1pPr>
            <a:lvl2pPr>
              <a:buClr>
                <a:schemeClr val="tx2"/>
              </a:buClr>
              <a:defRPr b="0" i="0">
                <a:solidFill>
                  <a:schemeClr val="tx1"/>
                </a:solidFill>
                <a:latin typeface="+mn-lt"/>
                <a:ea typeface="Source Sans Pro" panose="020B0503030403020204" pitchFamily="34" charset="0"/>
                <a:cs typeface="Calibri" charset="0"/>
              </a:defRPr>
            </a:lvl2pPr>
            <a:lvl3pPr>
              <a:buClr>
                <a:schemeClr val="tx2"/>
              </a:buClr>
              <a:defRPr b="0" i="0">
                <a:solidFill>
                  <a:schemeClr val="tx1"/>
                </a:solidFill>
                <a:latin typeface="+mn-lt"/>
                <a:ea typeface="Source Sans Pro" panose="020B0503030403020204" pitchFamily="34" charset="0"/>
                <a:cs typeface="Calibri" charset="0"/>
              </a:defRPr>
            </a:lvl3pPr>
            <a:lvl4pPr>
              <a:buClr>
                <a:schemeClr val="tx2"/>
              </a:buClr>
              <a:defRPr b="0" i="0">
                <a:solidFill>
                  <a:schemeClr val="tx1"/>
                </a:solidFill>
                <a:latin typeface="+mn-lt"/>
                <a:ea typeface="Source Sans Pro" panose="020B0503030403020204" pitchFamily="34" charset="0"/>
                <a:cs typeface="Calibri" charset="0"/>
              </a:defRPr>
            </a:lvl4pPr>
            <a:lvl5pPr marL="634944" indent="-114642">
              <a:buClr>
                <a:schemeClr val="tx2"/>
              </a:buCl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135255856"/>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4" y="5049600"/>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6534239"/>
      </p:ext>
    </p:extLst>
  </p:cSld>
  <p:clrMapOvr>
    <a:masterClrMapping/>
  </p:clrMapOvr>
  <p:transition spd="slow">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239894633"/>
      </p:ext>
    </p:extLst>
  </p:cSld>
  <p:clrMapOvr>
    <a:masterClrMapping/>
  </p:clrMapOvr>
  <p:transition spd="slow">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237046"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2pPr>
            <a:lvl3pPr marL="461392"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87856" indent="-226464">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924902" indent="-2370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755188748"/>
      </p:ext>
    </p:extLst>
  </p:cSld>
  <p:clrMapOvr>
    <a:masterClrMapping/>
  </p:clrMapOvr>
  <p:transition spd="slow">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283712064"/>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4" y="5049600"/>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8569024"/>
      </p:ext>
    </p:extLst>
  </p:cSld>
  <p:clrMapOvr>
    <a:masterClrMapping/>
  </p:clrMapOvr>
  <p:transition spd="slow">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2_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869713375"/>
      </p:ext>
    </p:extLst>
  </p:cSld>
  <p:clrMapOvr>
    <a:masterClrMapping/>
  </p:clrMapOvr>
  <p:transition spd="slow">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6" name="Group 5">
            <a:extLst>
              <a:ext uri="{FF2B5EF4-FFF2-40B4-BE49-F238E27FC236}">
                <a16:creationId xmlns:a16="http://schemas.microsoft.com/office/drawing/2014/main" id="{D76051AA-9C2D-8C43-AF09-1E6B18B30A5D}"/>
              </a:ext>
            </a:extLst>
          </p:cNvPr>
          <p:cNvGrpSpPr/>
          <p:nvPr userDrawn="1"/>
        </p:nvGrpSpPr>
        <p:grpSpPr>
          <a:xfrm>
            <a:off x="-733314" y="5049600"/>
            <a:ext cx="19125951" cy="1808401"/>
            <a:chOff x="7994577" y="7729729"/>
            <a:chExt cx="9753466" cy="2185140"/>
          </a:xfrm>
        </p:grpSpPr>
        <p:sp>
          <p:nvSpPr>
            <p:cNvPr id="7" name="Graphic 56">
              <a:extLst>
                <a:ext uri="{FF2B5EF4-FFF2-40B4-BE49-F238E27FC236}">
                  <a16:creationId xmlns:a16="http://schemas.microsoft.com/office/drawing/2014/main" id="{F3C9DC2F-356D-DD47-AD36-0F2AA59DC60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8" name="Graphic 61">
              <a:extLst>
                <a:ext uri="{FF2B5EF4-FFF2-40B4-BE49-F238E27FC236}">
                  <a16:creationId xmlns:a16="http://schemas.microsoft.com/office/drawing/2014/main" id="{5D6171E4-29D4-DB41-B1FB-920130A16DAC}"/>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300664651"/>
      </p:ext>
    </p:extLst>
  </p:cSld>
  <p:clrMapOvr>
    <a:masterClrMapping/>
  </p:clrMapOvr>
  <p:transition spd="slow">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860596331"/>
      </p:ext>
    </p:extLst>
  </p:cSld>
  <p:clrMapOvr>
    <a:masterClrMapping/>
  </p:clrMapOvr>
  <p:transition spd="slow">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4">
            <a:extLst>
              <a:ext uri="{FF2B5EF4-FFF2-40B4-BE49-F238E27FC236}">
                <a16:creationId xmlns:a16="http://schemas.microsoft.com/office/drawing/2014/main" id="{6C13FDC1-9BBE-384A-AFA5-8C43E0454C50}"/>
              </a:ext>
            </a:extLst>
          </p:cNvPr>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tabLst>
                <a:tab pos="2259782" algn="l"/>
              </a:tabLst>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211662"/>
      </p:ext>
    </p:extLst>
  </p:cSld>
  <p:clrMapOvr>
    <a:masterClrMapping/>
  </p:clrMapOvr>
  <p:transition spd="slow">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hree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9" name="Text Placeholder 5"/>
          <p:cNvSpPr>
            <a:spLocks noGrp="1"/>
          </p:cNvSpPr>
          <p:nvPr>
            <p:ph type="body" sz="quarter" idx="10" hasCustomPrompt="1"/>
          </p:nvPr>
        </p:nvSpPr>
        <p:spPr>
          <a:xfrm>
            <a:off x="50800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23" name="Text Placeholder 5">
            <a:extLst>
              <a:ext uri="{FF2B5EF4-FFF2-40B4-BE49-F238E27FC236}">
                <a16:creationId xmlns:a16="http://schemas.microsoft.com/office/drawing/2014/main" id="{782F6130-624B-C94C-9345-64A60B72D3C4}"/>
              </a:ext>
            </a:extLst>
          </p:cNvPr>
          <p:cNvSpPr>
            <a:spLocks noGrp="1"/>
          </p:cNvSpPr>
          <p:nvPr>
            <p:ph type="body" sz="quarter" idx="12" hasCustomPrompt="1"/>
          </p:nvPr>
        </p:nvSpPr>
        <p:spPr>
          <a:xfrm>
            <a:off x="4441373"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5" name="Text Placeholder 5">
            <a:extLst>
              <a:ext uri="{FF2B5EF4-FFF2-40B4-BE49-F238E27FC236}">
                <a16:creationId xmlns:a16="http://schemas.microsoft.com/office/drawing/2014/main" id="{59B4166D-BAA9-A841-87DF-92E32A96E696}"/>
              </a:ext>
            </a:extLst>
          </p:cNvPr>
          <p:cNvSpPr>
            <a:spLocks noGrp="1"/>
          </p:cNvSpPr>
          <p:nvPr>
            <p:ph type="body" sz="quarter" idx="14" hasCustomPrompt="1"/>
          </p:nvPr>
        </p:nvSpPr>
        <p:spPr>
          <a:xfrm>
            <a:off x="837051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Tree>
    <p:extLst>
      <p:ext uri="{BB962C8B-B14F-4D97-AF65-F5344CB8AC3E}">
        <p14:creationId xmlns:p14="http://schemas.microsoft.com/office/powerpoint/2010/main" val="4075175124"/>
      </p:ext>
    </p:extLst>
  </p:cSld>
  <p:clrMapOvr>
    <a:masterClrMapping/>
  </p:clrMapOvr>
  <p:transition spd="slow">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15" name="Text Placeholder 5">
            <a:extLst>
              <a:ext uri="{FF2B5EF4-FFF2-40B4-BE49-F238E27FC236}">
                <a16:creationId xmlns:a16="http://schemas.microsoft.com/office/drawing/2014/main" id="{1DBEBA93-80C3-964D-AF2C-2D8C9BF3CFE4}"/>
              </a:ext>
            </a:extLst>
          </p:cNvPr>
          <p:cNvSpPr>
            <a:spLocks noGrp="1"/>
          </p:cNvSpPr>
          <p:nvPr>
            <p:ph type="body" sz="quarter" idx="22" hasCustomPrompt="1"/>
          </p:nvPr>
        </p:nvSpPr>
        <p:spPr>
          <a:xfrm>
            <a:off x="617935"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16" name="Text Placeholder 5">
            <a:extLst>
              <a:ext uri="{FF2B5EF4-FFF2-40B4-BE49-F238E27FC236}">
                <a16:creationId xmlns:a16="http://schemas.microsoft.com/office/drawing/2014/main" id="{4CD20D2B-0F2E-4043-9739-90A491FA2E51}"/>
              </a:ext>
            </a:extLst>
          </p:cNvPr>
          <p:cNvSpPr>
            <a:spLocks noGrp="1"/>
          </p:cNvSpPr>
          <p:nvPr>
            <p:ph type="body" sz="quarter" idx="23" hasCustomPrompt="1"/>
          </p:nvPr>
        </p:nvSpPr>
        <p:spPr>
          <a:xfrm>
            <a:off x="3484250"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17" name="Text Placeholder 5">
            <a:extLst>
              <a:ext uri="{FF2B5EF4-FFF2-40B4-BE49-F238E27FC236}">
                <a16:creationId xmlns:a16="http://schemas.microsoft.com/office/drawing/2014/main" id="{A9A47F79-BE94-BA47-A2CB-5FD3DBEA1A1B}"/>
              </a:ext>
            </a:extLst>
          </p:cNvPr>
          <p:cNvSpPr>
            <a:spLocks noGrp="1"/>
          </p:cNvSpPr>
          <p:nvPr>
            <p:ph type="body" sz="quarter" idx="24" hasCustomPrompt="1"/>
          </p:nvPr>
        </p:nvSpPr>
        <p:spPr>
          <a:xfrm>
            <a:off x="6350564"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0" name="Text Placeholder 5">
            <a:extLst>
              <a:ext uri="{FF2B5EF4-FFF2-40B4-BE49-F238E27FC236}">
                <a16:creationId xmlns:a16="http://schemas.microsoft.com/office/drawing/2014/main" id="{525435F3-50E5-4F4F-8287-EC37BD8C5FBA}"/>
              </a:ext>
            </a:extLst>
          </p:cNvPr>
          <p:cNvSpPr>
            <a:spLocks noGrp="1"/>
          </p:cNvSpPr>
          <p:nvPr>
            <p:ph type="body" sz="quarter" idx="25" hasCustomPrompt="1"/>
          </p:nvPr>
        </p:nvSpPr>
        <p:spPr>
          <a:xfrm>
            <a:off x="9216879"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Tree>
    <p:extLst>
      <p:ext uri="{BB962C8B-B14F-4D97-AF65-F5344CB8AC3E}">
        <p14:creationId xmlns:p14="http://schemas.microsoft.com/office/powerpoint/2010/main" val="3881649323"/>
      </p:ext>
    </p:extLst>
  </p:cSld>
  <p:clrMapOvr>
    <a:masterClrMapping/>
  </p:clrMapOvr>
  <p:transition spd="slow">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2362746584"/>
      </p:ext>
    </p:extLst>
  </p:cSld>
  <p:clrMapOvr>
    <a:masterClrMapping/>
  </p:clrMapOvr>
  <p:transition spd="slow">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6273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1133000929"/>
      </p:ext>
    </p:extLst>
  </p:cSld>
  <p:clrMapOvr>
    <a:masterClrMapping/>
  </p:clrMapOvr>
  <p:transition spd="slow">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6" y="5958226"/>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87109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6867526" y="1809749"/>
            <a:ext cx="4816473" cy="3033816"/>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535504" indent="-150280">
              <a:tabLst/>
              <a:defRPr>
                <a:solidFill>
                  <a:schemeClr val="bg1"/>
                </a:solidFill>
              </a:defRPr>
            </a:lvl3pPr>
            <a:lvl4pPr marL="770447" indent="-234945">
              <a:tabLst/>
              <a:defRPr>
                <a:solidFill>
                  <a:schemeClr val="bg1"/>
                </a:solidFill>
              </a:defRPr>
            </a:lvl4pPr>
            <a:lvl5pPr marL="924961" indent="-237061">
              <a:tabLst>
                <a:tab pos="759865" algn="l"/>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560522"/>
      </p:ext>
    </p:extLst>
  </p:cSld>
  <p:clrMapOvr>
    <a:masterClrMapping/>
  </p:clrMapOvr>
  <p:transition spd="slow">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024238337"/>
      </p:ext>
    </p:extLst>
  </p:cSld>
  <p:clrMapOvr>
    <a:masterClrMapping/>
  </p:clrMapOvr>
  <p:transition spd="slow">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defRPr>
            </a:lvl1pPr>
          </a:lstStyle>
          <a:p>
            <a:r>
              <a:rPr lang="en-US" dirty="0"/>
              <a:t>Click icon to add picture</a:t>
            </a:r>
          </a:p>
        </p:txBody>
      </p:sp>
      <p:sp>
        <p:nvSpPr>
          <p:cNvPr id="4" name="Title 1"/>
          <p:cNvSpPr>
            <a:spLocks noGrp="1"/>
          </p:cNvSpPr>
          <p:nvPr>
            <p:ph type="title" hasCustomPrompt="1"/>
          </p:nvPr>
        </p:nvSpPr>
        <p:spPr>
          <a:xfrm>
            <a:off x="508231" y="516468"/>
            <a:ext cx="5194197"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508231" y="2133599"/>
            <a:ext cx="4959120" cy="3396868"/>
          </a:xfrm>
        </p:spPr>
        <p:txBody>
          <a:bodyPr/>
          <a:lstStyle>
            <a:lvl1pPr>
              <a:defRPr>
                <a:solidFill>
                  <a:schemeClr val="tx1"/>
                </a:solidFill>
              </a:defRPr>
            </a:lvl1pPr>
            <a:lvl2pPr marL="385224" indent="-372524">
              <a:buFont typeface="System Font Regular"/>
              <a:buChar char="→"/>
              <a:tabLst/>
              <a:defRPr>
                <a:solidFill>
                  <a:schemeClr val="tx1"/>
                </a:solidFill>
              </a:defRPr>
            </a:lvl2pPr>
            <a:lvl3pPr marL="535504" indent="-150280">
              <a:tabLst/>
              <a:defRPr>
                <a:solidFill>
                  <a:schemeClr val="tx1"/>
                </a:solidFill>
              </a:defRPr>
            </a:lvl3pPr>
            <a:lvl4pPr marL="687900" indent="-152396">
              <a:tabLst/>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277805"/>
      </p:ext>
    </p:extLst>
  </p:cSld>
  <p:clrMapOvr>
    <a:masterClrMapping/>
  </p:clrMapOvr>
  <p:transition spd="slow">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797549" y="2888193"/>
            <a:ext cx="4886223"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508230" y="1571625"/>
            <a:ext cx="4822913" cy="3648075"/>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618051" indent="-232828">
              <a:tabLst/>
              <a:defRPr>
                <a:solidFill>
                  <a:schemeClr val="bg1"/>
                </a:solidFill>
              </a:defRPr>
            </a:lvl3pPr>
            <a:lvl4pPr marL="840296" indent="-222245">
              <a:tabLst/>
              <a:defRPr>
                <a:solidFill>
                  <a:schemeClr val="bg1"/>
                </a:solidFill>
              </a:defRPr>
            </a:lvl4pPr>
            <a:lvl5pPr marL="992693" indent="-152396">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106495"/>
      </p:ext>
    </p:extLst>
  </p:cSld>
  <p:clrMapOvr>
    <a:masterClrMapping/>
  </p:clrMapOvr>
  <p:transition spd="slow">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591300" y="423864"/>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6591301" y="1743076"/>
            <a:ext cx="4286249" cy="3648075"/>
          </a:xfrm>
        </p:spPr>
        <p:txBody>
          <a:bodyPr/>
          <a:lstStyle>
            <a:lvl1pPr>
              <a:defRPr>
                <a:solidFill>
                  <a:schemeClr val="tx1"/>
                </a:solidFill>
              </a:defRPr>
            </a:lvl1pPr>
            <a:lvl2pPr marL="313259" indent="-300559">
              <a:buFont typeface="System Font Regular"/>
              <a:buChar char="→"/>
              <a:tabLst/>
              <a:defRPr>
                <a:solidFill>
                  <a:schemeClr val="tx1"/>
                </a:solidFill>
              </a:defRPr>
            </a:lvl2pPr>
            <a:lvl3pPr marL="535504" indent="-232828">
              <a:tabLst/>
              <a:defRPr>
                <a:solidFill>
                  <a:schemeClr val="tx1"/>
                </a:solidFill>
              </a:defRPr>
            </a:lvl3pPr>
            <a:lvl4pPr marL="770447" indent="-224361">
              <a:tabLst/>
              <a:defRPr>
                <a:solidFill>
                  <a:schemeClr val="tx1"/>
                </a:solidFill>
              </a:defRPr>
            </a:lvl4pPr>
            <a:lvl5pPr marL="992693" indent="-241294">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1" y="0"/>
            <a:ext cx="6096551" cy="6858000"/>
          </a:xfrm>
        </p:spPr>
        <p:txBody>
          <a:bodyPr/>
          <a:lstStyle>
            <a:lvl1pPr>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971243898"/>
      </p:ext>
    </p:extLst>
  </p:cSld>
  <p:clrMapOvr>
    <a:masterClrMapping/>
  </p:clrMapOvr>
  <p:transition spd="slow">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Product">
    <p:bg>
      <p:bgPr>
        <a:solidFill>
          <a:schemeClr val="accent5"/>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197685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bg1"/>
                </a:solidFill>
              </a:defRPr>
            </a:lvl1pPr>
          </a:lstStyle>
          <a:p>
            <a:pPr lvl="0"/>
            <a:r>
              <a:rPr lang="en-US"/>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215348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bg1"/>
                </a:solidFill>
                <a:latin typeface="+mn-lt"/>
              </a:defRPr>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accent5"/>
                </a:solidFill>
              </a:defRPr>
            </a:lvl1pPr>
            <a:lvl2pPr marL="317472" indent="-317472">
              <a:buClr>
                <a:schemeClr val="tx2"/>
              </a:buClr>
              <a:buSzPct val="80000"/>
              <a:buFont typeface="System Font Regular"/>
              <a:buChar char="→"/>
              <a:tabLst/>
              <a:defRPr>
                <a:solidFill>
                  <a:schemeClr val="accent5"/>
                </a:solidFill>
              </a:defRPr>
            </a:lvl2pPr>
            <a:lvl3pPr marL="511482" indent="-194011">
              <a:buClr>
                <a:schemeClr val="tx2"/>
              </a:buClr>
              <a:buSzPct val="80000"/>
              <a:tabLst/>
              <a:defRPr>
                <a:solidFill>
                  <a:schemeClr val="accent5"/>
                </a:solidFill>
              </a:defRPr>
            </a:lvl3pPr>
            <a:lvl4pPr marL="670218" indent="-158736">
              <a:buClr>
                <a:schemeClr val="tx2"/>
              </a:buClr>
              <a:buSzPct val="80000"/>
              <a:tabLst/>
              <a:defRPr>
                <a:solidFill>
                  <a:schemeClr val="accent5"/>
                </a:solidFill>
              </a:defRPr>
            </a:lvl4pPr>
            <a:lvl5pPr marL="793679" indent="-158736">
              <a:buClr>
                <a:schemeClr val="tx2"/>
              </a:buClr>
              <a:buSzPct val="80000"/>
              <a:tabLst/>
              <a:defRPr>
                <a:solidFill>
                  <a:schemeClr val="accent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18459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bg1"/>
                </a:solidFill>
                <a:latin typeface="+mn-lt"/>
                <a:ea typeface="Source Sans Pro" panose="020B0503030403020204" pitchFamily="34" charset="0"/>
                <a:cs typeface="Calibri" charset="0"/>
              </a:defRPr>
            </a:lvl1pPr>
            <a:lvl2pPr marL="313259" indent="-300559">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535504" indent="-222245">
              <a:buClr>
                <a:schemeClr val="tx2"/>
              </a:buClr>
              <a:tabLst/>
              <a:defRPr b="0" i="0">
                <a:solidFill>
                  <a:schemeClr val="bg1"/>
                </a:solidFill>
                <a:latin typeface="+mn-lt"/>
                <a:ea typeface="Source Sans Pro" panose="020B0503030403020204" pitchFamily="34" charset="0"/>
                <a:cs typeface="Calibri" charset="0"/>
              </a:defRPr>
            </a:lvl3pPr>
            <a:lvl4pPr>
              <a:buClr>
                <a:schemeClr val="tx2"/>
              </a:buClr>
              <a:defRPr b="0" i="0">
                <a:solidFill>
                  <a:schemeClr val="bg1"/>
                </a:solidFill>
                <a:latin typeface="+mn-lt"/>
                <a:ea typeface="Source Sans Pro" panose="020B0503030403020204" pitchFamily="34" charset="0"/>
                <a:cs typeface="Calibri" charset="0"/>
              </a:defRPr>
            </a:lvl4pPr>
            <a:lvl5pPr>
              <a:buClr>
                <a:schemeClr val="tx2"/>
              </a:buClr>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864131772"/>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663271383"/>
      </p:ext>
    </p:extLst>
  </p:cSld>
  <p:clrMapOvr>
    <a:masterClrMapping/>
  </p:clrMapOvr>
  <p:transition spd="slow">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3" name="Text Placeholder 5">
            <a:extLst>
              <a:ext uri="{FF2B5EF4-FFF2-40B4-BE49-F238E27FC236}">
                <a16:creationId xmlns:a16="http://schemas.microsoft.com/office/drawing/2014/main" id="{5D9A68D5-3CBD-2249-BCFA-4DD16FF8F7E0}"/>
              </a:ext>
            </a:extLst>
          </p:cNvPr>
          <p:cNvSpPr>
            <a:spLocks noGrp="1"/>
          </p:cNvSpPr>
          <p:nvPr>
            <p:ph type="body" sz="quarter" idx="10" hasCustomPrompt="1"/>
          </p:nvPr>
        </p:nvSpPr>
        <p:spPr>
          <a:xfrm>
            <a:off x="508002"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5">
            <a:extLst>
              <a:ext uri="{FF2B5EF4-FFF2-40B4-BE49-F238E27FC236}">
                <a16:creationId xmlns:a16="http://schemas.microsoft.com/office/drawing/2014/main" id="{6CD9F73A-A1B4-AF4B-83DA-9FEF1D232838}"/>
              </a:ext>
            </a:extLst>
          </p:cNvPr>
          <p:cNvSpPr>
            <a:spLocks noGrp="1"/>
          </p:cNvSpPr>
          <p:nvPr>
            <p:ph type="body" sz="quarter" idx="12" hasCustomPrompt="1"/>
          </p:nvPr>
        </p:nvSpPr>
        <p:spPr>
          <a:xfrm>
            <a:off x="6293659"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046662927"/>
      </p:ext>
    </p:extLst>
  </p:cSld>
  <p:clrMapOvr>
    <a:masterClrMapping/>
  </p:clrMapOvr>
  <p:transition spd="slow">
    <p:wipe dir="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509338427"/>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237046"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2pPr>
            <a:lvl3pPr marL="461392"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87856" indent="-226464">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924902" indent="-2370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071871124"/>
      </p:ext>
    </p:extLst>
  </p:cSld>
  <p:clrMapOvr>
    <a:masterClrMapping/>
  </p:clrMapOvr>
  <p:transition spd="slow">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6" y="5958226"/>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777828930"/>
      </p:ext>
    </p:extLst>
  </p:cSld>
  <p:clrMapOvr>
    <a:masterClrMapping/>
  </p:clrMapOvr>
  <p:transition spd="slow">
    <p:wipe dir="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405548"/>
            <a:ext cx="11175769" cy="1325563"/>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799661125"/>
      </p:ext>
    </p:extLst>
  </p:cSld>
  <p:clrMapOvr>
    <a:masterClrMapping/>
  </p:clrMapOvr>
  <p:transition spd="slow">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cxnSp>
        <p:nvCxnSpPr>
          <p:cNvPr id="4" name="Straight Connector 3"/>
          <p:cNvCxnSpPr/>
          <p:nvPr/>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Tree>
    <p:extLst>
      <p:ext uri="{BB962C8B-B14F-4D97-AF65-F5344CB8AC3E}">
        <p14:creationId xmlns:p14="http://schemas.microsoft.com/office/powerpoint/2010/main" val="3960364871"/>
      </p:ext>
    </p:extLst>
  </p:cSld>
  <p:clrMapOvr>
    <a:masterClrMapping/>
  </p:clrMapOvr>
  <p:transition spd="slow">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17" name="Text Placeholder 5">
            <a:extLst>
              <a:ext uri="{FF2B5EF4-FFF2-40B4-BE49-F238E27FC236}">
                <a16:creationId xmlns:a16="http://schemas.microsoft.com/office/drawing/2014/main" id="{8177294B-20F5-9944-8235-D9BC3472029B}"/>
              </a:ext>
            </a:extLst>
          </p:cNvPr>
          <p:cNvSpPr>
            <a:spLocks noGrp="1"/>
          </p:cNvSpPr>
          <p:nvPr>
            <p:ph type="body" sz="quarter" idx="10" hasCustomPrompt="1"/>
          </p:nvPr>
        </p:nvSpPr>
        <p:spPr>
          <a:xfrm>
            <a:off x="50800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0" name="Text Placeholder 5">
            <a:extLst>
              <a:ext uri="{FF2B5EF4-FFF2-40B4-BE49-F238E27FC236}">
                <a16:creationId xmlns:a16="http://schemas.microsoft.com/office/drawing/2014/main" id="{16C83BD2-BF74-2E4E-9118-BF16B37E96A0}"/>
              </a:ext>
            </a:extLst>
          </p:cNvPr>
          <p:cNvSpPr>
            <a:spLocks noGrp="1"/>
          </p:cNvSpPr>
          <p:nvPr>
            <p:ph type="body" sz="quarter" idx="12" hasCustomPrompt="1"/>
          </p:nvPr>
        </p:nvSpPr>
        <p:spPr>
          <a:xfrm>
            <a:off x="4441373"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1" name="Text Placeholder 5">
            <a:extLst>
              <a:ext uri="{FF2B5EF4-FFF2-40B4-BE49-F238E27FC236}">
                <a16:creationId xmlns:a16="http://schemas.microsoft.com/office/drawing/2014/main" id="{AD62FC8A-5158-0848-B0E3-3DB4E95B21C7}"/>
              </a:ext>
            </a:extLst>
          </p:cNvPr>
          <p:cNvSpPr>
            <a:spLocks noGrp="1"/>
          </p:cNvSpPr>
          <p:nvPr>
            <p:ph type="body" sz="quarter" idx="14" hasCustomPrompt="1"/>
          </p:nvPr>
        </p:nvSpPr>
        <p:spPr>
          <a:xfrm>
            <a:off x="837051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Tree>
    <p:extLst>
      <p:ext uri="{BB962C8B-B14F-4D97-AF65-F5344CB8AC3E}">
        <p14:creationId xmlns:p14="http://schemas.microsoft.com/office/powerpoint/2010/main" val="2688661550"/>
      </p:ext>
    </p:extLst>
  </p:cSld>
  <p:clrMapOvr>
    <a:masterClrMapping/>
  </p:clrMapOvr>
  <p:transition spd="slow">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23" name="Text Placeholder 5">
            <a:extLst>
              <a:ext uri="{FF2B5EF4-FFF2-40B4-BE49-F238E27FC236}">
                <a16:creationId xmlns:a16="http://schemas.microsoft.com/office/drawing/2014/main" id="{2E2E8FF9-8E70-E84B-8E15-2BFB71256161}"/>
              </a:ext>
            </a:extLst>
          </p:cNvPr>
          <p:cNvSpPr>
            <a:spLocks noGrp="1"/>
          </p:cNvSpPr>
          <p:nvPr>
            <p:ph type="body" sz="quarter" idx="22" hasCustomPrompt="1"/>
          </p:nvPr>
        </p:nvSpPr>
        <p:spPr>
          <a:xfrm>
            <a:off x="617935"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 useBgFill="1">
        <p:nvSpPr>
          <p:cNvPr id="24" name="Text Placeholder 5">
            <a:extLst>
              <a:ext uri="{FF2B5EF4-FFF2-40B4-BE49-F238E27FC236}">
                <a16:creationId xmlns:a16="http://schemas.microsoft.com/office/drawing/2014/main" id="{FACAFBBD-ABF2-874C-B241-027A038A0576}"/>
              </a:ext>
            </a:extLst>
          </p:cNvPr>
          <p:cNvSpPr>
            <a:spLocks noGrp="1"/>
          </p:cNvSpPr>
          <p:nvPr>
            <p:ph type="body" sz="quarter" idx="23" hasCustomPrompt="1"/>
          </p:nvPr>
        </p:nvSpPr>
        <p:spPr>
          <a:xfrm>
            <a:off x="3484250"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5" name="Text Placeholder 5">
            <a:extLst>
              <a:ext uri="{FF2B5EF4-FFF2-40B4-BE49-F238E27FC236}">
                <a16:creationId xmlns:a16="http://schemas.microsoft.com/office/drawing/2014/main" id="{A49045D6-8BFC-B640-A296-C381BA776873}"/>
              </a:ext>
            </a:extLst>
          </p:cNvPr>
          <p:cNvSpPr>
            <a:spLocks noGrp="1"/>
          </p:cNvSpPr>
          <p:nvPr>
            <p:ph type="body" sz="quarter" idx="24" hasCustomPrompt="1"/>
          </p:nvPr>
        </p:nvSpPr>
        <p:spPr>
          <a:xfrm>
            <a:off x="6350564"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6" name="Text Placeholder 5">
            <a:extLst>
              <a:ext uri="{FF2B5EF4-FFF2-40B4-BE49-F238E27FC236}">
                <a16:creationId xmlns:a16="http://schemas.microsoft.com/office/drawing/2014/main" id="{528826DE-8AAC-D043-8029-3310BBA334FC}"/>
              </a:ext>
            </a:extLst>
          </p:cNvPr>
          <p:cNvSpPr>
            <a:spLocks noGrp="1"/>
          </p:cNvSpPr>
          <p:nvPr>
            <p:ph type="body" sz="quarter" idx="25" hasCustomPrompt="1"/>
          </p:nvPr>
        </p:nvSpPr>
        <p:spPr>
          <a:xfrm>
            <a:off x="9228612"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Tree>
    <p:extLst>
      <p:ext uri="{BB962C8B-B14F-4D97-AF65-F5344CB8AC3E}">
        <p14:creationId xmlns:p14="http://schemas.microsoft.com/office/powerpoint/2010/main" val="4033598252"/>
      </p:ext>
    </p:extLst>
  </p:cSld>
  <p:clrMapOvr>
    <a:masterClrMapping/>
  </p:clrMapOvr>
  <p:transition spd="slow">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chemeClr val="bg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295692698"/>
      </p:ext>
    </p:extLst>
  </p:cSld>
  <p:clrMapOvr>
    <a:masterClrMapping/>
  </p:clrMapOvr>
  <p:transition spd="slow">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1F558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chemeClr val="accent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477206526"/>
      </p:ext>
    </p:extLst>
  </p:cSld>
  <p:clrMapOvr>
    <a:masterClrMapping/>
  </p:clrMapOvr>
  <p:transition spd="slow">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6632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46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Seashell BG">
    <p:bg>
      <p:bgPr>
        <a:solidFill>
          <a:schemeClr val="accent5"/>
        </a:solidFill>
        <a:effectLst/>
      </p:bgPr>
    </p:bg>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7E2036F5-128F-7A43-8E3A-F2190B6630C2}"/>
              </a:ext>
            </a:extLst>
          </p:cNvPr>
          <p:cNvGrpSpPr/>
          <p:nvPr userDrawn="1"/>
        </p:nvGrpSpPr>
        <p:grpSpPr>
          <a:xfrm>
            <a:off x="5551891" y="1"/>
            <a:ext cx="7959877" cy="7591636"/>
            <a:chOff x="7994577" y="0"/>
            <a:chExt cx="11462017" cy="10932307"/>
          </a:xfrm>
        </p:grpSpPr>
        <p:grpSp>
          <p:nvGrpSpPr>
            <p:cNvPr id="57" name="Circle">
              <a:extLst>
                <a:ext uri="{FF2B5EF4-FFF2-40B4-BE49-F238E27FC236}">
                  <a16:creationId xmlns:a16="http://schemas.microsoft.com/office/drawing/2014/main" id="{6F4F397A-9318-5A47-AD83-78DD3E6D5143}"/>
                </a:ext>
              </a:extLst>
            </p:cNvPr>
            <p:cNvGrpSpPr/>
            <p:nvPr userDrawn="1"/>
          </p:nvGrpSpPr>
          <p:grpSpPr>
            <a:xfrm>
              <a:off x="9956627" y="1432340"/>
              <a:ext cx="9499967" cy="9499967"/>
              <a:chOff x="5143500" y="742950"/>
              <a:chExt cx="4927600" cy="4927600"/>
            </a:xfrm>
          </p:grpSpPr>
          <p:sp>
            <p:nvSpPr>
              <p:cNvPr id="84" name="Oval 83">
                <a:extLst>
                  <a:ext uri="{FF2B5EF4-FFF2-40B4-BE49-F238E27FC236}">
                    <a16:creationId xmlns:a16="http://schemas.microsoft.com/office/drawing/2014/main" id="{0D2C09A5-66A0-B640-8A89-5D57816B5C37}"/>
                  </a:ext>
                </a:extLst>
              </p:cNvPr>
              <p:cNvSpPr/>
              <p:nvPr/>
            </p:nvSpPr>
            <p:spPr>
              <a:xfrm>
                <a:off x="5143500" y="742950"/>
                <a:ext cx="4927600" cy="4927600"/>
              </a:xfrm>
              <a:prstGeom prst="ellipse">
                <a:avLst/>
              </a:prstGeom>
              <a:blipFill dpi="0" rotWithShape="1">
                <a:blip r:embed="rId2">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85" name="Oval 84">
                <a:extLst>
                  <a:ext uri="{FF2B5EF4-FFF2-40B4-BE49-F238E27FC236}">
                    <a16:creationId xmlns:a16="http://schemas.microsoft.com/office/drawing/2014/main" id="{655C89A4-E5A5-9D4C-AA66-31192363D984}"/>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58" name="one lump">
              <a:extLst>
                <a:ext uri="{FF2B5EF4-FFF2-40B4-BE49-F238E27FC236}">
                  <a16:creationId xmlns:a16="http://schemas.microsoft.com/office/drawing/2014/main" id="{F18E86AC-3F7C-784F-86E5-16D89E8B552C}"/>
                </a:ext>
              </a:extLst>
            </p:cNvPr>
            <p:cNvGrpSpPr/>
            <p:nvPr userDrawn="1"/>
          </p:nvGrpSpPr>
          <p:grpSpPr>
            <a:xfrm rot="10800000">
              <a:off x="14016662" y="0"/>
              <a:ext cx="3562164" cy="4398387"/>
              <a:chOff x="2328672" y="2862072"/>
              <a:chExt cx="1847682" cy="2281428"/>
            </a:xfrm>
          </p:grpSpPr>
          <p:sp>
            <p:nvSpPr>
              <p:cNvPr id="82" name="Graphic 6" hidden="1">
                <a:extLst>
                  <a:ext uri="{FF2B5EF4-FFF2-40B4-BE49-F238E27FC236}">
                    <a16:creationId xmlns:a16="http://schemas.microsoft.com/office/drawing/2014/main" id="{82593997-1390-A24C-A103-338E3EF489A8}"/>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83" name="Graphic 6">
                <a:extLst>
                  <a:ext uri="{FF2B5EF4-FFF2-40B4-BE49-F238E27FC236}">
                    <a16:creationId xmlns:a16="http://schemas.microsoft.com/office/drawing/2014/main" id="{6B6A9E68-5302-424A-996C-3B21666C57C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59" name="streaks">
              <a:extLst>
                <a:ext uri="{FF2B5EF4-FFF2-40B4-BE49-F238E27FC236}">
                  <a16:creationId xmlns:a16="http://schemas.microsoft.com/office/drawing/2014/main" id="{0829B57B-1785-0149-B41D-82F2BF8A51E1}"/>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67" name="Graphic 2">
                <a:extLst>
                  <a:ext uri="{FF2B5EF4-FFF2-40B4-BE49-F238E27FC236}">
                    <a16:creationId xmlns:a16="http://schemas.microsoft.com/office/drawing/2014/main" id="{C48091C8-64A4-9D4C-B223-8D53BAEDFD6E}"/>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68" name="Graphic 2">
                <a:extLst>
                  <a:ext uri="{FF2B5EF4-FFF2-40B4-BE49-F238E27FC236}">
                    <a16:creationId xmlns:a16="http://schemas.microsoft.com/office/drawing/2014/main" id="{ECD15EB6-231A-7C4E-9AC2-C46EEB8EC948}"/>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69" name="Graphic 2">
                <a:extLst>
                  <a:ext uri="{FF2B5EF4-FFF2-40B4-BE49-F238E27FC236}">
                    <a16:creationId xmlns:a16="http://schemas.microsoft.com/office/drawing/2014/main" id="{1A87F180-2396-3F46-99D3-87F1D2B11DD3}"/>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70" name="Graphic 2">
                <a:extLst>
                  <a:ext uri="{FF2B5EF4-FFF2-40B4-BE49-F238E27FC236}">
                    <a16:creationId xmlns:a16="http://schemas.microsoft.com/office/drawing/2014/main" id="{79B400E3-0228-2A48-ABDC-D738C7AECA47}"/>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71" name="Graphic 2">
                <a:extLst>
                  <a:ext uri="{FF2B5EF4-FFF2-40B4-BE49-F238E27FC236}">
                    <a16:creationId xmlns:a16="http://schemas.microsoft.com/office/drawing/2014/main" id="{0A53F592-E792-FA47-B684-665A671E233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72" name="Graphic 2">
                <a:extLst>
                  <a:ext uri="{FF2B5EF4-FFF2-40B4-BE49-F238E27FC236}">
                    <a16:creationId xmlns:a16="http://schemas.microsoft.com/office/drawing/2014/main" id="{80694FB5-F709-9145-A389-F9C2CF43EAE9}"/>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73" name="Graphic 2">
                <a:extLst>
                  <a:ext uri="{FF2B5EF4-FFF2-40B4-BE49-F238E27FC236}">
                    <a16:creationId xmlns:a16="http://schemas.microsoft.com/office/drawing/2014/main" id="{4D124D94-9075-4E45-A003-D698A4D6ADC4}"/>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74" name="Graphic 2">
                <a:extLst>
                  <a:ext uri="{FF2B5EF4-FFF2-40B4-BE49-F238E27FC236}">
                    <a16:creationId xmlns:a16="http://schemas.microsoft.com/office/drawing/2014/main" id="{1D59CCFD-FB9C-3740-9F94-05222ABF7720}"/>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75" name="Graphic 2">
                <a:extLst>
                  <a:ext uri="{FF2B5EF4-FFF2-40B4-BE49-F238E27FC236}">
                    <a16:creationId xmlns:a16="http://schemas.microsoft.com/office/drawing/2014/main" id="{A50D94FC-CDAB-8541-96C1-7130E4BE394C}"/>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76" name="Graphic 2">
                <a:extLst>
                  <a:ext uri="{FF2B5EF4-FFF2-40B4-BE49-F238E27FC236}">
                    <a16:creationId xmlns:a16="http://schemas.microsoft.com/office/drawing/2014/main" id="{53ECF351-78F4-9F4A-99E7-C5A34EA25EE1}"/>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77" name="Graphic 2">
                <a:extLst>
                  <a:ext uri="{FF2B5EF4-FFF2-40B4-BE49-F238E27FC236}">
                    <a16:creationId xmlns:a16="http://schemas.microsoft.com/office/drawing/2014/main" id="{CF96F85C-3FE9-1642-9F0B-6A98CFC6EA00}"/>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78" name="Graphic 2">
                <a:extLst>
                  <a:ext uri="{FF2B5EF4-FFF2-40B4-BE49-F238E27FC236}">
                    <a16:creationId xmlns:a16="http://schemas.microsoft.com/office/drawing/2014/main" id="{95BC99DF-A478-874D-AF08-EB8DB37EE68E}"/>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79" name="Graphic 2">
                <a:extLst>
                  <a:ext uri="{FF2B5EF4-FFF2-40B4-BE49-F238E27FC236}">
                    <a16:creationId xmlns:a16="http://schemas.microsoft.com/office/drawing/2014/main" id="{E5557E15-F214-4E4D-8C71-5764DCA1E19B}"/>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80" name="Graphic 2">
                <a:extLst>
                  <a:ext uri="{FF2B5EF4-FFF2-40B4-BE49-F238E27FC236}">
                    <a16:creationId xmlns:a16="http://schemas.microsoft.com/office/drawing/2014/main" id="{6235E861-C55E-0F49-8887-2068AB2B9FDC}"/>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81" name="Graphic 2">
                <a:extLst>
                  <a:ext uri="{FF2B5EF4-FFF2-40B4-BE49-F238E27FC236}">
                    <a16:creationId xmlns:a16="http://schemas.microsoft.com/office/drawing/2014/main" id="{94F15CB0-94C4-6B45-9459-77B215B476DC}"/>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0" name="Graphic 56">
              <a:extLst>
                <a:ext uri="{FF2B5EF4-FFF2-40B4-BE49-F238E27FC236}">
                  <a16:creationId xmlns:a16="http://schemas.microsoft.com/office/drawing/2014/main" id="{A146D7CC-8773-B34C-9B46-599AFE1FABC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1" name="Graphic 61">
              <a:extLst>
                <a:ext uri="{FF2B5EF4-FFF2-40B4-BE49-F238E27FC236}">
                  <a16:creationId xmlns:a16="http://schemas.microsoft.com/office/drawing/2014/main" id="{301B2ACB-C05B-C04E-BE15-0576F546C9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62" name="4 Xs">
              <a:extLst>
                <a:ext uri="{FF2B5EF4-FFF2-40B4-BE49-F238E27FC236}">
                  <a16:creationId xmlns:a16="http://schemas.microsoft.com/office/drawing/2014/main" id="{DB050E3C-4B92-B348-B6BD-0215DB9E6E64}"/>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63" name="Graphic 37">
                <a:extLst>
                  <a:ext uri="{FF2B5EF4-FFF2-40B4-BE49-F238E27FC236}">
                    <a16:creationId xmlns:a16="http://schemas.microsoft.com/office/drawing/2014/main" id="{49DCBB61-C991-A843-97B7-6448FD09195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64" name="Graphic 37">
                <a:extLst>
                  <a:ext uri="{FF2B5EF4-FFF2-40B4-BE49-F238E27FC236}">
                    <a16:creationId xmlns:a16="http://schemas.microsoft.com/office/drawing/2014/main" id="{1D3D5D7A-95C6-F847-A257-60BA7CDC76C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65" name="Graphic 37">
                <a:extLst>
                  <a:ext uri="{FF2B5EF4-FFF2-40B4-BE49-F238E27FC236}">
                    <a16:creationId xmlns:a16="http://schemas.microsoft.com/office/drawing/2014/main" id="{895EE3BC-B130-854C-BC3D-A7F4FE30CB4F}"/>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66" name="Graphic 37">
                <a:extLst>
                  <a:ext uri="{FF2B5EF4-FFF2-40B4-BE49-F238E27FC236}">
                    <a16:creationId xmlns:a16="http://schemas.microsoft.com/office/drawing/2014/main" id="{95FEACF9-FB13-D54A-AEBB-4C1F25144E7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17890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223807956"/>
      </p:ext>
    </p:extLst>
  </p:cSld>
  <p:clrMapOvr>
    <a:masterClrMapping/>
  </p:clrMapOvr>
  <p:transition spd="slow">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grpSp>
        <p:nvGrpSpPr>
          <p:cNvPr id="23" name="waves">
            <a:extLst>
              <a:ext uri="{FF2B5EF4-FFF2-40B4-BE49-F238E27FC236}">
                <a16:creationId xmlns:a16="http://schemas.microsoft.com/office/drawing/2014/main" id="{78FF047B-042B-184B-98A9-4D6759BB8D55}"/>
              </a:ext>
            </a:extLst>
          </p:cNvPr>
          <p:cNvGrpSpPr/>
          <p:nvPr userDrawn="1"/>
        </p:nvGrpSpPr>
        <p:grpSpPr>
          <a:xfrm>
            <a:off x="-1566254" y="5170549"/>
            <a:ext cx="17037436" cy="1687452"/>
            <a:chOff x="4253152" y="151074"/>
            <a:chExt cx="6930220" cy="2076330"/>
          </a:xfrm>
        </p:grpSpPr>
        <p:sp>
          <p:nvSpPr>
            <p:cNvPr id="24" name="coral">
              <a:extLst>
                <a:ext uri="{FF2B5EF4-FFF2-40B4-BE49-F238E27FC236}">
                  <a16:creationId xmlns:a16="http://schemas.microsoft.com/office/drawing/2014/main" id="{3B3E6D26-CD9B-EE47-8932-6B0B3B8BF33C}"/>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5" name="green">
              <a:extLst>
                <a:ext uri="{FF2B5EF4-FFF2-40B4-BE49-F238E27FC236}">
                  <a16:creationId xmlns:a16="http://schemas.microsoft.com/office/drawing/2014/main" id="{70A4A9C1-D410-7B49-9F90-4736A2E50A0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1796539197"/>
      </p:ext>
    </p:extLst>
  </p:cSld>
  <p:clrMapOvr>
    <a:masterClrMapping/>
  </p:clrMapOvr>
  <p:transition spd="slow">
    <p:wipe dir="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waves">
            <a:extLst>
              <a:ext uri="{FF2B5EF4-FFF2-40B4-BE49-F238E27FC236}">
                <a16:creationId xmlns:a16="http://schemas.microsoft.com/office/drawing/2014/main" id="{39616EB5-6B04-604F-BAC6-C005AC2B886C}"/>
              </a:ext>
            </a:extLst>
          </p:cNvPr>
          <p:cNvGrpSpPr/>
          <p:nvPr userDrawn="1"/>
        </p:nvGrpSpPr>
        <p:grpSpPr>
          <a:xfrm>
            <a:off x="-1566254" y="5170549"/>
            <a:ext cx="17037436" cy="1687452"/>
            <a:chOff x="4253152" y="151074"/>
            <a:chExt cx="6930220" cy="2076330"/>
          </a:xfrm>
        </p:grpSpPr>
        <p:sp>
          <p:nvSpPr>
            <p:cNvPr id="21" name="coral">
              <a:extLst>
                <a:ext uri="{FF2B5EF4-FFF2-40B4-BE49-F238E27FC236}">
                  <a16:creationId xmlns:a16="http://schemas.microsoft.com/office/drawing/2014/main" id="{E3EF3A70-98AF-2E48-BCCD-D3F505097C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4C75630-123C-354A-90FC-64179A7F0B81}"/>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6032549" y="53553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4010048931"/>
      </p:ext>
    </p:extLst>
  </p:cSld>
  <p:clrMapOvr>
    <a:masterClrMapping/>
  </p:clrMapOvr>
  <p:transition spd="slow">
    <p:wipe dir="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5" name="Oval 64">
            <a:extLst>
              <a:ext uri="{FF2B5EF4-FFF2-40B4-BE49-F238E27FC236}">
                <a16:creationId xmlns:a16="http://schemas.microsoft.com/office/drawing/2014/main" id="{A67F92C1-226B-D34B-8F57-77A1E9414682}"/>
              </a:ext>
            </a:extLst>
          </p:cNvPr>
          <p:cNvSpPr/>
          <p:nvPr userDrawn="1"/>
        </p:nvSpPr>
        <p:spPr>
          <a:xfrm>
            <a:off x="6920522" y="976171"/>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32" name="waves">
            <a:extLst>
              <a:ext uri="{FF2B5EF4-FFF2-40B4-BE49-F238E27FC236}">
                <a16:creationId xmlns:a16="http://schemas.microsoft.com/office/drawing/2014/main" id="{B3697C6D-79F7-AC41-BFF3-CCAEC86A9EF9}"/>
              </a:ext>
            </a:extLst>
          </p:cNvPr>
          <p:cNvGrpSpPr/>
          <p:nvPr userDrawn="1"/>
        </p:nvGrpSpPr>
        <p:grpSpPr>
          <a:xfrm>
            <a:off x="6096001" y="4542732"/>
            <a:ext cx="7779727" cy="2330729"/>
            <a:chOff x="4253152" y="151074"/>
            <a:chExt cx="6930220" cy="2076330"/>
          </a:xfrm>
        </p:grpSpPr>
        <p:sp>
          <p:nvSpPr>
            <p:cNvPr id="33" name="coral">
              <a:extLst>
                <a:ext uri="{FF2B5EF4-FFF2-40B4-BE49-F238E27FC236}">
                  <a16:creationId xmlns:a16="http://schemas.microsoft.com/office/drawing/2014/main" id="{D4BABF9B-7D7A-F042-B042-23A66D30317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4" name="green">
              <a:extLst>
                <a:ext uri="{FF2B5EF4-FFF2-40B4-BE49-F238E27FC236}">
                  <a16:creationId xmlns:a16="http://schemas.microsoft.com/office/drawing/2014/main" id="{33243E7D-BA9B-7F45-AEC0-0F2863FB31C7}"/>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418520001"/>
      </p:ext>
    </p:extLst>
  </p:cSld>
  <p:clrMapOvr>
    <a:masterClrMapping/>
  </p:clrMapOvr>
  <p:transition spd="slow">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8" name="waves">
            <a:extLst>
              <a:ext uri="{FF2B5EF4-FFF2-40B4-BE49-F238E27FC236}">
                <a16:creationId xmlns:a16="http://schemas.microsoft.com/office/drawing/2014/main" id="{E555CF5C-748A-CE43-8182-BD26B45F50E8}"/>
              </a:ext>
            </a:extLst>
          </p:cNvPr>
          <p:cNvGrpSpPr/>
          <p:nvPr userDrawn="1"/>
        </p:nvGrpSpPr>
        <p:grpSpPr>
          <a:xfrm>
            <a:off x="6096001" y="4542732"/>
            <a:ext cx="7779727" cy="2330729"/>
            <a:chOff x="4253152" y="151074"/>
            <a:chExt cx="6930220" cy="2076330"/>
          </a:xfrm>
        </p:grpSpPr>
        <p:sp>
          <p:nvSpPr>
            <p:cNvPr id="49" name="coral">
              <a:extLst>
                <a:ext uri="{FF2B5EF4-FFF2-40B4-BE49-F238E27FC236}">
                  <a16:creationId xmlns:a16="http://schemas.microsoft.com/office/drawing/2014/main" id="{DED7FFEF-61C3-444A-B7CB-C47A60D8543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50" name="green">
              <a:extLst>
                <a:ext uri="{FF2B5EF4-FFF2-40B4-BE49-F238E27FC236}">
                  <a16:creationId xmlns:a16="http://schemas.microsoft.com/office/drawing/2014/main" id="{129EAA55-280A-E044-A52E-E0E15738E950}"/>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0" y="174"/>
            <a:ext cx="6391683" cy="6857657"/>
            <a:chOff x="8352309" y="248"/>
            <a:chExt cx="9203857" cy="9875345"/>
          </a:xfrm>
        </p:grpSpPr>
        <p:sp>
          <p:nvSpPr>
            <p:cNvPr id="22" name="Leaner">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sp>
          <p:nvSpPr>
            <p:cNvPr id="27" name="Graphic 6">
              <a:extLst>
                <a:ext uri="{FF2B5EF4-FFF2-40B4-BE49-F238E27FC236}">
                  <a16:creationId xmlns:a16="http://schemas.microsoft.com/office/drawing/2014/main" id="{24B07B6C-2ED5-8846-AC61-257D0BEB18BB}"/>
                </a:ext>
              </a:extLst>
            </p:cNvPr>
            <p:cNvSpPr/>
            <p:nvPr userDrawn="1"/>
          </p:nvSpPr>
          <p:spPr>
            <a:xfrm rot="10800000">
              <a:off x="14008676" y="248"/>
              <a:ext cx="3547485" cy="4380263"/>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2">
                <a:alphaModFix amt="1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4608" dirty="0"/>
            </a:p>
          </p:txBody>
        </p:sp>
        <p:grpSp>
          <p:nvGrpSpPr>
            <p:cNvPr id="28" name="Group 27">
              <a:extLst>
                <a:ext uri="{FF2B5EF4-FFF2-40B4-BE49-F238E27FC236}">
                  <a16:creationId xmlns:a16="http://schemas.microsoft.com/office/drawing/2014/main" id="{57235399-C95B-1943-B9EF-860E65AFDD01}"/>
                </a:ext>
              </a:extLst>
            </p:cNvPr>
            <p:cNvGrpSpPr/>
            <p:nvPr userDrawn="1"/>
          </p:nvGrpSpPr>
          <p:grpSpPr>
            <a:xfrm>
              <a:off x="14900230" y="913506"/>
              <a:ext cx="1268724" cy="1016526"/>
              <a:chOff x="14900230" y="913506"/>
              <a:chExt cx="1268724" cy="1016526"/>
            </a:xfrm>
            <a:solidFill>
              <a:schemeClr val="accent5">
                <a:alpha val="15223"/>
              </a:schemeClr>
            </a:solidFill>
          </p:grpSpPr>
          <p:sp>
            <p:nvSpPr>
              <p:cNvPr id="39" name="Freeform 38">
                <a:extLst>
                  <a:ext uri="{FF2B5EF4-FFF2-40B4-BE49-F238E27FC236}">
                    <a16:creationId xmlns:a16="http://schemas.microsoft.com/office/drawing/2014/main" id="{5B5C8F91-AF88-874B-9D3A-24B6B89475B0}"/>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40" name="Freeform 39">
                <a:extLst>
                  <a:ext uri="{FF2B5EF4-FFF2-40B4-BE49-F238E27FC236}">
                    <a16:creationId xmlns:a16="http://schemas.microsoft.com/office/drawing/2014/main" id="{B6609D64-423C-DC43-BAD9-388F8D5BEB88}"/>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41" name="Freeform 40">
                <a:extLst>
                  <a:ext uri="{FF2B5EF4-FFF2-40B4-BE49-F238E27FC236}">
                    <a16:creationId xmlns:a16="http://schemas.microsoft.com/office/drawing/2014/main" id="{BD6BAF1C-7522-754B-B806-5C8F99B9050F}"/>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29" name="Group 28">
              <a:extLst>
                <a:ext uri="{FF2B5EF4-FFF2-40B4-BE49-F238E27FC236}">
                  <a16:creationId xmlns:a16="http://schemas.microsoft.com/office/drawing/2014/main" id="{B9821EA1-C321-4246-A6D2-DACB94F87897}"/>
                </a:ext>
              </a:extLst>
            </p:cNvPr>
            <p:cNvGrpSpPr/>
            <p:nvPr userDrawn="1"/>
          </p:nvGrpSpPr>
          <p:grpSpPr>
            <a:xfrm>
              <a:off x="15782242" y="1613278"/>
              <a:ext cx="1036054" cy="2188200"/>
              <a:chOff x="15782242" y="1613278"/>
              <a:chExt cx="1036054" cy="2188200"/>
            </a:xfrm>
          </p:grpSpPr>
          <p:sp>
            <p:nvSpPr>
              <p:cNvPr id="36" name="Graphic 43">
                <a:extLst>
                  <a:ext uri="{FF2B5EF4-FFF2-40B4-BE49-F238E27FC236}">
                    <a16:creationId xmlns:a16="http://schemas.microsoft.com/office/drawing/2014/main" id="{6FD28292-19D6-944A-ADB4-2DC046E6FDCE}"/>
                  </a:ext>
                </a:extLst>
              </p:cNvPr>
              <p:cNvSpPr/>
              <p:nvPr userDrawn="1"/>
            </p:nvSpPr>
            <p:spPr>
              <a:xfrm>
                <a:off x="15782242" y="1613278"/>
                <a:ext cx="225014" cy="2188200"/>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7" name="Graphic 43">
                <a:extLst>
                  <a:ext uri="{FF2B5EF4-FFF2-40B4-BE49-F238E27FC236}">
                    <a16:creationId xmlns:a16="http://schemas.microsoft.com/office/drawing/2014/main" id="{35FAB3DF-38A8-3F43-B269-6CFA1F7B25A6}"/>
                  </a:ext>
                </a:extLst>
              </p:cNvPr>
              <p:cNvSpPr/>
              <p:nvPr userDrawn="1"/>
            </p:nvSpPr>
            <p:spPr>
              <a:xfrm>
                <a:off x="16187762" y="1736380"/>
                <a:ext cx="225014" cy="2065098"/>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8" name="Graphic 43">
                <a:extLst>
                  <a:ext uri="{FF2B5EF4-FFF2-40B4-BE49-F238E27FC236}">
                    <a16:creationId xmlns:a16="http://schemas.microsoft.com/office/drawing/2014/main" id="{59FFEE35-F625-1F42-9CC5-050597A6730D}"/>
                  </a:ext>
                </a:extLst>
              </p:cNvPr>
              <p:cNvSpPr/>
              <p:nvPr userDrawn="1"/>
            </p:nvSpPr>
            <p:spPr>
              <a:xfrm>
                <a:off x="16593280" y="1897677"/>
                <a:ext cx="225016" cy="190380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gr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305726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4" name="waves">
            <a:extLst>
              <a:ext uri="{FF2B5EF4-FFF2-40B4-BE49-F238E27FC236}">
                <a16:creationId xmlns:a16="http://schemas.microsoft.com/office/drawing/2014/main" id="{2063CD0F-C9EB-3C44-9748-EA1260C4D8A4}"/>
              </a:ext>
            </a:extLst>
          </p:cNvPr>
          <p:cNvGrpSpPr/>
          <p:nvPr userDrawn="1"/>
        </p:nvGrpSpPr>
        <p:grpSpPr>
          <a:xfrm>
            <a:off x="-1566254" y="5170549"/>
            <a:ext cx="17037436" cy="1687452"/>
            <a:chOff x="4253152" y="151074"/>
            <a:chExt cx="6930220" cy="2076330"/>
          </a:xfrm>
        </p:grpSpPr>
        <p:sp>
          <p:nvSpPr>
            <p:cNvPr id="25" name="coral">
              <a:extLst>
                <a:ext uri="{FF2B5EF4-FFF2-40B4-BE49-F238E27FC236}">
                  <a16:creationId xmlns:a16="http://schemas.microsoft.com/office/drawing/2014/main" id="{E135005D-56A8-C644-9F2A-FE8BF5E183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6" name="green">
              <a:extLst>
                <a:ext uri="{FF2B5EF4-FFF2-40B4-BE49-F238E27FC236}">
                  <a16:creationId xmlns:a16="http://schemas.microsoft.com/office/drawing/2014/main" id="{26519B29-1185-F047-B6D7-88E348CE352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105901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9F543-4184-3E4F-9977-55C81E78063A}"/>
              </a:ext>
            </a:extLst>
          </p:cNvPr>
          <p:cNvGrpSpPr/>
          <p:nvPr userDrawn="1"/>
        </p:nvGrpSpPr>
        <p:grpSpPr>
          <a:xfrm>
            <a:off x="-733314" y="5049600"/>
            <a:ext cx="19125951" cy="1808401"/>
            <a:chOff x="7994577" y="7729729"/>
            <a:chExt cx="9753466" cy="2185140"/>
          </a:xfrm>
        </p:grpSpPr>
        <p:sp>
          <p:nvSpPr>
            <p:cNvPr id="5" name="Graphic 56">
              <a:extLst>
                <a:ext uri="{FF2B5EF4-FFF2-40B4-BE49-F238E27FC236}">
                  <a16:creationId xmlns:a16="http://schemas.microsoft.com/office/drawing/2014/main" id="{D7489825-F018-3B4F-8E18-461B40E9925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 name="Graphic 61">
              <a:extLst>
                <a:ext uri="{FF2B5EF4-FFF2-40B4-BE49-F238E27FC236}">
                  <a16:creationId xmlns:a16="http://schemas.microsoft.com/office/drawing/2014/main" id="{11B6F687-57A9-2742-9150-64E0A457153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1565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pic>
        <p:nvPicPr>
          <p:cNvPr id="41" name="wave pattern" descr="A picture containing nature, dune&#10;&#10;Description automatically generated">
            <a:extLst>
              <a:ext uri="{FF2B5EF4-FFF2-40B4-BE49-F238E27FC236}">
                <a16:creationId xmlns:a16="http://schemas.microsoft.com/office/drawing/2014/main" id="{FEA6B481-BC84-A24D-857C-DFC0F3E0055E}"/>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2840353647"/>
      </p:ext>
    </p:extLst>
  </p:cSld>
  <p:clrMapOvr>
    <a:masterClrMapping/>
  </p:clrMapOvr>
  <p:transition spd="slow">
    <p:wipe dir="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pic>
        <p:nvPicPr>
          <p:cNvPr id="77" name="wave pattern" descr="A picture containing nature, dune&#10;&#10;Description automatically generated">
            <a:extLst>
              <a:ext uri="{FF2B5EF4-FFF2-40B4-BE49-F238E27FC236}">
                <a16:creationId xmlns:a16="http://schemas.microsoft.com/office/drawing/2014/main" id="{431210A4-7017-1C43-B12A-A6086FB5EFA8}"/>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7" name="Slide Number Placeholder 5">
            <a:extLst>
              <a:ext uri="{FF2B5EF4-FFF2-40B4-BE49-F238E27FC236}">
                <a16:creationId xmlns:a16="http://schemas.microsoft.com/office/drawing/2014/main" id="{02FFEA81-BB5A-E84B-8FBF-DF8658B0DFEC}"/>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sp>
        <p:nvSpPr>
          <p:cNvPr id="8" name="Slide Number Placeholder 5">
            <a:extLst>
              <a:ext uri="{FF2B5EF4-FFF2-40B4-BE49-F238E27FC236}">
                <a16:creationId xmlns:a16="http://schemas.microsoft.com/office/drawing/2014/main" id="{1E1766E1-6F1F-2E40-8922-5A29D6162A58}"/>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0"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2"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4"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Tree>
    <p:extLst>
      <p:ext uri="{BB962C8B-B14F-4D97-AF65-F5344CB8AC3E}">
        <p14:creationId xmlns:p14="http://schemas.microsoft.com/office/powerpoint/2010/main" val="3341594295"/>
      </p:ext>
    </p:extLst>
  </p:cSld>
  <p:clrMapOvr>
    <a:masterClrMapping/>
  </p:clrMapOvr>
  <p:transition spd="slow">
    <p:wipe dir="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Engage Quote">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5" name="Rectangle 4">
            <a:extLst>
              <a:ext uri="{FF2B5EF4-FFF2-40B4-BE49-F238E27FC236}">
                <a16:creationId xmlns:a16="http://schemas.microsoft.com/office/drawing/2014/main" id="{CDEB7964-C5EE-104E-AB73-ECD369064086}"/>
              </a:ext>
            </a:extLst>
          </p:cNvPr>
          <p:cNvSpPr/>
          <p:nvPr userDrawn="1"/>
        </p:nvSpPr>
        <p:spPr>
          <a:xfrm>
            <a:off x="3314701"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Freeform: Shape 35">
            <a:extLst>
              <a:ext uri="{FF2B5EF4-FFF2-40B4-BE49-F238E27FC236}">
                <a16:creationId xmlns:a16="http://schemas.microsoft.com/office/drawing/2014/main" id="{3E06244D-399D-C244-BD04-78D56B482FA2}"/>
              </a:ext>
            </a:extLst>
          </p:cNvPr>
          <p:cNvSpPr/>
          <p:nvPr userDrawn="1"/>
        </p:nvSpPr>
        <p:spPr>
          <a:xfrm>
            <a:off x="-4951714" y="-193154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10000">
                <a:schemeClr val="tx1">
                  <a:alpha val="0"/>
                </a:schemeClr>
              </a:gs>
              <a:gs pos="100000">
                <a:schemeClr val="tx1">
                  <a:lumMod val="60000"/>
                  <a:lumOff val="40000"/>
                  <a:alpha val="30000"/>
                </a:schemeClr>
              </a:gs>
            </a:gsLst>
            <a:lin ang="10800000" scaled="1"/>
            <a:tileRect/>
          </a:gradFill>
          <a:ln w="2358" cap="flat">
            <a:noFill/>
            <a:prstDash val="solid"/>
            <a:miter/>
          </a:ln>
        </p:spPr>
        <p:txBody>
          <a:bodyPr rtlCol="0" anchor="ctr"/>
          <a:lstStyle/>
          <a:p>
            <a:endParaRPr lang="en-US" sz="2400"/>
          </a:p>
        </p:txBody>
      </p:sp>
      <p:sp>
        <p:nvSpPr>
          <p:cNvPr id="8" name="Rectangle 7">
            <a:extLst>
              <a:ext uri="{FF2B5EF4-FFF2-40B4-BE49-F238E27FC236}">
                <a16:creationId xmlns:a16="http://schemas.microsoft.com/office/drawing/2014/main" id="{878F7EAB-5EEF-5843-8277-AF186213EFF8}"/>
              </a:ext>
            </a:extLst>
          </p:cNvPr>
          <p:cNvSpPr/>
          <p:nvPr userDrawn="1"/>
        </p:nvSpPr>
        <p:spPr>
          <a:xfrm>
            <a:off x="2197099" y="-4099035"/>
            <a:ext cx="7810501"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77">
              <a:spcBef>
                <a:spcPct val="0"/>
              </a:spcBef>
            </a:pPr>
            <a:r>
              <a:rPr lang="en-GB" sz="3200" b="1" i="0" dirty="0">
                <a:solidFill>
                  <a:schemeClr val="tx2"/>
                </a:solidFill>
                <a:latin typeface="Source Sans Pro" panose="020B0503030403020204" pitchFamily="34" charset="0"/>
                <a:ea typeface="+mj-ea"/>
                <a:cs typeface="+mj-cs"/>
              </a:rPr>
              <a:t>Building a foundation for...</a:t>
            </a:r>
            <a:endParaRPr lang="en-US" sz="3200" b="1" i="0" dirty="0">
              <a:solidFill>
                <a:schemeClr val="tx2"/>
              </a:solidFill>
              <a:latin typeface="Source Sans Pro" panose="020B0503030403020204" pitchFamily="34" charset="0"/>
              <a:ea typeface="+mj-ea"/>
              <a:cs typeface="+mj-cs"/>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72EDE628-C243-344C-A7A9-A7B75D33690A}"/>
                  </a:ext>
                </a:extLst>
              </p14:cNvPr>
              <p14:cNvContentPartPr/>
              <p14:nvPr userDrawn="1"/>
            </p14:nvContentPartPr>
            <p14:xfrm>
              <a:off x="-5605893" y="439840"/>
              <a:ext cx="480" cy="480"/>
            </p14:xfrm>
          </p:contentPart>
        </mc:Choice>
        <mc:Fallback xmlns="">
          <p:pic>
            <p:nvPicPr>
              <p:cNvPr id="9" name="Ink 8">
                <a:extLst>
                  <a:ext uri="{FF2B5EF4-FFF2-40B4-BE49-F238E27FC236}">
                    <a16:creationId xmlns:a16="http://schemas.microsoft.com/office/drawing/2014/main" id="{72EDE628-C243-344C-A7A9-A7B75D33690A}"/>
                  </a:ext>
                </a:extLst>
              </p:cNvPr>
              <p:cNvPicPr/>
              <p:nvPr/>
            </p:nvPicPr>
            <p:blipFill>
              <a:blip r:embed="rId4"/>
              <a:stretch>
                <a:fillRect/>
              </a:stretch>
            </p:blipFill>
            <p:spPr>
              <a:xfrm>
                <a:off x="-5617893" y="427840"/>
                <a:ext cx="24000" cy="24000"/>
              </a:xfrm>
              <a:prstGeom prst="rect">
                <a:avLst/>
              </a:prstGeom>
            </p:spPr>
          </p:pic>
        </mc:Fallback>
      </mc:AlternateContent>
      <p:sp>
        <p:nvSpPr>
          <p:cNvPr id="31" name="TITLE">
            <a:extLst>
              <a:ext uri="{FF2B5EF4-FFF2-40B4-BE49-F238E27FC236}">
                <a16:creationId xmlns:a16="http://schemas.microsoft.com/office/drawing/2014/main" id="{0DE24C69-53C3-AE48-B542-909C6ABD56BF}"/>
              </a:ext>
            </a:extLst>
          </p:cNvPr>
          <p:cNvSpPr>
            <a:spLocks noGrp="1"/>
          </p:cNvSpPr>
          <p:nvPr>
            <p:ph type="body" sz="quarter" idx="12" hasCustomPrompt="1"/>
          </p:nvPr>
        </p:nvSpPr>
        <p:spPr>
          <a:xfrm>
            <a:off x="4229099" y="5432171"/>
            <a:ext cx="7454901" cy="533400"/>
          </a:xfrm>
        </p:spPr>
        <p:txBody>
          <a:bodyPr/>
          <a:lstStyle>
            <a:lvl1pPr>
              <a:defRPr b="1" i="0">
                <a:solidFill>
                  <a:schemeClr val="tx2"/>
                </a:solidFill>
                <a:latin typeface="Source Sans Pro Semibold" panose="020B0503030403020204" pitchFamily="34" charset="0"/>
                <a:ea typeface="Source Sans Pro Semibold" panose="020B0503030403020204" pitchFamily="34" charset="0"/>
              </a:defRPr>
            </a:lvl1pPr>
          </a:lstStyle>
          <a:p>
            <a:pPr lvl="0"/>
            <a:r>
              <a:rPr lang="en-US" dirty="0"/>
              <a:t>— Name, Title</a:t>
            </a:r>
          </a:p>
        </p:txBody>
      </p:sp>
      <p:sp>
        <p:nvSpPr>
          <p:cNvPr id="17" name="Title 1">
            <a:extLst>
              <a:ext uri="{FF2B5EF4-FFF2-40B4-BE49-F238E27FC236}">
                <a16:creationId xmlns:a16="http://schemas.microsoft.com/office/drawing/2014/main" id="{75015F69-F9C8-9540-AF88-3152FE5DD6D4}"/>
              </a:ext>
            </a:extLst>
          </p:cNvPr>
          <p:cNvSpPr txBox="1">
            <a:spLocks/>
          </p:cNvSpPr>
          <p:nvPr userDrawn="1"/>
        </p:nvSpPr>
        <p:spPr>
          <a:xfrm>
            <a:off x="4115904" y="1063410"/>
            <a:ext cx="760897" cy="1323439"/>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8000" dirty="0">
                <a:solidFill>
                  <a:srgbClr val="FF6D70"/>
                </a:solidFill>
                <a:latin typeface="+mn-lt"/>
              </a:rPr>
              <a:t>“</a:t>
            </a:r>
            <a:endParaRPr lang="en-US" sz="9600" dirty="0">
              <a:solidFill>
                <a:srgbClr val="FF6D70"/>
              </a:solidFill>
              <a:latin typeface="+mn-lt"/>
            </a:endParaRPr>
          </a:p>
        </p:txBody>
      </p:sp>
      <p:sp>
        <p:nvSpPr>
          <p:cNvPr id="18" name="Oval 17">
            <a:extLst>
              <a:ext uri="{FF2B5EF4-FFF2-40B4-BE49-F238E27FC236}">
                <a16:creationId xmlns:a16="http://schemas.microsoft.com/office/drawing/2014/main" id="{200E090A-065F-BC41-9689-182CD87141CD}"/>
              </a:ext>
            </a:extLst>
          </p:cNvPr>
          <p:cNvSpPr/>
          <p:nvPr userDrawn="1"/>
        </p:nvSpPr>
        <p:spPr>
          <a:xfrm>
            <a:off x="3822701" y="641667"/>
            <a:ext cx="1384300" cy="1384300"/>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w="12700">
                <a:solidFill>
                  <a:srgbClr val="FF6D70"/>
                </a:solidFill>
              </a:ln>
              <a:noFill/>
              <a:latin typeface="+mn-lt"/>
            </a:endParaRPr>
          </a:p>
        </p:txBody>
      </p:sp>
      <p:sp>
        <p:nvSpPr>
          <p:cNvPr id="27" name="QUOTE">
            <a:extLst>
              <a:ext uri="{FF2B5EF4-FFF2-40B4-BE49-F238E27FC236}">
                <a16:creationId xmlns:a16="http://schemas.microsoft.com/office/drawing/2014/main" id="{9D7187EA-700C-864A-B857-4AAA95FDC2CA}"/>
              </a:ext>
            </a:extLst>
          </p:cNvPr>
          <p:cNvSpPr>
            <a:spLocks noGrp="1"/>
          </p:cNvSpPr>
          <p:nvPr>
            <p:ph type="body" sz="quarter" idx="11"/>
          </p:nvPr>
        </p:nvSpPr>
        <p:spPr>
          <a:xfrm>
            <a:off x="4229099" y="1728721"/>
            <a:ext cx="7454901" cy="2768048"/>
          </a:xfrm>
        </p:spPr>
        <p:txBody>
          <a:bodyPr>
            <a:normAutofit/>
          </a:bodyPr>
          <a:lstStyle>
            <a:lvl1pPr>
              <a:defRPr sz="3733" b="0" i="0">
                <a:solidFill>
                  <a:schemeClr val="tx1"/>
                </a:solidFill>
                <a:latin typeface="Source Sans Pro" panose="020B0503030403020204" pitchFamily="34" charset="0"/>
              </a:defRPr>
            </a:lvl1pPr>
          </a:lstStyle>
          <a:p>
            <a:pPr lvl="0"/>
            <a:r>
              <a:rPr lang="en-US" dirty="0"/>
              <a:t>Click to edit</a:t>
            </a:r>
          </a:p>
        </p:txBody>
      </p:sp>
      <p:sp>
        <p:nvSpPr>
          <p:cNvPr id="19" name="SIDEBAR">
            <a:extLst>
              <a:ext uri="{FF2B5EF4-FFF2-40B4-BE49-F238E27FC236}">
                <a16:creationId xmlns:a16="http://schemas.microsoft.com/office/drawing/2014/main" id="{88EEB87D-BBD1-5843-A566-BDF32AA33488}"/>
              </a:ext>
            </a:extLst>
          </p:cNvPr>
          <p:cNvSpPr>
            <a:spLocks noGrp="1"/>
          </p:cNvSpPr>
          <p:nvPr>
            <p:ph type="body" sz="quarter" idx="10"/>
          </p:nvPr>
        </p:nvSpPr>
        <p:spPr>
          <a:xfrm>
            <a:off x="523355" y="1728722"/>
            <a:ext cx="2577347" cy="860385"/>
          </a:xfrm>
        </p:spPr>
        <p:txBody>
          <a:bodyPr/>
          <a:lstStyle>
            <a:lvl1pPr>
              <a:defRPr b="1" i="0">
                <a:solidFill>
                  <a:schemeClr val="bg1"/>
                </a:solidFill>
                <a:latin typeface="Source Sans Pro Semibold" panose="020B0503030403020204" pitchFamily="34" charset="0"/>
                <a:ea typeface="Source Sans Pro Semibold" panose="020B0503030403020204" pitchFamily="34" charset="0"/>
              </a:defRPr>
            </a:lvl1pPr>
          </a:lstStyle>
          <a:p>
            <a:pPr lvl="0"/>
            <a:r>
              <a:rPr lang="en-US" dirty="0"/>
              <a:t>Click to edit</a:t>
            </a:r>
          </a:p>
        </p:txBody>
      </p:sp>
    </p:spTree>
    <p:extLst>
      <p:ext uri="{BB962C8B-B14F-4D97-AF65-F5344CB8AC3E}">
        <p14:creationId xmlns:p14="http://schemas.microsoft.com/office/powerpoint/2010/main" val="2038373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10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1000"/>
                            </p:stCondLst>
                            <p:childTnLst>
                              <p:par>
                                <p:cTn id="12" presetID="10" presetClass="entr" presetSubtype="0" fill="hold" grpId="1" nodeType="afterEffect">
                                  <p:stCondLst>
                                    <p:cond delay="0"/>
                                  </p:stCondLst>
                                  <p:childTnLst>
                                    <p:set>
                                      <p:cBhvr>
                                        <p:cTn id="13" dur="1" fill="hold">
                                          <p:stCondLst>
                                            <p:cond delay="0"/>
                                          </p:stCondLst>
                                        </p:cTn>
                                        <p:tgtEl>
                                          <p:spTgt spid="27">
                                            <p:txEl>
                                              <p:pRg st="0" end="0"/>
                                            </p:txEl>
                                          </p:spTgt>
                                        </p:tgtEl>
                                        <p:attrNameLst>
                                          <p:attrName>style.visibility</p:attrName>
                                        </p:attrNameLst>
                                      </p:cBhvr>
                                      <p:to>
                                        <p:strVal val="visible"/>
                                      </p:to>
                                    </p:set>
                                    <p:animEffect transition="in" filter="fade">
                                      <p:cBhvr>
                                        <p:cTn id="14" dur="500"/>
                                        <p:tgtEl>
                                          <p:spTgt spid="27">
                                            <p:txEl>
                                              <p:pRg st="0" end="0"/>
                                            </p:txEl>
                                          </p:spTgt>
                                        </p:tgtEl>
                                      </p:cBhvr>
                                    </p:animEffect>
                                  </p:childTnLst>
                                </p:cTn>
                              </p:par>
                              <p:par>
                                <p:cTn id="15" presetID="64" presetClass="path" presetSubtype="0" accel="50000" decel="50000" fill="hold" grpId="0" nodeType="withEffect">
                                  <p:stCondLst>
                                    <p:cond delay="0"/>
                                  </p:stCondLst>
                                  <p:childTnLst>
                                    <p:animMotion origin="layout" path="M 3.05556E-6 -0.03148 L 3.05556E-6 0.00154 " pathEditMode="relative" rAng="0" ptsTypes="AA">
                                      <p:cBhvr>
                                        <p:cTn id="16" dur="2000" fill="hold"/>
                                        <p:tgtEl>
                                          <p:spTgt spid="27">
                                            <p:txEl>
                                              <p:pRg st="0" end="0"/>
                                            </p:txEl>
                                          </p:spTgt>
                                        </p:tgtEl>
                                        <p:attrNameLst>
                                          <p:attrName>ppt_x</p:attrName>
                                          <p:attrName>ppt_y</p:attrName>
                                        </p:attrNameLst>
                                      </p:cBhvr>
                                      <p:rCtr x="0" y="1636"/>
                                    </p:animMotion>
                                  </p:childTnLst>
                                </p:cTn>
                              </p:par>
                              <p:par>
                                <p:cTn id="17" presetID="10" presetClass="entr" presetSubtype="0" fill="hold" grpId="1" nodeType="with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childTnLst>
                                </p:cTn>
                              </p:par>
                              <p:par>
                                <p:cTn id="20" presetID="42" presetClass="path" presetSubtype="0" accel="50000" decel="50000" fill="hold" grpId="0" nodeType="withEffect">
                                  <p:stCondLst>
                                    <p:cond delay="0"/>
                                  </p:stCondLst>
                                  <p:childTnLst>
                                    <p:animMotion origin="layout" path="M -3.88889E-6 -0.05247 L -3.88889E-6 1.11111E-6 " pathEditMode="relative" rAng="0" ptsTypes="AA">
                                      <p:cBhvr>
                                        <p:cTn id="21" dur="2000" fill="hold"/>
                                        <p:tgtEl>
                                          <p:spTgt spid="19">
                                            <p:txEl>
                                              <p:pRg st="0" end="0"/>
                                            </p:txEl>
                                          </p:spTgt>
                                        </p:tgtEl>
                                        <p:attrNameLst>
                                          <p:attrName>ppt_x</p:attrName>
                                          <p:attrName>ppt_y</p:attrName>
                                        </p:attrNameLst>
                                      </p:cBhvr>
                                      <p:rCtr x="0" y="2623"/>
                                    </p:animMotion>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Effect transition="in" filter="fade">
                                      <p:cBhvr>
                                        <p:cTn id="25"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tmplLst>
          <p:tmpl lvl="1">
            <p:tnLst>
              <p:par>
                <p:cTn presetID="10"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17" grpId="0"/>
      <p:bldP spid="18" grpId="0" animBg="1"/>
      <p:bldP spid="27" grpId="0" build="p">
        <p:tmplLst>
          <p:tmpl lvl="1">
            <p:tnLst>
              <p:par>
                <p:cTn presetID="64" presetClass="path" presetSubtype="0" accel="50000" decel="50000" fill="hold" nodeType="withEffect">
                  <p:stCondLst>
                    <p:cond delay="0"/>
                  </p:stCondLst>
                  <p:childTnLst>
                    <p:animMotion origin="layout" path="M 3.05556E-6 -0.03148 L 3.05556E-6 0.00154 " pathEditMode="relative" rAng="0" ptsTypes="AA">
                      <p:cBhvr>
                        <p:cTn dur="2000" fill="hold"/>
                        <p:tgtEl>
                          <p:spTgt spid="27"/>
                        </p:tgtEl>
                        <p:attrNameLst>
                          <p:attrName>ppt_x</p:attrName>
                          <p:attrName>ppt_y</p:attrName>
                        </p:attrNameLst>
                      </p:cBhvr>
                      <p:rCtr x="0" y="1636"/>
                    </p:animMotion>
                  </p:childTnLst>
                </p:cTn>
              </p:par>
            </p:tnLst>
          </p:tmpl>
        </p:tmplLst>
      </p:bldP>
      <p:bldP spid="27" grpId="1" build="p">
        <p:tmplLst>
          <p:tmpl lvl="1">
            <p:tnLst>
              <p:par>
                <p:cTn presetID="10" presetClass="entr" presetSubtype="0" fill="hold" nodeType="after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fade">
                      <p:cBhvr>
                        <p:cTn dur="500"/>
                        <p:tgtEl>
                          <p:spTgt spid="27"/>
                        </p:tgtEl>
                      </p:cBhvr>
                    </p:animEffect>
                  </p:childTnLst>
                </p:cTn>
              </p:par>
            </p:tnLst>
          </p:tmpl>
        </p:tmplLst>
      </p:bldP>
      <p:bldP spid="19" grpId="0" build="p">
        <p:tmplLst>
          <p:tmpl lvl="1">
            <p:tnLst>
              <p:par>
                <p:cTn presetID="42" presetClass="path" presetSubtype="0" accel="50000" decel="50000" fill="hold" nodeType="withEffect">
                  <p:stCondLst>
                    <p:cond delay="0"/>
                  </p:stCondLst>
                  <p:childTnLst>
                    <p:animMotion origin="layout" path="M -3.88889E-6 -0.05247 L -3.88889E-6 1.11111E-6 " pathEditMode="relative" rAng="0" ptsTypes="AA">
                      <p:cBhvr>
                        <p:cTn dur="2000" fill="hold"/>
                        <p:tgtEl>
                          <p:spTgt spid="19"/>
                        </p:tgtEl>
                        <p:attrNameLst>
                          <p:attrName>ppt_x</p:attrName>
                          <p:attrName>ppt_y</p:attrName>
                        </p:attrNameLst>
                      </p:cBhvr>
                      <p:rCtr x="0" y="2623"/>
                    </p:animMotion>
                  </p:childTnLst>
                </p:cTn>
              </p:par>
            </p:tnLst>
          </p:tmpl>
        </p:tmplLst>
      </p:bldP>
      <p:bldP spid="19" grpId="1"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 Slide 2">
    <p:bg>
      <p:bgPr>
        <a:gradFill flip="none" rotWithShape="1">
          <a:gsLst>
            <a:gs pos="0">
              <a:srgbClr val="3C4857"/>
            </a:gs>
            <a:gs pos="100000">
              <a:srgbClr val="1D2024"/>
            </a:gs>
          </a:gsLst>
          <a:lin ang="2700000" scaled="1"/>
          <a:tileRect/>
        </a:gradFill>
        <a:effectLst/>
      </p:bgPr>
    </p:bg>
    <p:spTree>
      <p:nvGrpSpPr>
        <p:cNvPr id="1" name=""/>
        <p:cNvGrpSpPr/>
        <p:nvPr/>
      </p:nvGrpSpPr>
      <p:grpSpPr>
        <a:xfrm>
          <a:off x="0" y="0"/>
          <a:ext cx="0" cy="0"/>
          <a:chOff x="0" y="0"/>
          <a:chExt cx="0" cy="0"/>
        </a:xfrm>
      </p:grpSpPr>
      <p:pic>
        <p:nvPicPr>
          <p:cNvPr id="6" name="Picture 5" descr="A picture containing blue, player, tower&#10;&#10;Description automatically generated">
            <a:extLst>
              <a:ext uri="{FF2B5EF4-FFF2-40B4-BE49-F238E27FC236}">
                <a16:creationId xmlns:a16="http://schemas.microsoft.com/office/drawing/2014/main" id="{73FB78CE-8F45-3443-AA1B-A2B3CE474C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7" y="0"/>
            <a:ext cx="12192000" cy="6858000"/>
          </a:xfrm>
          <a:prstGeom prst="rect">
            <a:avLst/>
          </a:prstGeom>
        </p:spPr>
      </p:pic>
      <p:pic>
        <p:nvPicPr>
          <p:cNvPr id="8" name="Graphic 7">
            <a:extLst>
              <a:ext uri="{FF2B5EF4-FFF2-40B4-BE49-F238E27FC236}">
                <a16:creationId xmlns:a16="http://schemas.microsoft.com/office/drawing/2014/main" id="{921E36DD-3FDD-E44B-8242-ECD49E2F91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43600" y="6378047"/>
            <a:ext cx="321733" cy="321733"/>
          </a:xfrm>
          <a:prstGeom prst="rect">
            <a:avLst/>
          </a:prstGeom>
        </p:spPr>
      </p:pic>
      <p:sp>
        <p:nvSpPr>
          <p:cNvPr id="7" name="Title 2">
            <a:extLst>
              <a:ext uri="{FF2B5EF4-FFF2-40B4-BE49-F238E27FC236}">
                <a16:creationId xmlns:a16="http://schemas.microsoft.com/office/drawing/2014/main" id="{7FF2C8AD-F83F-704B-860E-AB211814B778}"/>
              </a:ext>
            </a:extLst>
          </p:cNvPr>
          <p:cNvSpPr>
            <a:spLocks noGrp="1"/>
          </p:cNvSpPr>
          <p:nvPr>
            <p:ph type="title" hasCustomPrompt="1"/>
          </p:nvPr>
        </p:nvSpPr>
        <p:spPr>
          <a:xfrm>
            <a:off x="1824217" y="2591105"/>
            <a:ext cx="7615359" cy="992419"/>
          </a:xfrm>
        </p:spPr>
        <p:txBody>
          <a:bodyPr lIns="0" tIns="0" rIns="0" bIns="0" rtlCol="0" anchor="b" anchorCtr="0">
            <a:noAutofit/>
          </a:bodyPr>
          <a:lstStyle>
            <a:lvl1pPr algn="l">
              <a:defRPr lang="en-US" sz="3733" b="1" i="0" cap="none" baseline="0">
                <a:solidFill>
                  <a:schemeClr val="bg1"/>
                </a:solidFill>
                <a:latin typeface="Source Sans Pro" panose="020B0503030403020204" pitchFamily="34" charset="0"/>
                <a:ea typeface="Source Sans Pro" panose="020B0503030403020204" pitchFamily="34" charset="0"/>
                <a:cs typeface="Calibri" charset="0"/>
              </a:defRPr>
            </a:lvl1pPr>
          </a:lstStyle>
          <a:p>
            <a:pPr lvl="0"/>
            <a:r>
              <a:rPr lang="en-US" dirty="0"/>
              <a:t>Section slide</a:t>
            </a:r>
          </a:p>
        </p:txBody>
      </p:sp>
      <p:sp>
        <p:nvSpPr>
          <p:cNvPr id="9" name="Subtitle 2">
            <a:extLst>
              <a:ext uri="{FF2B5EF4-FFF2-40B4-BE49-F238E27FC236}">
                <a16:creationId xmlns:a16="http://schemas.microsoft.com/office/drawing/2014/main" id="{1F6E3133-BF85-5C44-B03E-8C5CFC3220B9}"/>
              </a:ext>
            </a:extLst>
          </p:cNvPr>
          <p:cNvSpPr>
            <a:spLocks noGrp="1"/>
          </p:cNvSpPr>
          <p:nvPr>
            <p:ph type="subTitle" idx="1" hasCustomPrompt="1"/>
          </p:nvPr>
        </p:nvSpPr>
        <p:spPr>
          <a:xfrm>
            <a:off x="1824216" y="3605229"/>
            <a:ext cx="7615360" cy="332399"/>
          </a:xfrm>
          <a:prstGeom prst="rect">
            <a:avLst/>
          </a:prstGeom>
          <a:ln>
            <a:noFill/>
          </a:ln>
        </p:spPr>
        <p:txBody>
          <a:bodyPr wrap="square" tIns="0" bIns="0" anchor="t" anchorCtr="0">
            <a:normAutofit/>
          </a:bodyPr>
          <a:lstStyle>
            <a:lvl1pPr marL="0" indent="0" algn="l">
              <a:buNone/>
              <a:defRPr sz="2400" b="0" i="0" cap="none" baseline="0">
                <a:solidFill>
                  <a:schemeClr val="tx2"/>
                </a:solidFill>
                <a:latin typeface="+mn-lt"/>
                <a:ea typeface="Source Sans Pro" panose="020B0503030403020204" pitchFamily="34" charset="0"/>
                <a:cs typeface="Calibri" charset="0"/>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590210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496908839"/>
      </p:ext>
    </p:extLst>
  </p:cSld>
  <p:clrMapOvr>
    <a:masterClrMapping/>
  </p:clrMapOvr>
  <p:transition spd="slow">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Product">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316503-A161-5147-8B45-78DF01687921}"/>
              </a:ext>
            </a:extLst>
          </p:cNvPr>
          <p:cNvSpPr>
            <a:spLocks noGrp="1"/>
          </p:cNvSpPr>
          <p:nvPr>
            <p:ph type="dt" sz="half" idx="10"/>
          </p:nvPr>
        </p:nvSpPr>
        <p:spPr/>
        <p:txBody>
          <a:bodyPr/>
          <a:lstStyle/>
          <a:p>
            <a:fld id="{B01F1F41-2107-2B4A-AFD3-0A9C893A5C18}" type="datetimeFigureOut">
              <a:rPr lang="en-US" smtClean="0"/>
              <a:pPr/>
              <a:t>7/16/2021</a:t>
            </a:fld>
            <a:endParaRPr lang="en-US"/>
          </a:p>
        </p:txBody>
      </p:sp>
      <p:sp>
        <p:nvSpPr>
          <p:cNvPr id="4" name="Footer Placeholder 3">
            <a:extLst>
              <a:ext uri="{FF2B5EF4-FFF2-40B4-BE49-F238E27FC236}">
                <a16:creationId xmlns:a16="http://schemas.microsoft.com/office/drawing/2014/main" id="{C257ABA9-F3BA-1F4A-B98E-56BCF10A8916}"/>
              </a:ext>
            </a:extLst>
          </p:cNvPr>
          <p:cNvSpPr>
            <a:spLocks noGrp="1"/>
          </p:cNvSpPr>
          <p:nvPr>
            <p:ph type="ftr" sz="quarter" idx="11"/>
          </p:nvPr>
        </p:nvSpPr>
        <p:spPr/>
        <p:txBody>
          <a:bodyPr/>
          <a:lstStyle/>
          <a:p>
            <a:r>
              <a:rPr lang="en-US">
                <a:solidFill>
                  <a:schemeClr val="tx2"/>
                </a:solidFill>
              </a:rPr>
              <a:t>|</a:t>
            </a:r>
            <a:r>
              <a:rPr lang="en-US"/>
              <a:t>  Footer</a:t>
            </a:r>
          </a:p>
        </p:txBody>
      </p:sp>
      <p:sp>
        <p:nvSpPr>
          <p:cNvPr id="5" name="Slide Number Placeholder 4">
            <a:extLst>
              <a:ext uri="{FF2B5EF4-FFF2-40B4-BE49-F238E27FC236}">
                <a16:creationId xmlns:a16="http://schemas.microsoft.com/office/drawing/2014/main" id="{63A21C34-E675-7148-A7D0-8CBAE9B8C9F1}"/>
              </a:ext>
            </a:extLst>
          </p:cNvPr>
          <p:cNvSpPr>
            <a:spLocks noGrp="1"/>
          </p:cNvSpPr>
          <p:nvPr>
            <p:ph type="sldNum" sz="quarter" idx="12"/>
          </p:nvPr>
        </p:nvSpPr>
        <p:spPr/>
        <p:txBody>
          <a:bodyPr/>
          <a:lstStyle/>
          <a:p>
            <a:fld id="{47F042C8-DDB5-0141-B946-4F962685D46A}" type="slidenum">
              <a:rPr lang="en-US" smtClean="0"/>
              <a:pPr/>
              <a:t>‹#›</a:t>
            </a:fld>
            <a:endParaRPr lang="en-US"/>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6"/>
            <a:ext cx="5709920" cy="1034001"/>
          </a:xfrm>
        </p:spPr>
        <p:txBody>
          <a:body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9DB19048-B503-8646-AFB8-50C0B50715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25464"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dirty="0"/>
              <a:t>Click icon to add picture</a:t>
            </a:r>
          </a:p>
        </p:txBody>
      </p:sp>
    </p:spTree>
    <p:extLst>
      <p:ext uri="{BB962C8B-B14F-4D97-AF65-F5344CB8AC3E}">
        <p14:creationId xmlns:p14="http://schemas.microsoft.com/office/powerpoint/2010/main" val="191231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With Picture">
    <p:bg>
      <p:bgPr>
        <a:solidFill>
          <a:schemeClr val="accent5"/>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5874542-2663-4892-90C2-92A4C0B8E5DE}"/>
              </a:ext>
            </a:extLst>
          </p:cNvPr>
          <p:cNvSpPr>
            <a:spLocks noGrp="1"/>
          </p:cNvSpPr>
          <p:nvPr>
            <p:ph type="ctrTitle" hasCustomPrompt="1"/>
          </p:nvPr>
        </p:nvSpPr>
        <p:spPr>
          <a:xfrm>
            <a:off x="5195456" y="1122363"/>
            <a:ext cx="6488544" cy="2387600"/>
          </a:xfrm>
        </p:spPr>
        <p:txBody>
          <a:bodyPr anchor="b">
            <a:normAutofit/>
          </a:bodyPr>
          <a:lstStyle>
            <a:lvl1pPr algn="l">
              <a:defRPr sz="3733" b="1" i="0">
                <a:latin typeface="Source Sans Pro" panose="020B0503030403020204" pitchFamily="34" charset="0"/>
              </a:defRPr>
            </a:lvl1pPr>
          </a:lstStyle>
          <a:p>
            <a:r>
              <a:rPr lang="en-US" dirty="0"/>
              <a:t>Title slide with picture</a:t>
            </a:r>
            <a:endParaRPr lang="en-ID" dirty="0"/>
          </a:p>
        </p:txBody>
      </p:sp>
      <p:sp>
        <p:nvSpPr>
          <p:cNvPr id="10" name="Subtitle 2">
            <a:extLst>
              <a:ext uri="{FF2B5EF4-FFF2-40B4-BE49-F238E27FC236}">
                <a16:creationId xmlns:a16="http://schemas.microsoft.com/office/drawing/2014/main" id="{8A567B3B-9E58-4A6B-BCE5-9CD5B1264987}"/>
              </a:ext>
            </a:extLst>
          </p:cNvPr>
          <p:cNvSpPr>
            <a:spLocks noGrp="1"/>
          </p:cNvSpPr>
          <p:nvPr>
            <p:ph type="subTitle" idx="1" hasCustomPrompt="1"/>
          </p:nvPr>
        </p:nvSpPr>
        <p:spPr>
          <a:xfrm>
            <a:off x="5195456" y="3602037"/>
            <a:ext cx="6488544" cy="1655763"/>
          </a:xfrm>
          <a:prstGeom prst="rect">
            <a:avLst/>
          </a:prstGeom>
        </p:spPr>
        <p:txBody>
          <a:bodyPr/>
          <a:lstStyle>
            <a:lvl1pPr marL="0" indent="0" algn="l">
              <a:buNone/>
              <a:defRPr sz="2400" b="0" i="0">
                <a:solidFill>
                  <a:schemeClr val="tx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ID" dirty="0"/>
          </a:p>
        </p:txBody>
      </p:sp>
      <p:sp>
        <p:nvSpPr>
          <p:cNvPr id="6" name="Picture Placeholder 5">
            <a:extLst>
              <a:ext uri="{FF2B5EF4-FFF2-40B4-BE49-F238E27FC236}">
                <a16:creationId xmlns:a16="http://schemas.microsoft.com/office/drawing/2014/main" id="{6E05BEAC-C1DD-43E1-A339-67C947C61DDE}"/>
              </a:ext>
            </a:extLst>
          </p:cNvPr>
          <p:cNvSpPr>
            <a:spLocks noGrp="1"/>
          </p:cNvSpPr>
          <p:nvPr>
            <p:ph type="pic" sz="quarter" idx="13"/>
          </p:nvPr>
        </p:nvSpPr>
        <p:spPr>
          <a:xfrm>
            <a:off x="2" y="0"/>
            <a:ext cx="4804756" cy="6858000"/>
          </a:xfrm>
          <a:prstGeom prst="rect">
            <a:avLst/>
          </a:prstGeom>
        </p:spPr>
        <p:txBody>
          <a:bodyPr/>
          <a:lstStyle/>
          <a:p>
            <a:r>
              <a:rPr lang="en-US" dirty="0"/>
              <a:t>Click icon to add picture</a:t>
            </a:r>
            <a:endParaRPr lang="en-ID" dirty="0"/>
          </a:p>
        </p:txBody>
      </p:sp>
      <p:pic>
        <p:nvPicPr>
          <p:cNvPr id="5" name="Graphic 4">
            <a:extLst>
              <a:ext uri="{FF2B5EF4-FFF2-40B4-BE49-F238E27FC236}">
                <a16:creationId xmlns:a16="http://schemas.microsoft.com/office/drawing/2014/main" id="{97503836-1E64-4842-9A26-FE9E3077A6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51043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itle Only Seashell">
    <p:bg>
      <p:bgPr>
        <a:gradFill>
          <a:gsLst>
            <a:gs pos="0">
              <a:srgbClr val="3C4857"/>
            </a:gs>
            <a:gs pos="100000">
              <a:srgbClr val="1D2024"/>
            </a:gs>
          </a:gsLst>
          <a:lin ang="2700000" scaled="1"/>
        </a:gradFill>
        <a:effectLst/>
      </p:bgPr>
    </p:bg>
    <p:spTree>
      <p:nvGrpSpPr>
        <p:cNvPr id="1" name=""/>
        <p:cNvGrpSpPr/>
        <p:nvPr/>
      </p:nvGrpSpPr>
      <p:grpSpPr>
        <a:xfrm>
          <a:off x="0" y="0"/>
          <a:ext cx="0" cy="0"/>
          <a:chOff x="0" y="0"/>
          <a:chExt cx="0" cy="0"/>
        </a:xfrm>
      </p:grpSpPr>
      <p:sp>
        <p:nvSpPr>
          <p:cNvPr id="8" name="Graphic 5">
            <a:extLst>
              <a:ext uri="{FF2B5EF4-FFF2-40B4-BE49-F238E27FC236}">
                <a16:creationId xmlns:a16="http://schemas.microsoft.com/office/drawing/2014/main" id="{4426409D-282C-CA41-BFFD-ADE2A84D2310}"/>
              </a:ext>
            </a:extLst>
          </p:cNvPr>
          <p:cNvSpPr/>
          <p:nvPr userDrawn="1"/>
        </p:nvSpPr>
        <p:spPr>
          <a:xfrm>
            <a:off x="7973182" y="-1891675"/>
            <a:ext cx="13459527" cy="15023667"/>
          </a:xfrm>
          <a:custGeom>
            <a:avLst/>
            <a:gdLst>
              <a:gd name="connsiteX0" fmla="*/ 8138639 w 8149731"/>
              <a:gd name="connsiteY0" fmla="*/ 3007983 h 9096817"/>
              <a:gd name="connsiteX1" fmla="*/ 4605491 w 8149731"/>
              <a:gd name="connsiteY1" fmla="*/ 11294 h 9096817"/>
              <a:gd name="connsiteX2" fmla="*/ 3352793 w 8149731"/>
              <a:gd name="connsiteY2" fmla="*/ 375758 h 9096817"/>
              <a:gd name="connsiteX3" fmla="*/ 2930116 w 8149731"/>
              <a:gd name="connsiteY3" fmla="*/ 639448 h 9096817"/>
              <a:gd name="connsiteX4" fmla="*/ 2033409 w 8149731"/>
              <a:gd name="connsiteY4" fmla="*/ 1317023 h 9096817"/>
              <a:gd name="connsiteX5" fmla="*/ 1295095 w 8149731"/>
              <a:gd name="connsiteY5" fmla="*/ 2119401 h 9096817"/>
              <a:gd name="connsiteX6" fmla="*/ 692914 w 8149731"/>
              <a:gd name="connsiteY6" fmla="*/ 3064662 h 9096817"/>
              <a:gd name="connsiteX7" fmla="*/ 271862 w 8149731"/>
              <a:gd name="connsiteY7" fmla="*/ 4121045 h 9096817"/>
              <a:gd name="connsiteX8" fmla="*/ 55077 w 8149731"/>
              <a:gd name="connsiteY8" fmla="*/ 5216163 h 9096817"/>
              <a:gd name="connsiteX9" fmla="*/ 1 w 8149731"/>
              <a:gd name="connsiteY9" fmla="*/ 5818844 h 9096817"/>
              <a:gd name="connsiteX10" fmla="*/ 3279449 w 8149731"/>
              <a:gd name="connsiteY10" fmla="*/ 9096817 h 9096817"/>
              <a:gd name="connsiteX11" fmla="*/ 6295493 w 8149731"/>
              <a:gd name="connsiteY11" fmla="*/ 7095240 h 9096817"/>
              <a:gd name="connsiteX12" fmla="*/ 6541034 w 8149731"/>
              <a:gd name="connsiteY12" fmla="*/ 6101697 h 9096817"/>
              <a:gd name="connsiteX13" fmla="*/ 8138639 w 8149731"/>
              <a:gd name="connsiteY13" fmla="*/ 3007983 h 9096817"/>
              <a:gd name="connsiteX14" fmla="*/ 2931943 w 8149731"/>
              <a:gd name="connsiteY14" fmla="*/ 642360 h 9096817"/>
              <a:gd name="connsiteX15" fmla="*/ 7339227 w 8149731"/>
              <a:gd name="connsiteY15" fmla="*/ 2066257 h 9096817"/>
              <a:gd name="connsiteX16" fmla="*/ 7288549 w 8149731"/>
              <a:gd name="connsiteY16" fmla="*/ 5148514 h 9096817"/>
              <a:gd name="connsiteX17" fmla="*/ 6544688 w 8149731"/>
              <a:gd name="connsiteY17" fmla="*/ 6054770 h 9096817"/>
              <a:gd name="connsiteX18" fmla="*/ 6546785 w 8149731"/>
              <a:gd name="connsiteY18" fmla="*/ 6022266 h 9096817"/>
              <a:gd name="connsiteX19" fmla="*/ 6148588 w 8149731"/>
              <a:gd name="connsiteY19" fmla="*/ 1400600 h 9096817"/>
              <a:gd name="connsiteX20" fmla="*/ 2628282 w 8149731"/>
              <a:gd name="connsiteY20" fmla="*/ 949862 h 9096817"/>
              <a:gd name="connsiteX21" fmla="*/ 2516845 w 8149731"/>
              <a:gd name="connsiteY21" fmla="*/ 1005729 h 9096817"/>
              <a:gd name="connsiteX22" fmla="*/ 2931943 w 8149731"/>
              <a:gd name="connsiteY22" fmla="*/ 642360 h 9096817"/>
              <a:gd name="connsiteX23" fmla="*/ 6470599 w 8149731"/>
              <a:gd name="connsiteY23" fmla="*/ 6104609 h 9096817"/>
              <a:gd name="connsiteX24" fmla="*/ 6489138 w 8149731"/>
              <a:gd name="connsiteY24" fmla="*/ 6075423 h 9096817"/>
              <a:gd name="connsiteX25" fmla="*/ 6482372 w 8149731"/>
              <a:gd name="connsiteY25" fmla="*/ 6091743 h 9096817"/>
              <a:gd name="connsiteX26" fmla="*/ 6477906 w 8149731"/>
              <a:gd name="connsiteY26" fmla="*/ 6101562 h 9096817"/>
              <a:gd name="connsiteX27" fmla="*/ 6472155 w 8149731"/>
              <a:gd name="connsiteY27" fmla="*/ 6114564 h 9096817"/>
              <a:gd name="connsiteX28" fmla="*/ 6455578 w 8149731"/>
              <a:gd name="connsiteY28" fmla="*/ 6128107 h 9096817"/>
              <a:gd name="connsiteX29" fmla="*/ 6459232 w 8149731"/>
              <a:gd name="connsiteY29" fmla="*/ 6122419 h 9096817"/>
              <a:gd name="connsiteX30" fmla="*/ 6456593 w 8149731"/>
              <a:gd name="connsiteY30" fmla="*/ 6120049 h 9096817"/>
              <a:gd name="connsiteX31" fmla="*/ 6433453 w 8149731"/>
              <a:gd name="connsiteY31" fmla="*/ 6145104 h 9096817"/>
              <a:gd name="connsiteX32" fmla="*/ 6374318 w 8149731"/>
              <a:gd name="connsiteY32" fmla="*/ 6190000 h 9096817"/>
              <a:gd name="connsiteX33" fmla="*/ 1965159 w 8149731"/>
              <a:gd name="connsiteY33" fmla="*/ 4783520 h 9096817"/>
              <a:gd name="connsiteX34" fmla="*/ 1612356 w 8149731"/>
              <a:gd name="connsiteY34" fmla="*/ 2997419 h 9096817"/>
              <a:gd name="connsiteX35" fmla="*/ 6094392 w 8149731"/>
              <a:gd name="connsiteY35" fmla="*/ 4150692 h 9096817"/>
              <a:gd name="connsiteX36" fmla="*/ 6549559 w 8149731"/>
              <a:gd name="connsiteY36" fmla="*/ 5819115 h 9096817"/>
              <a:gd name="connsiteX37" fmla="*/ 6548747 w 8149731"/>
              <a:gd name="connsiteY37" fmla="*/ 5892114 h 9096817"/>
              <a:gd name="connsiteX38" fmla="*/ 6535215 w 8149731"/>
              <a:gd name="connsiteY38" fmla="*/ 5960575 h 9096817"/>
              <a:gd name="connsiteX39" fmla="*/ 6497190 w 8149731"/>
              <a:gd name="connsiteY39" fmla="*/ 6055718 h 9096817"/>
              <a:gd name="connsiteX40" fmla="*/ 6456526 w 8149731"/>
              <a:gd name="connsiteY40" fmla="*/ 6120049 h 9096817"/>
              <a:gd name="connsiteX41" fmla="*/ 2621516 w 8149731"/>
              <a:gd name="connsiteY41" fmla="*/ 2099628 h 9096817"/>
              <a:gd name="connsiteX42" fmla="*/ 6525486 w 8149731"/>
              <a:gd name="connsiteY42" fmla="*/ 4584602 h 9096817"/>
              <a:gd name="connsiteX43" fmla="*/ 6552604 w 8149731"/>
              <a:gd name="connsiteY43" fmla="*/ 5871460 h 9096817"/>
              <a:gd name="connsiteX44" fmla="*/ 6553010 w 8149731"/>
              <a:gd name="connsiteY44" fmla="*/ 5819250 h 9096817"/>
              <a:gd name="connsiteX45" fmla="*/ 3278129 w 8149731"/>
              <a:gd name="connsiteY45" fmla="*/ 2539009 h 9096817"/>
              <a:gd name="connsiteX46" fmla="*/ 1612694 w 8149731"/>
              <a:gd name="connsiteY46" fmla="*/ 2993491 h 9096817"/>
              <a:gd name="connsiteX47" fmla="*/ 1706472 w 8149731"/>
              <a:gd name="connsiteY47" fmla="*/ 2454261 h 9096817"/>
              <a:gd name="connsiteX48" fmla="*/ 2621516 w 8149731"/>
              <a:gd name="connsiteY48" fmla="*/ 2099628 h 9096817"/>
              <a:gd name="connsiteX49" fmla="*/ 1707690 w 8149731"/>
              <a:gd name="connsiteY49" fmla="*/ 2449453 h 9096817"/>
              <a:gd name="connsiteX50" fmla="*/ 1749640 w 8149731"/>
              <a:gd name="connsiteY50" fmla="*/ 2303320 h 9096817"/>
              <a:gd name="connsiteX51" fmla="*/ 1893486 w 8149731"/>
              <a:gd name="connsiteY51" fmla="*/ 1925054 h 9096817"/>
              <a:gd name="connsiteX52" fmla="*/ 2137065 w 8149731"/>
              <a:gd name="connsiteY52" fmla="*/ 1803163 h 9096817"/>
              <a:gd name="connsiteX53" fmla="*/ 6463522 w 8149731"/>
              <a:gd name="connsiteY53" fmla="*/ 3442827 h 9096817"/>
              <a:gd name="connsiteX54" fmla="*/ 6551521 w 8149731"/>
              <a:gd name="connsiteY54" fmla="*/ 5917643 h 9096817"/>
              <a:gd name="connsiteX55" fmla="*/ 6552130 w 8149731"/>
              <a:gd name="connsiteY55" fmla="*/ 5892452 h 9096817"/>
              <a:gd name="connsiteX56" fmla="*/ 6552807 w 8149731"/>
              <a:gd name="connsiteY56" fmla="*/ 5888999 h 9096817"/>
              <a:gd name="connsiteX57" fmla="*/ 3925473 w 8149731"/>
              <a:gd name="connsiteY57" fmla="*/ 2071979 h 9096817"/>
              <a:gd name="connsiteX58" fmla="*/ 1707690 w 8149731"/>
              <a:gd name="connsiteY58" fmla="*/ 2449453 h 9096817"/>
              <a:gd name="connsiteX59" fmla="*/ 1609108 w 8149731"/>
              <a:gd name="connsiteY59" fmla="*/ 2995387 h 9096817"/>
              <a:gd name="connsiteX60" fmla="*/ 1162548 w 8149731"/>
              <a:gd name="connsiteY60" fmla="*/ 3313250 h 9096817"/>
              <a:gd name="connsiteX61" fmla="*/ 1177636 w 8149731"/>
              <a:gd name="connsiteY61" fmla="*/ 3160752 h 9096817"/>
              <a:gd name="connsiteX62" fmla="*/ 1249356 w 8149731"/>
              <a:gd name="connsiteY62" fmla="*/ 2770025 h 9096817"/>
              <a:gd name="connsiteX63" fmla="*/ 1471892 w 8149731"/>
              <a:gd name="connsiteY63" fmla="*/ 2602155 h 9096817"/>
              <a:gd name="connsiteX64" fmla="*/ 1702345 w 8149731"/>
              <a:gd name="connsiteY64" fmla="*/ 2456564 h 9096817"/>
              <a:gd name="connsiteX65" fmla="*/ 1609108 w 8149731"/>
              <a:gd name="connsiteY65" fmla="*/ 2995387 h 9096817"/>
              <a:gd name="connsiteX66" fmla="*/ 1609108 w 8149731"/>
              <a:gd name="connsiteY66" fmla="*/ 2999518 h 9096817"/>
              <a:gd name="connsiteX67" fmla="*/ 4589597 w 8149731"/>
              <a:gd name="connsiteY67" fmla="*/ 6547180 h 9096817"/>
              <a:gd name="connsiteX68" fmla="*/ 6357673 w 8149731"/>
              <a:gd name="connsiteY68" fmla="*/ 6202528 h 9096817"/>
              <a:gd name="connsiteX69" fmla="*/ 1785121 w 8149731"/>
              <a:gd name="connsiteY69" fmla="*/ 5493390 h 9096817"/>
              <a:gd name="connsiteX70" fmla="*/ 1162751 w 8149731"/>
              <a:gd name="connsiteY70" fmla="*/ 3317787 h 9096817"/>
              <a:gd name="connsiteX71" fmla="*/ 1608770 w 8149731"/>
              <a:gd name="connsiteY71" fmla="*/ 2999518 h 9096817"/>
              <a:gd name="connsiteX72" fmla="*/ 1263362 w 8149731"/>
              <a:gd name="connsiteY72" fmla="*/ 4414260 h 9096817"/>
              <a:gd name="connsiteX73" fmla="*/ 5279324 w 8149731"/>
              <a:gd name="connsiteY73" fmla="*/ 6724314 h 9096817"/>
              <a:gd name="connsiteX74" fmla="*/ 6376077 w 8149731"/>
              <a:gd name="connsiteY74" fmla="*/ 6192912 h 9096817"/>
              <a:gd name="connsiteX75" fmla="*/ 6393736 w 8149731"/>
              <a:gd name="connsiteY75" fmla="*/ 6183703 h 9096817"/>
              <a:gd name="connsiteX76" fmla="*/ 6400096 w 8149731"/>
              <a:gd name="connsiteY76" fmla="*/ 6180384 h 9096817"/>
              <a:gd name="connsiteX77" fmla="*/ 1773727 w 8149731"/>
              <a:gd name="connsiteY77" fmla="*/ 6273942 h 9096817"/>
              <a:gd name="connsiteX78" fmla="*/ 773904 w 8149731"/>
              <a:gd name="connsiteY78" fmla="*/ 4105877 h 9096817"/>
              <a:gd name="connsiteX79" fmla="*/ 773904 w 8149731"/>
              <a:gd name="connsiteY79" fmla="*/ 3707566 h 9096817"/>
              <a:gd name="connsiteX80" fmla="*/ 962136 w 8149731"/>
              <a:gd name="connsiteY80" fmla="*/ 3502790 h 9096817"/>
              <a:gd name="connsiteX81" fmla="*/ 1158894 w 8149731"/>
              <a:gd name="connsiteY81" fmla="*/ 3321038 h 9096817"/>
              <a:gd name="connsiteX82" fmla="*/ 1263362 w 8149731"/>
              <a:gd name="connsiteY82" fmla="*/ 4414260 h 9096817"/>
              <a:gd name="connsiteX83" fmla="*/ 6392924 w 8149731"/>
              <a:gd name="connsiteY83" fmla="*/ 6180317 h 9096817"/>
              <a:gd name="connsiteX84" fmla="*/ 6418906 w 8149731"/>
              <a:gd name="connsiteY84" fmla="*/ 6160611 h 9096817"/>
              <a:gd name="connsiteX85" fmla="*/ 6407472 w 8149731"/>
              <a:gd name="connsiteY85" fmla="*/ 6172597 h 9096817"/>
              <a:gd name="connsiteX86" fmla="*/ 6435686 w 8149731"/>
              <a:gd name="connsiteY86" fmla="*/ 6147610 h 9096817"/>
              <a:gd name="connsiteX87" fmla="*/ 6441234 w 8149731"/>
              <a:gd name="connsiteY87" fmla="*/ 6143276 h 9096817"/>
              <a:gd name="connsiteX88" fmla="*/ 6429529 w 8149731"/>
              <a:gd name="connsiteY88" fmla="*/ 6160814 h 9096817"/>
              <a:gd name="connsiteX89" fmla="*/ 6416944 w 8149731"/>
              <a:gd name="connsiteY89" fmla="*/ 6167586 h 9096817"/>
              <a:gd name="connsiteX90" fmla="*/ 6435686 w 8149731"/>
              <a:gd name="connsiteY90" fmla="*/ 6147610 h 9096817"/>
              <a:gd name="connsiteX91" fmla="*/ 6548274 w 8149731"/>
              <a:gd name="connsiteY91" fmla="*/ 5913241 h 9096817"/>
              <a:gd name="connsiteX92" fmla="*/ 6547800 w 8149731"/>
              <a:gd name="connsiteY92" fmla="*/ 5927597 h 9096817"/>
              <a:gd name="connsiteX93" fmla="*/ 6542861 w 8149731"/>
              <a:gd name="connsiteY93" fmla="*/ 5941141 h 9096817"/>
              <a:gd name="connsiteX94" fmla="*/ 6548274 w 8149731"/>
              <a:gd name="connsiteY94" fmla="*/ 5913241 h 9096817"/>
              <a:gd name="connsiteX95" fmla="*/ 6531156 w 8149731"/>
              <a:gd name="connsiteY95" fmla="*/ 5980958 h 9096817"/>
              <a:gd name="connsiteX96" fmla="*/ 6524389 w 8149731"/>
              <a:gd name="connsiteY96" fmla="*/ 6010686 h 9096817"/>
              <a:gd name="connsiteX97" fmla="*/ 6516067 w 8149731"/>
              <a:gd name="connsiteY97" fmla="*/ 6024229 h 9096817"/>
              <a:gd name="connsiteX98" fmla="*/ 6508286 w 8149731"/>
              <a:gd name="connsiteY98" fmla="*/ 6037028 h 9096817"/>
              <a:gd name="connsiteX99" fmla="*/ 6531156 w 8149731"/>
              <a:gd name="connsiteY99" fmla="*/ 5981094 h 9096817"/>
              <a:gd name="connsiteX100" fmla="*/ 6538666 w 8149731"/>
              <a:gd name="connsiteY100" fmla="*/ 5961388 h 9096817"/>
              <a:gd name="connsiteX101" fmla="*/ 6541913 w 8149731"/>
              <a:gd name="connsiteY101" fmla="*/ 5952856 h 9096817"/>
              <a:gd name="connsiteX102" fmla="*/ 6547462 w 8149731"/>
              <a:gd name="connsiteY102" fmla="*/ 5938161 h 9096817"/>
              <a:gd name="connsiteX103" fmla="*/ 6545973 w 8149731"/>
              <a:gd name="connsiteY103" fmla="*/ 5974593 h 9096817"/>
              <a:gd name="connsiteX104" fmla="*/ 6530140 w 8149731"/>
              <a:gd name="connsiteY104" fmla="*/ 6001679 h 9096817"/>
              <a:gd name="connsiteX105" fmla="*/ 6538666 w 8149731"/>
              <a:gd name="connsiteY105" fmla="*/ 5961523 h 9096817"/>
              <a:gd name="connsiteX106" fmla="*/ 6549289 w 8149731"/>
              <a:gd name="connsiteY106" fmla="*/ 5975609 h 9096817"/>
              <a:gd name="connsiteX107" fmla="*/ 5356965 w 8149731"/>
              <a:gd name="connsiteY107" fmla="*/ 1493203 h 9096817"/>
              <a:gd name="connsiteX108" fmla="*/ 2164197 w 8149731"/>
              <a:gd name="connsiteY108" fmla="*/ 1440945 h 9096817"/>
              <a:gd name="connsiteX109" fmla="*/ 2345460 w 8149731"/>
              <a:gd name="connsiteY109" fmla="*/ 1198316 h 9096817"/>
              <a:gd name="connsiteX110" fmla="*/ 2509470 w 8149731"/>
              <a:gd name="connsiteY110" fmla="*/ 1013313 h 9096817"/>
              <a:gd name="connsiteX111" fmla="*/ 2629770 w 8149731"/>
              <a:gd name="connsiteY111" fmla="*/ 952774 h 9096817"/>
              <a:gd name="connsiteX112" fmla="*/ 6995105 w 8149731"/>
              <a:gd name="connsiteY112" fmla="*/ 2493219 h 9096817"/>
              <a:gd name="connsiteX113" fmla="*/ 6547326 w 8149731"/>
              <a:gd name="connsiteY113" fmla="*/ 6016442 h 9096817"/>
              <a:gd name="connsiteX114" fmla="*/ 6549559 w 8149731"/>
              <a:gd name="connsiteY114" fmla="*/ 5975744 h 9096817"/>
              <a:gd name="connsiteX115" fmla="*/ 2934108 w 8149731"/>
              <a:gd name="connsiteY115" fmla="*/ 1148950 h 9096817"/>
              <a:gd name="connsiteX116" fmla="*/ 6894493 w 8149731"/>
              <a:gd name="connsiteY116" fmla="*/ 3542831 h 9096817"/>
              <a:gd name="connsiteX117" fmla="*/ 6549559 w 8149731"/>
              <a:gd name="connsiteY117" fmla="*/ 5968363 h 9096817"/>
              <a:gd name="connsiteX118" fmla="*/ 6551115 w 8149731"/>
              <a:gd name="connsiteY118" fmla="*/ 5928275 h 9096817"/>
              <a:gd name="connsiteX119" fmla="*/ 4619767 w 8149731"/>
              <a:gd name="connsiteY119" fmla="*/ 1715470 h 9096817"/>
              <a:gd name="connsiteX120" fmla="*/ 2135779 w 8149731"/>
              <a:gd name="connsiteY120" fmla="*/ 1800048 h 9096817"/>
              <a:gd name="connsiteX121" fmla="*/ 1895855 w 8149731"/>
              <a:gd name="connsiteY121" fmla="*/ 1919839 h 9096817"/>
              <a:gd name="connsiteX122" fmla="*/ 2160137 w 8149731"/>
              <a:gd name="connsiteY122" fmla="*/ 1447108 h 9096817"/>
              <a:gd name="connsiteX123" fmla="*/ 2934108 w 8149731"/>
              <a:gd name="connsiteY123" fmla="*/ 1148950 h 9096817"/>
              <a:gd name="connsiteX124" fmla="*/ 1890847 w 8149731"/>
              <a:gd name="connsiteY124" fmla="*/ 1922616 h 9096817"/>
              <a:gd name="connsiteX125" fmla="*/ 1434408 w 8149731"/>
              <a:gd name="connsiteY125" fmla="*/ 2227748 h 9096817"/>
              <a:gd name="connsiteX126" fmla="*/ 1564655 w 8149731"/>
              <a:gd name="connsiteY126" fmla="*/ 1966225 h 9096817"/>
              <a:gd name="connsiteX127" fmla="*/ 1693549 w 8149731"/>
              <a:gd name="connsiteY127" fmla="*/ 1753256 h 9096817"/>
              <a:gd name="connsiteX128" fmla="*/ 1795040 w 8149731"/>
              <a:gd name="connsiteY128" fmla="*/ 1676397 h 9096817"/>
              <a:gd name="connsiteX129" fmla="*/ 2153168 w 8149731"/>
              <a:gd name="connsiteY129" fmla="*/ 1450629 h 9096817"/>
              <a:gd name="connsiteX130" fmla="*/ 1890847 w 8149731"/>
              <a:gd name="connsiteY130" fmla="*/ 1922616 h 9096817"/>
              <a:gd name="connsiteX131" fmla="*/ 1888547 w 8149731"/>
              <a:gd name="connsiteY131" fmla="*/ 1927762 h 9096817"/>
              <a:gd name="connsiteX132" fmla="*/ 1746460 w 8149731"/>
              <a:gd name="connsiteY132" fmla="*/ 2302305 h 9096817"/>
              <a:gd name="connsiteX133" fmla="*/ 1703630 w 8149731"/>
              <a:gd name="connsiteY133" fmla="*/ 2451824 h 9096817"/>
              <a:gd name="connsiteX134" fmla="*/ 1470066 w 8149731"/>
              <a:gd name="connsiteY134" fmla="*/ 2599243 h 9096817"/>
              <a:gd name="connsiteX135" fmla="*/ 1250777 w 8149731"/>
              <a:gd name="connsiteY135" fmla="*/ 2764405 h 9096817"/>
              <a:gd name="connsiteX136" fmla="*/ 1431702 w 8149731"/>
              <a:gd name="connsiteY136" fmla="*/ 2234520 h 9096817"/>
              <a:gd name="connsiteX137" fmla="*/ 1888547 w 8149731"/>
              <a:gd name="connsiteY137" fmla="*/ 1927762 h 9096817"/>
              <a:gd name="connsiteX138" fmla="*/ 1246379 w 8149731"/>
              <a:gd name="connsiteY138" fmla="*/ 2767994 h 9096817"/>
              <a:gd name="connsiteX139" fmla="*/ 857127 w 8149731"/>
              <a:gd name="connsiteY139" fmla="*/ 3146870 h 9096817"/>
              <a:gd name="connsiteX140" fmla="*/ 939267 w 8149731"/>
              <a:gd name="connsiteY140" fmla="*/ 2861037 h 9096817"/>
              <a:gd name="connsiteX141" fmla="*/ 1034804 w 8149731"/>
              <a:gd name="connsiteY141" fmla="*/ 2611568 h 9096817"/>
              <a:gd name="connsiteX142" fmla="*/ 1112479 w 8149731"/>
              <a:gd name="connsiteY142" fmla="*/ 2527328 h 9096817"/>
              <a:gd name="connsiteX143" fmla="*/ 1425951 w 8149731"/>
              <a:gd name="connsiteY143" fmla="*/ 2239057 h 9096817"/>
              <a:gd name="connsiteX144" fmla="*/ 1246379 w 8149731"/>
              <a:gd name="connsiteY144" fmla="*/ 2767994 h 9096817"/>
              <a:gd name="connsiteX145" fmla="*/ 1245026 w 8149731"/>
              <a:gd name="connsiteY145" fmla="*/ 2773479 h 9096817"/>
              <a:gd name="connsiteX146" fmla="*/ 1174456 w 8149731"/>
              <a:gd name="connsiteY146" fmla="*/ 3160346 h 9096817"/>
              <a:gd name="connsiteX147" fmla="*/ 1159165 w 8149731"/>
              <a:gd name="connsiteY147" fmla="*/ 3316095 h 9096817"/>
              <a:gd name="connsiteX148" fmla="*/ 959633 w 8149731"/>
              <a:gd name="connsiteY148" fmla="*/ 3500149 h 9096817"/>
              <a:gd name="connsiteX149" fmla="*/ 774175 w 8149731"/>
              <a:gd name="connsiteY149" fmla="*/ 3701675 h 9096817"/>
              <a:gd name="connsiteX150" fmla="*/ 855368 w 8149731"/>
              <a:gd name="connsiteY150" fmla="*/ 3153777 h 9096817"/>
              <a:gd name="connsiteX151" fmla="*/ 1244958 w 8149731"/>
              <a:gd name="connsiteY151" fmla="*/ 2773479 h 9096817"/>
              <a:gd name="connsiteX152" fmla="*/ 770521 w 8149731"/>
              <a:gd name="connsiteY152" fmla="*/ 3706212 h 9096817"/>
              <a:gd name="connsiteX153" fmla="*/ 447035 w 8149731"/>
              <a:gd name="connsiteY153" fmla="*/ 4164113 h 9096817"/>
              <a:gd name="connsiteX154" fmla="*/ 476874 w 8149731"/>
              <a:gd name="connsiteY154" fmla="*/ 3858033 h 9096817"/>
              <a:gd name="connsiteX155" fmla="*/ 521191 w 8149731"/>
              <a:gd name="connsiteY155" fmla="*/ 3616283 h 9096817"/>
              <a:gd name="connsiteX156" fmla="*/ 594468 w 8149731"/>
              <a:gd name="connsiteY156" fmla="*/ 3499404 h 9096817"/>
              <a:gd name="connsiteX157" fmla="*/ 850632 w 8149731"/>
              <a:gd name="connsiteY157" fmla="*/ 3159533 h 9096817"/>
              <a:gd name="connsiteX158" fmla="*/ 770521 w 8149731"/>
              <a:gd name="connsiteY158" fmla="*/ 3706212 h 9096817"/>
              <a:gd name="connsiteX159" fmla="*/ 770521 w 8149731"/>
              <a:gd name="connsiteY159" fmla="*/ 3711832 h 9096817"/>
              <a:gd name="connsiteX160" fmla="*/ 770521 w 8149731"/>
              <a:gd name="connsiteY160" fmla="*/ 4106080 h 9096817"/>
              <a:gd name="connsiteX161" fmla="*/ 4234027 w 8149731"/>
              <a:gd name="connsiteY161" fmla="*/ 7184423 h 9096817"/>
              <a:gd name="connsiteX162" fmla="*/ 6409569 w 8149731"/>
              <a:gd name="connsiteY162" fmla="*/ 6175374 h 9096817"/>
              <a:gd name="connsiteX163" fmla="*/ 6425469 w 8149731"/>
              <a:gd name="connsiteY163" fmla="*/ 6166841 h 9096817"/>
              <a:gd name="connsiteX164" fmla="*/ 1878215 w 8149731"/>
              <a:gd name="connsiteY164" fmla="*/ 7037952 h 9096817"/>
              <a:gd name="connsiteX165" fmla="*/ 446562 w 8149731"/>
              <a:gd name="connsiteY165" fmla="*/ 4171765 h 9096817"/>
              <a:gd name="connsiteX166" fmla="*/ 770183 w 8149731"/>
              <a:gd name="connsiteY166" fmla="*/ 3711832 h 9096817"/>
              <a:gd name="connsiteX167" fmla="*/ 535197 w 8149731"/>
              <a:gd name="connsiteY167" fmla="*/ 5113031 h 9096817"/>
              <a:gd name="connsiteX168" fmla="*/ 4495664 w 8149731"/>
              <a:gd name="connsiteY168" fmla="*/ 7515627 h 9096817"/>
              <a:gd name="connsiteX169" fmla="*/ 6431897 w 8149731"/>
              <a:gd name="connsiteY169" fmla="*/ 6163387 h 9096817"/>
              <a:gd name="connsiteX170" fmla="*/ 6456255 w 8149731"/>
              <a:gd name="connsiteY170" fmla="*/ 6149844 h 9096817"/>
              <a:gd name="connsiteX171" fmla="*/ 2318463 w 8149731"/>
              <a:gd name="connsiteY171" fmla="*/ 7851367 h 9096817"/>
              <a:gd name="connsiteX172" fmla="*/ 208667 w 8149731"/>
              <a:gd name="connsiteY172" fmla="*/ 4910963 h 9096817"/>
              <a:gd name="connsiteX173" fmla="*/ 208261 w 8149731"/>
              <a:gd name="connsiteY173" fmla="*/ 4675647 h 9096817"/>
              <a:gd name="connsiteX174" fmla="*/ 260630 w 8149731"/>
              <a:gd name="connsiteY174" fmla="*/ 4544005 h 9096817"/>
              <a:gd name="connsiteX175" fmla="*/ 442976 w 8149731"/>
              <a:gd name="connsiteY175" fmla="*/ 4177792 h 9096817"/>
              <a:gd name="connsiteX176" fmla="*/ 535197 w 8149731"/>
              <a:gd name="connsiteY176" fmla="*/ 5113031 h 9096817"/>
              <a:gd name="connsiteX177" fmla="*/ 6435957 w 8149731"/>
              <a:gd name="connsiteY177" fmla="*/ 6157293 h 9096817"/>
              <a:gd name="connsiteX178" fmla="*/ 6449489 w 8149731"/>
              <a:gd name="connsiteY178" fmla="*/ 6136978 h 9096817"/>
              <a:gd name="connsiteX179" fmla="*/ 6469043 w 8149731"/>
              <a:gd name="connsiteY179" fmla="*/ 6121538 h 9096817"/>
              <a:gd name="connsiteX180" fmla="*/ 6458420 w 8149731"/>
              <a:gd name="connsiteY180" fmla="*/ 6145172 h 9096817"/>
              <a:gd name="connsiteX181" fmla="*/ 6435957 w 8149731"/>
              <a:gd name="connsiteY181" fmla="*/ 6157293 h 9096817"/>
              <a:gd name="connsiteX182" fmla="*/ 6474862 w 8149731"/>
              <a:gd name="connsiteY182" fmla="*/ 6116663 h 9096817"/>
              <a:gd name="connsiteX183" fmla="*/ 6505647 w 8149731"/>
              <a:gd name="connsiteY183" fmla="*/ 6091676 h 9096817"/>
              <a:gd name="connsiteX184" fmla="*/ 6497798 w 8149731"/>
              <a:gd name="connsiteY184" fmla="*/ 6122825 h 9096817"/>
              <a:gd name="connsiteX185" fmla="*/ 6463495 w 8149731"/>
              <a:gd name="connsiteY185" fmla="*/ 6142124 h 9096817"/>
              <a:gd name="connsiteX186" fmla="*/ 6475132 w 8149731"/>
              <a:gd name="connsiteY186" fmla="*/ 6116730 h 9096817"/>
              <a:gd name="connsiteX187" fmla="*/ 6477839 w 8149731"/>
              <a:gd name="connsiteY187" fmla="*/ 6109891 h 9096817"/>
              <a:gd name="connsiteX188" fmla="*/ 6484943 w 8149731"/>
              <a:gd name="connsiteY188" fmla="*/ 6093436 h 9096817"/>
              <a:gd name="connsiteX189" fmla="*/ 6492521 w 8149731"/>
              <a:gd name="connsiteY189" fmla="*/ 6084904 h 9096817"/>
              <a:gd name="connsiteX190" fmla="*/ 6512819 w 8149731"/>
              <a:gd name="connsiteY190" fmla="*/ 6061677 h 9096817"/>
              <a:gd name="connsiteX191" fmla="*/ 6506865 w 8149731"/>
              <a:gd name="connsiteY191" fmla="*/ 6086123 h 9096817"/>
              <a:gd name="connsiteX192" fmla="*/ 6477839 w 8149731"/>
              <a:gd name="connsiteY192" fmla="*/ 6110027 h 9096817"/>
              <a:gd name="connsiteX193" fmla="*/ 6490018 w 8149731"/>
              <a:gd name="connsiteY193" fmla="*/ 6082805 h 9096817"/>
              <a:gd name="connsiteX194" fmla="*/ 6489206 w 8149731"/>
              <a:gd name="connsiteY194" fmla="*/ 6083685 h 9096817"/>
              <a:gd name="connsiteX195" fmla="*/ 6500370 w 8149731"/>
              <a:gd name="connsiteY195" fmla="*/ 6057275 h 9096817"/>
              <a:gd name="connsiteX196" fmla="*/ 6519247 w 8149731"/>
              <a:gd name="connsiteY196" fmla="*/ 6026464 h 9096817"/>
              <a:gd name="connsiteX197" fmla="*/ 6522292 w 8149731"/>
              <a:gd name="connsiteY197" fmla="*/ 6021318 h 9096817"/>
              <a:gd name="connsiteX198" fmla="*/ 6514646 w 8149731"/>
              <a:gd name="connsiteY198" fmla="*/ 6054702 h 9096817"/>
              <a:gd name="connsiteX199" fmla="*/ 6490018 w 8149731"/>
              <a:gd name="connsiteY199" fmla="*/ 6082805 h 9096817"/>
              <a:gd name="connsiteX200" fmla="*/ 6527840 w 8149731"/>
              <a:gd name="connsiteY200" fmla="*/ 6012108 h 9096817"/>
              <a:gd name="connsiteX201" fmla="*/ 6545635 w 8149731"/>
              <a:gd name="connsiteY201" fmla="*/ 5982042 h 9096817"/>
              <a:gd name="connsiteX202" fmla="*/ 6543469 w 8149731"/>
              <a:gd name="connsiteY202" fmla="*/ 6020911 h 9096817"/>
              <a:gd name="connsiteX203" fmla="*/ 6519382 w 8149731"/>
              <a:gd name="connsiteY203" fmla="*/ 6049217 h 9096817"/>
              <a:gd name="connsiteX204" fmla="*/ 6527840 w 8149731"/>
              <a:gd name="connsiteY204" fmla="*/ 6012108 h 9096817"/>
              <a:gd name="connsiteX205" fmla="*/ 2409602 w 8149731"/>
              <a:gd name="connsiteY205" fmla="*/ 977694 h 9096817"/>
              <a:gd name="connsiteX206" fmla="*/ 2912863 w 8149731"/>
              <a:gd name="connsiteY206" fmla="*/ 652653 h 9096817"/>
              <a:gd name="connsiteX207" fmla="*/ 2507372 w 8149731"/>
              <a:gd name="connsiteY207" fmla="*/ 1011078 h 9096817"/>
              <a:gd name="connsiteX208" fmla="*/ 2050595 w 8149731"/>
              <a:gd name="connsiteY208" fmla="*/ 1304157 h 9096817"/>
              <a:gd name="connsiteX209" fmla="*/ 2409602 w 8149731"/>
              <a:gd name="connsiteY209" fmla="*/ 977694 h 9096817"/>
              <a:gd name="connsiteX210" fmla="*/ 2035709 w 8149731"/>
              <a:gd name="connsiteY210" fmla="*/ 1319529 h 9096817"/>
              <a:gd name="connsiteX211" fmla="*/ 2499997 w 8149731"/>
              <a:gd name="connsiteY211" fmla="*/ 1018527 h 9096817"/>
              <a:gd name="connsiteX212" fmla="*/ 2342889 w 8149731"/>
              <a:gd name="connsiteY212" fmla="*/ 1196284 h 9096817"/>
              <a:gd name="connsiteX213" fmla="*/ 2157769 w 8149731"/>
              <a:gd name="connsiteY213" fmla="*/ 1444534 h 9096817"/>
              <a:gd name="connsiteX214" fmla="*/ 1793619 w 8149731"/>
              <a:gd name="connsiteY214" fmla="*/ 1673621 h 9096817"/>
              <a:gd name="connsiteX215" fmla="*/ 1699638 w 8149731"/>
              <a:gd name="connsiteY215" fmla="*/ 1744317 h 9096817"/>
              <a:gd name="connsiteX216" fmla="*/ 2035709 w 8149731"/>
              <a:gd name="connsiteY216" fmla="*/ 1319529 h 9096817"/>
              <a:gd name="connsiteX217" fmla="*/ 1592058 w 8149731"/>
              <a:gd name="connsiteY217" fmla="*/ 1736191 h 9096817"/>
              <a:gd name="connsiteX218" fmla="*/ 2018659 w 8149731"/>
              <a:gd name="connsiteY218" fmla="*/ 1332937 h 9096817"/>
              <a:gd name="connsiteX219" fmla="*/ 1691519 w 8149731"/>
              <a:gd name="connsiteY219" fmla="*/ 1750886 h 9096817"/>
              <a:gd name="connsiteX220" fmla="*/ 1309777 w 8149731"/>
              <a:gd name="connsiteY220" fmla="*/ 2103691 h 9096817"/>
              <a:gd name="connsiteX221" fmla="*/ 1592058 w 8149731"/>
              <a:gd name="connsiteY221" fmla="*/ 1736191 h 9096817"/>
              <a:gd name="connsiteX222" fmla="*/ 1297801 w 8149731"/>
              <a:gd name="connsiteY222" fmla="*/ 2121500 h 9096817"/>
              <a:gd name="connsiteX223" fmla="*/ 1685362 w 8149731"/>
              <a:gd name="connsiteY223" fmla="*/ 1759824 h 9096817"/>
              <a:gd name="connsiteX224" fmla="*/ 1561881 w 8149731"/>
              <a:gd name="connsiteY224" fmla="*/ 1964600 h 9096817"/>
              <a:gd name="connsiteX225" fmla="*/ 1428928 w 8149731"/>
              <a:gd name="connsiteY225" fmla="*/ 2232353 h 9096817"/>
              <a:gd name="connsiteX226" fmla="*/ 1110043 w 8149731"/>
              <a:gd name="connsiteY226" fmla="*/ 2525026 h 9096817"/>
              <a:gd name="connsiteX227" fmla="*/ 1039067 w 8149731"/>
              <a:gd name="connsiteY227" fmla="*/ 2601681 h 9096817"/>
              <a:gd name="connsiteX228" fmla="*/ 1297801 w 8149731"/>
              <a:gd name="connsiteY228" fmla="*/ 2121500 h 9096817"/>
              <a:gd name="connsiteX229" fmla="*/ 916195 w 8149731"/>
              <a:gd name="connsiteY229" fmla="*/ 2633982 h 9096817"/>
              <a:gd name="connsiteX230" fmla="*/ 1283525 w 8149731"/>
              <a:gd name="connsiteY230" fmla="*/ 2137346 h 9096817"/>
              <a:gd name="connsiteX231" fmla="*/ 1031895 w 8149731"/>
              <a:gd name="connsiteY231" fmla="*/ 2609739 h 9096817"/>
              <a:gd name="connsiteX232" fmla="*/ 704687 w 8149731"/>
              <a:gd name="connsiteY232" fmla="*/ 3046107 h 9096817"/>
              <a:gd name="connsiteX233" fmla="*/ 916195 w 8149731"/>
              <a:gd name="connsiteY233" fmla="*/ 2633982 h 9096817"/>
              <a:gd name="connsiteX234" fmla="*/ 696162 w 8149731"/>
              <a:gd name="connsiteY234" fmla="*/ 3066219 h 9096817"/>
              <a:gd name="connsiteX235" fmla="*/ 1027700 w 8149731"/>
              <a:gd name="connsiteY235" fmla="*/ 2619287 h 9096817"/>
              <a:gd name="connsiteX236" fmla="*/ 936087 w 8149731"/>
              <a:gd name="connsiteY236" fmla="*/ 2859682 h 9096817"/>
              <a:gd name="connsiteX237" fmla="*/ 852323 w 8149731"/>
              <a:gd name="connsiteY237" fmla="*/ 3152152 h 9096817"/>
              <a:gd name="connsiteX238" fmla="*/ 591626 w 8149731"/>
              <a:gd name="connsiteY238" fmla="*/ 3497508 h 9096817"/>
              <a:gd name="connsiteX239" fmla="*/ 523492 w 8149731"/>
              <a:gd name="connsiteY239" fmla="*/ 3605855 h 9096817"/>
              <a:gd name="connsiteX240" fmla="*/ 696162 w 8149731"/>
              <a:gd name="connsiteY240" fmla="*/ 3066219 h 9096817"/>
              <a:gd name="connsiteX241" fmla="*/ 420174 w 8149731"/>
              <a:gd name="connsiteY241" fmla="*/ 3627863 h 9096817"/>
              <a:gd name="connsiteX242" fmla="*/ 684727 w 8149731"/>
              <a:gd name="connsiteY242" fmla="*/ 3084909 h 9096817"/>
              <a:gd name="connsiteX243" fmla="*/ 518011 w 8149731"/>
              <a:gd name="connsiteY243" fmla="*/ 3614997 h 9096817"/>
              <a:gd name="connsiteX244" fmla="*/ 279778 w 8149731"/>
              <a:gd name="connsiteY244" fmla="*/ 4101137 h 9096817"/>
              <a:gd name="connsiteX245" fmla="*/ 420174 w 8149731"/>
              <a:gd name="connsiteY245" fmla="*/ 3627863 h 9096817"/>
              <a:gd name="connsiteX246" fmla="*/ 275312 w 8149731"/>
              <a:gd name="connsiteY246" fmla="*/ 4122197 h 9096817"/>
              <a:gd name="connsiteX247" fmla="*/ 515643 w 8149731"/>
              <a:gd name="connsiteY247" fmla="*/ 3625628 h 9096817"/>
              <a:gd name="connsiteX248" fmla="*/ 473491 w 8149731"/>
              <a:gd name="connsiteY248" fmla="*/ 3857694 h 9096817"/>
              <a:gd name="connsiteX249" fmla="*/ 443314 w 8149731"/>
              <a:gd name="connsiteY249" fmla="*/ 4170546 h 9096817"/>
              <a:gd name="connsiteX250" fmla="*/ 257450 w 8149731"/>
              <a:gd name="connsiteY250" fmla="*/ 4542990 h 9096817"/>
              <a:gd name="connsiteX251" fmla="*/ 208667 w 8149731"/>
              <a:gd name="connsiteY251" fmla="*/ 4665286 h 9096817"/>
              <a:gd name="connsiteX252" fmla="*/ 275312 w 8149731"/>
              <a:gd name="connsiteY252" fmla="*/ 4122061 h 9096817"/>
              <a:gd name="connsiteX253" fmla="*/ 111776 w 8149731"/>
              <a:gd name="connsiteY253" fmla="*/ 4706729 h 9096817"/>
              <a:gd name="connsiteX254" fmla="*/ 267734 w 8149731"/>
              <a:gd name="connsiteY254" fmla="*/ 4141902 h 9096817"/>
              <a:gd name="connsiteX255" fmla="*/ 204878 w 8149731"/>
              <a:gd name="connsiteY255" fmla="*/ 4674834 h 9096817"/>
              <a:gd name="connsiteX256" fmla="*/ 59069 w 8149731"/>
              <a:gd name="connsiteY256" fmla="*/ 5194968 h 9096817"/>
              <a:gd name="connsiteX257" fmla="*/ 111776 w 8149731"/>
              <a:gd name="connsiteY257" fmla="*/ 4706729 h 9096817"/>
              <a:gd name="connsiteX258" fmla="*/ 58460 w 8149731"/>
              <a:gd name="connsiteY258" fmla="*/ 5216570 h 9096817"/>
              <a:gd name="connsiteX259" fmla="*/ 204539 w 8149731"/>
              <a:gd name="connsiteY259" fmla="*/ 4685669 h 9096817"/>
              <a:gd name="connsiteX260" fmla="*/ 205284 w 8149731"/>
              <a:gd name="connsiteY260" fmla="*/ 4911099 h 9096817"/>
              <a:gd name="connsiteX261" fmla="*/ 3603963 w 8149731"/>
              <a:gd name="connsiteY261" fmla="*/ 8065217 h 9096817"/>
              <a:gd name="connsiteX262" fmla="*/ 5848865 w 8149731"/>
              <a:gd name="connsiteY262" fmla="*/ 7054610 h 9096817"/>
              <a:gd name="connsiteX263" fmla="*/ 6461194 w 8149731"/>
              <a:gd name="connsiteY263" fmla="*/ 6147203 h 9096817"/>
              <a:gd name="connsiteX264" fmla="*/ 6496581 w 8149731"/>
              <a:gd name="connsiteY264" fmla="*/ 6127295 h 9096817"/>
              <a:gd name="connsiteX265" fmla="*/ 2740260 w 8149731"/>
              <a:gd name="connsiteY265" fmla="*/ 8519191 h 9096817"/>
              <a:gd name="connsiteX266" fmla="*/ 58460 w 8149731"/>
              <a:gd name="connsiteY266" fmla="*/ 5216570 h 9096817"/>
              <a:gd name="connsiteX267" fmla="*/ 6292448 w 8149731"/>
              <a:gd name="connsiteY267" fmla="*/ 7094224 h 9096817"/>
              <a:gd name="connsiteX268" fmla="*/ 2000329 w 8149731"/>
              <a:gd name="connsiteY268" fmla="*/ 8835226 h 9096817"/>
              <a:gd name="connsiteX269" fmla="*/ 260765 w 8149731"/>
              <a:gd name="connsiteY269" fmla="*/ 7094224 h 9096817"/>
              <a:gd name="connsiteX270" fmla="*/ 3655 w 8149731"/>
              <a:gd name="connsiteY270" fmla="*/ 5819115 h 9096817"/>
              <a:gd name="connsiteX271" fmla="*/ 54806 w 8149731"/>
              <a:gd name="connsiteY271" fmla="*/ 5237765 h 9096817"/>
              <a:gd name="connsiteX272" fmla="*/ 2740057 w 8149731"/>
              <a:gd name="connsiteY272" fmla="*/ 8522509 h 9096817"/>
              <a:gd name="connsiteX273" fmla="*/ 6500979 w 8149731"/>
              <a:gd name="connsiteY273" fmla="*/ 6125331 h 9096817"/>
              <a:gd name="connsiteX274" fmla="*/ 6537718 w 8149731"/>
              <a:gd name="connsiteY274" fmla="*/ 6104000 h 9096817"/>
              <a:gd name="connsiteX275" fmla="*/ 6292448 w 8149731"/>
              <a:gd name="connsiteY275" fmla="*/ 7094224 h 9096817"/>
              <a:gd name="connsiteX276" fmla="*/ 6537786 w 8149731"/>
              <a:gd name="connsiteY276" fmla="*/ 6099666 h 9096817"/>
              <a:gd name="connsiteX277" fmla="*/ 6501858 w 8149731"/>
              <a:gd name="connsiteY277" fmla="*/ 6120523 h 9096817"/>
              <a:gd name="connsiteX278" fmla="*/ 6510045 w 8149731"/>
              <a:gd name="connsiteY278" fmla="*/ 6088154 h 9096817"/>
              <a:gd name="connsiteX279" fmla="*/ 6540763 w 8149731"/>
              <a:gd name="connsiteY279" fmla="*/ 6062557 h 9096817"/>
              <a:gd name="connsiteX280" fmla="*/ 6537786 w 8149731"/>
              <a:gd name="connsiteY280" fmla="*/ 6099666 h 9096817"/>
              <a:gd name="connsiteX281" fmla="*/ 6511398 w 8149731"/>
              <a:gd name="connsiteY281" fmla="*/ 6082669 h 9096817"/>
              <a:gd name="connsiteX282" fmla="*/ 6517691 w 8149731"/>
              <a:gd name="connsiteY282" fmla="*/ 6056327 h 9096817"/>
              <a:gd name="connsiteX283" fmla="*/ 6543131 w 8149731"/>
              <a:gd name="connsiteY283" fmla="*/ 6026599 h 9096817"/>
              <a:gd name="connsiteX284" fmla="*/ 6541101 w 8149731"/>
              <a:gd name="connsiteY284" fmla="*/ 6057885 h 9096817"/>
              <a:gd name="connsiteX285" fmla="*/ 7996890 w 8149731"/>
              <a:gd name="connsiteY285" fmla="*/ 4256141 h 9096817"/>
              <a:gd name="connsiteX286" fmla="*/ 6541372 w 8149731"/>
              <a:gd name="connsiteY286" fmla="*/ 6097567 h 9096817"/>
              <a:gd name="connsiteX287" fmla="*/ 6544349 w 8149731"/>
              <a:gd name="connsiteY287" fmla="*/ 6059510 h 9096817"/>
              <a:gd name="connsiteX288" fmla="*/ 6923588 w 8149731"/>
              <a:gd name="connsiteY288" fmla="*/ 1436530 h 9096817"/>
              <a:gd name="connsiteX289" fmla="*/ 3570525 w 8149731"/>
              <a:gd name="connsiteY289" fmla="*/ 391604 h 9096817"/>
              <a:gd name="connsiteX290" fmla="*/ 2949332 w 8149731"/>
              <a:gd name="connsiteY290" fmla="*/ 629697 h 9096817"/>
              <a:gd name="connsiteX291" fmla="*/ 3354417 w 8149731"/>
              <a:gd name="connsiteY291" fmla="*/ 378738 h 9096817"/>
              <a:gd name="connsiteX292" fmla="*/ 7771512 w 8149731"/>
              <a:gd name="connsiteY292" fmla="*/ 1756080 h 9096817"/>
              <a:gd name="connsiteX293" fmla="*/ 7996890 w 8149731"/>
              <a:gd name="connsiteY293" fmla="*/ 4256141 h 90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8149731" h="9096817">
                <a:moveTo>
                  <a:pt x="8138639" y="3007983"/>
                </a:moveTo>
                <a:cubicBezTo>
                  <a:pt x="7989785" y="1204011"/>
                  <a:pt x="6407972" y="-137654"/>
                  <a:pt x="4605491" y="11294"/>
                </a:cubicBezTo>
                <a:cubicBezTo>
                  <a:pt x="4167732" y="47469"/>
                  <a:pt x="3741713" y="171416"/>
                  <a:pt x="3352793" y="375758"/>
                </a:cubicBezTo>
                <a:cubicBezTo>
                  <a:pt x="3205475" y="452895"/>
                  <a:pt x="3064186" y="541042"/>
                  <a:pt x="2930116" y="639448"/>
                </a:cubicBezTo>
                <a:cubicBezTo>
                  <a:pt x="2594993" y="812790"/>
                  <a:pt x="2291764" y="1041917"/>
                  <a:pt x="2033409" y="1317023"/>
                </a:cubicBezTo>
                <a:cubicBezTo>
                  <a:pt x="1744964" y="1542108"/>
                  <a:pt x="1495519" y="1813192"/>
                  <a:pt x="1295095" y="2119401"/>
                </a:cubicBezTo>
                <a:cubicBezTo>
                  <a:pt x="1042429" y="2398165"/>
                  <a:pt x="838818" y="2717775"/>
                  <a:pt x="692914" y="3064662"/>
                </a:cubicBezTo>
                <a:cubicBezTo>
                  <a:pt x="493053" y="3390007"/>
                  <a:pt x="350624" y="3747350"/>
                  <a:pt x="271862" y="4121045"/>
                </a:cubicBezTo>
                <a:cubicBezTo>
                  <a:pt x="138458" y="4471250"/>
                  <a:pt x="65163" y="4841506"/>
                  <a:pt x="55077" y="5216163"/>
                </a:cubicBezTo>
                <a:cubicBezTo>
                  <a:pt x="18282" y="5414940"/>
                  <a:pt x="-154" y="5616682"/>
                  <a:pt x="1" y="5818844"/>
                </a:cubicBezTo>
                <a:cubicBezTo>
                  <a:pt x="1159" y="7630407"/>
                  <a:pt x="1469416" y="9097967"/>
                  <a:pt x="3279449" y="9096817"/>
                </a:cubicBezTo>
                <a:cubicBezTo>
                  <a:pt x="4595078" y="9096004"/>
                  <a:pt x="5782692" y="8307847"/>
                  <a:pt x="6295493" y="7095240"/>
                </a:cubicBezTo>
                <a:cubicBezTo>
                  <a:pt x="6429279" y="6779137"/>
                  <a:pt x="6512156" y="6443783"/>
                  <a:pt x="6541034" y="6101697"/>
                </a:cubicBezTo>
                <a:cubicBezTo>
                  <a:pt x="7621305" y="5461481"/>
                  <a:pt x="8241618" y="4260251"/>
                  <a:pt x="8138639" y="3007983"/>
                </a:cubicBezTo>
                <a:close/>
                <a:moveTo>
                  <a:pt x="2931943" y="642360"/>
                </a:moveTo>
                <a:cubicBezTo>
                  <a:pt x="4541856" y="-182495"/>
                  <a:pt x="6515065" y="455005"/>
                  <a:pt x="7339227" y="2066257"/>
                </a:cubicBezTo>
                <a:cubicBezTo>
                  <a:pt x="7836331" y="3038001"/>
                  <a:pt x="7817318" y="4193658"/>
                  <a:pt x="7288549" y="5148514"/>
                </a:cubicBezTo>
                <a:cubicBezTo>
                  <a:pt x="7097611" y="5493274"/>
                  <a:pt x="6845507" y="5800364"/>
                  <a:pt x="6544688" y="6054770"/>
                </a:cubicBezTo>
                <a:cubicBezTo>
                  <a:pt x="6545432" y="6043935"/>
                  <a:pt x="6546176" y="6033100"/>
                  <a:pt x="6546785" y="6022266"/>
                </a:cubicBezTo>
                <a:cubicBezTo>
                  <a:pt x="7712038" y="4635978"/>
                  <a:pt x="7533752" y="2566786"/>
                  <a:pt x="6148588" y="1400600"/>
                </a:cubicBezTo>
                <a:cubicBezTo>
                  <a:pt x="5164991" y="572475"/>
                  <a:pt x="3788508" y="396232"/>
                  <a:pt x="2628282" y="949862"/>
                </a:cubicBezTo>
                <a:cubicBezTo>
                  <a:pt x="2590751" y="967922"/>
                  <a:pt x="2553605" y="986545"/>
                  <a:pt x="2516845" y="1005729"/>
                </a:cubicBezTo>
                <a:cubicBezTo>
                  <a:pt x="2644622" y="872997"/>
                  <a:pt x="2783489" y="751431"/>
                  <a:pt x="2931943" y="642360"/>
                </a:cubicBezTo>
                <a:close/>
                <a:moveTo>
                  <a:pt x="6470599" y="6104609"/>
                </a:moveTo>
                <a:cubicBezTo>
                  <a:pt x="6476824" y="6094946"/>
                  <a:pt x="6483001" y="6085222"/>
                  <a:pt x="6489138" y="6075423"/>
                </a:cubicBezTo>
                <a:lnTo>
                  <a:pt x="6482372" y="6091743"/>
                </a:lnTo>
                <a:close/>
                <a:moveTo>
                  <a:pt x="6477906" y="6101562"/>
                </a:moveTo>
                <a:cubicBezTo>
                  <a:pt x="6476012" y="6105896"/>
                  <a:pt x="6474117" y="6110230"/>
                  <a:pt x="6472155" y="6114564"/>
                </a:cubicBezTo>
                <a:cubicBezTo>
                  <a:pt x="6466675" y="6119033"/>
                  <a:pt x="6461126" y="6123435"/>
                  <a:pt x="6455578" y="6128107"/>
                </a:cubicBezTo>
                <a:lnTo>
                  <a:pt x="6459232" y="6122419"/>
                </a:lnTo>
                <a:close/>
                <a:moveTo>
                  <a:pt x="6456593" y="6120049"/>
                </a:moveTo>
                <a:cubicBezTo>
                  <a:pt x="6448880" y="6128446"/>
                  <a:pt x="6441166" y="6136843"/>
                  <a:pt x="6433453" y="6145104"/>
                </a:cubicBezTo>
                <a:cubicBezTo>
                  <a:pt x="6413920" y="6160361"/>
                  <a:pt x="6394210" y="6175326"/>
                  <a:pt x="6374318" y="6190000"/>
                </a:cubicBezTo>
                <a:cubicBezTo>
                  <a:pt x="4768695" y="7020210"/>
                  <a:pt x="2794646" y="6390469"/>
                  <a:pt x="1965159" y="4783520"/>
                </a:cubicBezTo>
                <a:cubicBezTo>
                  <a:pt x="1681248" y="4233489"/>
                  <a:pt x="1558918" y="3614191"/>
                  <a:pt x="1612356" y="2997419"/>
                </a:cubicBezTo>
                <a:cubicBezTo>
                  <a:pt x="3168241" y="2077180"/>
                  <a:pt x="5174917" y="2593514"/>
                  <a:pt x="6094392" y="4150692"/>
                </a:cubicBezTo>
                <a:cubicBezTo>
                  <a:pt x="6392742" y="4655969"/>
                  <a:pt x="6549951" y="5232199"/>
                  <a:pt x="6549559" y="5819115"/>
                </a:cubicBezTo>
                <a:cubicBezTo>
                  <a:pt x="6549559" y="5843493"/>
                  <a:pt x="6549289" y="5867824"/>
                  <a:pt x="6548747" y="5892114"/>
                </a:cubicBezTo>
                <a:cubicBezTo>
                  <a:pt x="6544552" y="5915002"/>
                  <a:pt x="6540039" y="5937822"/>
                  <a:pt x="6535215" y="5960575"/>
                </a:cubicBezTo>
                <a:cubicBezTo>
                  <a:pt x="6522989" y="5992538"/>
                  <a:pt x="6510316" y="6024250"/>
                  <a:pt x="6497190" y="6055718"/>
                </a:cubicBezTo>
                <a:cubicBezTo>
                  <a:pt x="6483928" y="6077340"/>
                  <a:pt x="6470376" y="6098786"/>
                  <a:pt x="6456526" y="6120049"/>
                </a:cubicBezTo>
                <a:close/>
                <a:moveTo>
                  <a:pt x="2621516" y="2099628"/>
                </a:moveTo>
                <a:cubicBezTo>
                  <a:pt x="4385208" y="1706890"/>
                  <a:pt x="6133074" y="2819445"/>
                  <a:pt x="6525486" y="4584602"/>
                </a:cubicBezTo>
                <a:cubicBezTo>
                  <a:pt x="6619513" y="5007535"/>
                  <a:pt x="6628729" y="5444938"/>
                  <a:pt x="6552604" y="5871460"/>
                </a:cubicBezTo>
                <a:cubicBezTo>
                  <a:pt x="6552874" y="5854036"/>
                  <a:pt x="6553010" y="5836633"/>
                  <a:pt x="6553010" y="5819250"/>
                </a:cubicBezTo>
                <a:cubicBezTo>
                  <a:pt x="6553740" y="4008351"/>
                  <a:pt x="5087526" y="2539740"/>
                  <a:pt x="3278129" y="2539009"/>
                </a:cubicBezTo>
                <a:cubicBezTo>
                  <a:pt x="2692370" y="2538772"/>
                  <a:pt x="2117261" y="2695713"/>
                  <a:pt x="1612694" y="2993491"/>
                </a:cubicBezTo>
                <a:cubicBezTo>
                  <a:pt x="1628838" y="2811441"/>
                  <a:pt x="1660206" y="2631063"/>
                  <a:pt x="1706472" y="2454261"/>
                </a:cubicBezTo>
                <a:cubicBezTo>
                  <a:pt x="1991818" y="2290427"/>
                  <a:pt x="2300337" y="2170859"/>
                  <a:pt x="2621516" y="2099628"/>
                </a:cubicBezTo>
                <a:close/>
                <a:moveTo>
                  <a:pt x="1707690" y="2449453"/>
                </a:moveTo>
                <a:cubicBezTo>
                  <a:pt x="1720545" y="2400562"/>
                  <a:pt x="1734531" y="2351853"/>
                  <a:pt x="1749640" y="2303320"/>
                </a:cubicBezTo>
                <a:cubicBezTo>
                  <a:pt x="1789830" y="2174408"/>
                  <a:pt x="1837869" y="2048088"/>
                  <a:pt x="1893486" y="1925054"/>
                </a:cubicBezTo>
                <a:cubicBezTo>
                  <a:pt x="1972649" y="1881220"/>
                  <a:pt x="2053842" y="1840590"/>
                  <a:pt x="2137065" y="1803163"/>
                </a:cubicBezTo>
                <a:cubicBezTo>
                  <a:pt x="3784191" y="1060234"/>
                  <a:pt x="5721209" y="1794333"/>
                  <a:pt x="6463522" y="3442827"/>
                </a:cubicBezTo>
                <a:cubicBezTo>
                  <a:pt x="6815466" y="4224416"/>
                  <a:pt x="6847063" y="5112990"/>
                  <a:pt x="6551521" y="5917643"/>
                </a:cubicBezTo>
                <a:cubicBezTo>
                  <a:pt x="6551521" y="5909246"/>
                  <a:pt x="6551995" y="5900849"/>
                  <a:pt x="6552130" y="5892452"/>
                </a:cubicBezTo>
                <a:cubicBezTo>
                  <a:pt x="6552130" y="5891301"/>
                  <a:pt x="6552536" y="5890150"/>
                  <a:pt x="6552807" y="5888999"/>
                </a:cubicBezTo>
                <a:cubicBezTo>
                  <a:pt x="6880487" y="4108836"/>
                  <a:pt x="5704159" y="2399898"/>
                  <a:pt x="3925473" y="2071979"/>
                </a:cubicBezTo>
                <a:cubicBezTo>
                  <a:pt x="3164872" y="1931751"/>
                  <a:pt x="2379223" y="2065471"/>
                  <a:pt x="1707690" y="2449453"/>
                </a:cubicBezTo>
                <a:close/>
                <a:moveTo>
                  <a:pt x="1609108" y="2995387"/>
                </a:moveTo>
                <a:cubicBezTo>
                  <a:pt x="1451614" y="3088627"/>
                  <a:pt x="1302233" y="3194956"/>
                  <a:pt x="1162548" y="3313250"/>
                </a:cubicBezTo>
                <a:cubicBezTo>
                  <a:pt x="1166384" y="3262463"/>
                  <a:pt x="1171411" y="3211628"/>
                  <a:pt x="1177636" y="3160752"/>
                </a:cubicBezTo>
                <a:cubicBezTo>
                  <a:pt x="1193678" y="3029185"/>
                  <a:pt x="1217630" y="2898708"/>
                  <a:pt x="1249356" y="2770025"/>
                </a:cubicBezTo>
                <a:cubicBezTo>
                  <a:pt x="1320853" y="2711335"/>
                  <a:pt x="1395030" y="2655381"/>
                  <a:pt x="1471892" y="2602155"/>
                </a:cubicBezTo>
                <a:cubicBezTo>
                  <a:pt x="1547084" y="2550284"/>
                  <a:pt x="1623906" y="2501751"/>
                  <a:pt x="1702345" y="2456564"/>
                </a:cubicBezTo>
                <a:cubicBezTo>
                  <a:pt x="1656302" y="2633251"/>
                  <a:pt x="1625110" y="2813493"/>
                  <a:pt x="1609108" y="2995387"/>
                </a:cubicBezTo>
                <a:close/>
                <a:moveTo>
                  <a:pt x="1609108" y="2999518"/>
                </a:moveTo>
                <a:cubicBezTo>
                  <a:pt x="1453299" y="4802901"/>
                  <a:pt x="2787711" y="6391241"/>
                  <a:pt x="4589597" y="6547180"/>
                </a:cubicBezTo>
                <a:cubicBezTo>
                  <a:pt x="5199558" y="6599972"/>
                  <a:pt x="5812091" y="6480567"/>
                  <a:pt x="6357673" y="6202528"/>
                </a:cubicBezTo>
                <a:cubicBezTo>
                  <a:pt x="4899335" y="7270423"/>
                  <a:pt x="2852137" y="6952967"/>
                  <a:pt x="1785121" y="5493390"/>
                </a:cubicBezTo>
                <a:cubicBezTo>
                  <a:pt x="1325921" y="4865261"/>
                  <a:pt x="1105280" y="4093965"/>
                  <a:pt x="1162751" y="3317787"/>
                </a:cubicBezTo>
                <a:cubicBezTo>
                  <a:pt x="1302213" y="3199330"/>
                  <a:pt x="1451418" y="3092866"/>
                  <a:pt x="1608770" y="2999518"/>
                </a:cubicBezTo>
                <a:close/>
                <a:moveTo>
                  <a:pt x="1263362" y="4414260"/>
                </a:moveTo>
                <a:cubicBezTo>
                  <a:pt x="1734964" y="6162060"/>
                  <a:pt x="3532973" y="7196342"/>
                  <a:pt x="5279324" y="6724314"/>
                </a:cubicBezTo>
                <a:cubicBezTo>
                  <a:pt x="5674902" y="6617402"/>
                  <a:pt x="6046921" y="6437147"/>
                  <a:pt x="6376077" y="6192912"/>
                </a:cubicBezTo>
                <a:lnTo>
                  <a:pt x="6393736" y="6183703"/>
                </a:lnTo>
                <a:lnTo>
                  <a:pt x="6400096" y="6180384"/>
                </a:lnTo>
                <a:cubicBezTo>
                  <a:pt x="5148373" y="7484815"/>
                  <a:pt x="3077075" y="7526732"/>
                  <a:pt x="1773727" y="6273942"/>
                </a:cubicBezTo>
                <a:cubicBezTo>
                  <a:pt x="1179686" y="5702953"/>
                  <a:pt x="822654" y="4928746"/>
                  <a:pt x="773904" y="4105877"/>
                </a:cubicBezTo>
                <a:cubicBezTo>
                  <a:pt x="765887" y="3973226"/>
                  <a:pt x="765887" y="3840217"/>
                  <a:pt x="773904" y="3707566"/>
                </a:cubicBezTo>
                <a:cubicBezTo>
                  <a:pt x="833534" y="3636917"/>
                  <a:pt x="896282" y="3568658"/>
                  <a:pt x="962136" y="3502790"/>
                </a:cubicBezTo>
                <a:cubicBezTo>
                  <a:pt x="1025555" y="3439271"/>
                  <a:pt x="1091145" y="3378685"/>
                  <a:pt x="1158894" y="3321038"/>
                </a:cubicBezTo>
                <a:cubicBezTo>
                  <a:pt x="1131748" y="3688734"/>
                  <a:pt x="1167067" y="4058380"/>
                  <a:pt x="1263362" y="4414260"/>
                </a:cubicBezTo>
                <a:close/>
                <a:moveTo>
                  <a:pt x="6392924" y="6180317"/>
                </a:moveTo>
                <a:lnTo>
                  <a:pt x="6418906" y="6160611"/>
                </a:lnTo>
                <a:lnTo>
                  <a:pt x="6407472" y="6172597"/>
                </a:lnTo>
                <a:close/>
                <a:moveTo>
                  <a:pt x="6435686" y="6147610"/>
                </a:moveTo>
                <a:lnTo>
                  <a:pt x="6441234" y="6143276"/>
                </a:lnTo>
                <a:cubicBezTo>
                  <a:pt x="6437377" y="6149167"/>
                  <a:pt x="6433453" y="6154991"/>
                  <a:pt x="6429529" y="6160814"/>
                </a:cubicBezTo>
                <a:lnTo>
                  <a:pt x="6416944" y="6167586"/>
                </a:lnTo>
                <a:cubicBezTo>
                  <a:pt x="6423237" y="6160950"/>
                  <a:pt x="6429461" y="6154314"/>
                  <a:pt x="6435686" y="6147610"/>
                </a:cubicBezTo>
                <a:close/>
                <a:moveTo>
                  <a:pt x="6548274" y="5913241"/>
                </a:moveTo>
                <a:cubicBezTo>
                  <a:pt x="6548274" y="5918049"/>
                  <a:pt x="6548274" y="5922857"/>
                  <a:pt x="6547800" y="5927597"/>
                </a:cubicBezTo>
                <a:cubicBezTo>
                  <a:pt x="6546176" y="5932067"/>
                  <a:pt x="6544485" y="5936536"/>
                  <a:pt x="6542861" y="5941141"/>
                </a:cubicBezTo>
                <a:cubicBezTo>
                  <a:pt x="6544688" y="5931728"/>
                  <a:pt x="6546447" y="5922518"/>
                  <a:pt x="6548274" y="5913241"/>
                </a:cubicBezTo>
                <a:close/>
                <a:moveTo>
                  <a:pt x="6531156" y="5980958"/>
                </a:moveTo>
                <a:cubicBezTo>
                  <a:pt x="6528990" y="5990845"/>
                  <a:pt x="6526893" y="6000799"/>
                  <a:pt x="6524389" y="6010686"/>
                </a:cubicBezTo>
                <a:lnTo>
                  <a:pt x="6516067" y="6024229"/>
                </a:lnTo>
                <a:cubicBezTo>
                  <a:pt x="6513496" y="6028496"/>
                  <a:pt x="6510925" y="6032762"/>
                  <a:pt x="6508286" y="6037028"/>
                </a:cubicBezTo>
                <a:cubicBezTo>
                  <a:pt x="6516270" y="6018812"/>
                  <a:pt x="6523780" y="6000122"/>
                  <a:pt x="6531156" y="5981094"/>
                </a:cubicBezTo>
                <a:close/>
                <a:moveTo>
                  <a:pt x="6538666" y="5961388"/>
                </a:moveTo>
                <a:lnTo>
                  <a:pt x="6541913" y="5952856"/>
                </a:lnTo>
                <a:cubicBezTo>
                  <a:pt x="6543808" y="5947980"/>
                  <a:pt x="6545635" y="5943037"/>
                  <a:pt x="6547462" y="5938161"/>
                </a:cubicBezTo>
                <a:cubicBezTo>
                  <a:pt x="6546988" y="5950283"/>
                  <a:pt x="6546514" y="5962472"/>
                  <a:pt x="6545973" y="5974593"/>
                </a:cubicBezTo>
                <a:cubicBezTo>
                  <a:pt x="6540784" y="5983619"/>
                  <a:pt x="6535506" y="5992653"/>
                  <a:pt x="6530140" y="6001679"/>
                </a:cubicBezTo>
                <a:cubicBezTo>
                  <a:pt x="6533030" y="5988319"/>
                  <a:pt x="6535871" y="5974932"/>
                  <a:pt x="6538666" y="5961523"/>
                </a:cubicBezTo>
                <a:close/>
                <a:moveTo>
                  <a:pt x="6549289" y="5975609"/>
                </a:moveTo>
                <a:cubicBezTo>
                  <a:pt x="7456821" y="4408301"/>
                  <a:pt x="6922979" y="2401462"/>
                  <a:pt x="5356965" y="1493203"/>
                </a:cubicBezTo>
                <a:cubicBezTo>
                  <a:pt x="4373739" y="922952"/>
                  <a:pt x="3165528" y="903171"/>
                  <a:pt x="2164197" y="1440945"/>
                </a:cubicBezTo>
                <a:cubicBezTo>
                  <a:pt x="2220673" y="1357566"/>
                  <a:pt x="2281094" y="1276685"/>
                  <a:pt x="2345460" y="1198316"/>
                </a:cubicBezTo>
                <a:cubicBezTo>
                  <a:pt x="2397965" y="1134391"/>
                  <a:pt x="2452635" y="1072721"/>
                  <a:pt x="2509470" y="1013313"/>
                </a:cubicBezTo>
                <a:cubicBezTo>
                  <a:pt x="2549071" y="992368"/>
                  <a:pt x="2589174" y="972189"/>
                  <a:pt x="2629770" y="952774"/>
                </a:cubicBezTo>
                <a:cubicBezTo>
                  <a:pt x="4260259" y="171696"/>
                  <a:pt x="6214693" y="861377"/>
                  <a:pt x="6995105" y="2493219"/>
                </a:cubicBezTo>
                <a:cubicBezTo>
                  <a:pt x="7550126" y="3653731"/>
                  <a:pt x="7374952" y="5031953"/>
                  <a:pt x="6547326" y="6016442"/>
                </a:cubicBezTo>
                <a:cubicBezTo>
                  <a:pt x="6548003" y="6002946"/>
                  <a:pt x="6548747" y="5989376"/>
                  <a:pt x="6549559" y="5975744"/>
                </a:cubicBezTo>
                <a:close/>
                <a:moveTo>
                  <a:pt x="2934108" y="1148950"/>
                </a:moveTo>
                <a:cubicBezTo>
                  <a:pt x="4688240" y="715460"/>
                  <a:pt x="6461370" y="1787236"/>
                  <a:pt x="6894493" y="3542831"/>
                </a:cubicBezTo>
                <a:cubicBezTo>
                  <a:pt x="7097475" y="4365551"/>
                  <a:pt x="6973859" y="5234989"/>
                  <a:pt x="6549559" y="5968363"/>
                </a:cubicBezTo>
                <a:cubicBezTo>
                  <a:pt x="6550168" y="5954819"/>
                  <a:pt x="6550641" y="5941682"/>
                  <a:pt x="6551115" y="5928275"/>
                </a:cubicBezTo>
                <a:cubicBezTo>
                  <a:pt x="7180157" y="4231174"/>
                  <a:pt x="6315460" y="2345034"/>
                  <a:pt x="4619767" y="1715470"/>
                </a:cubicBezTo>
                <a:cubicBezTo>
                  <a:pt x="3812838" y="1415883"/>
                  <a:pt x="2920502" y="1446268"/>
                  <a:pt x="2135779" y="1800048"/>
                </a:cubicBezTo>
                <a:cubicBezTo>
                  <a:pt x="2053822" y="1836886"/>
                  <a:pt x="1973847" y="1876819"/>
                  <a:pt x="1895855" y="1919839"/>
                </a:cubicBezTo>
                <a:cubicBezTo>
                  <a:pt x="1970653" y="1755179"/>
                  <a:pt x="2059059" y="1597053"/>
                  <a:pt x="2160137" y="1447108"/>
                </a:cubicBezTo>
                <a:cubicBezTo>
                  <a:pt x="2404453" y="1315283"/>
                  <a:pt x="2664535" y="1215096"/>
                  <a:pt x="2934108" y="1148950"/>
                </a:cubicBezTo>
                <a:close/>
                <a:moveTo>
                  <a:pt x="1890847" y="1922616"/>
                </a:moveTo>
                <a:cubicBezTo>
                  <a:pt x="1730410" y="2011318"/>
                  <a:pt x="1577720" y="2113388"/>
                  <a:pt x="1434408" y="2227748"/>
                </a:cubicBezTo>
                <a:cubicBezTo>
                  <a:pt x="1473787" y="2138951"/>
                  <a:pt x="1517205" y="2051772"/>
                  <a:pt x="1564655" y="1966225"/>
                </a:cubicBezTo>
                <a:cubicBezTo>
                  <a:pt x="1605252" y="1893362"/>
                  <a:pt x="1648216" y="1822374"/>
                  <a:pt x="1693549" y="1753256"/>
                </a:cubicBezTo>
                <a:cubicBezTo>
                  <a:pt x="1726885" y="1726982"/>
                  <a:pt x="1760716" y="1701364"/>
                  <a:pt x="1795040" y="1676397"/>
                </a:cubicBezTo>
                <a:cubicBezTo>
                  <a:pt x="1909414" y="1593471"/>
                  <a:pt x="2029038" y="1518055"/>
                  <a:pt x="2153168" y="1450629"/>
                </a:cubicBezTo>
                <a:cubicBezTo>
                  <a:pt x="2052787" y="1600398"/>
                  <a:pt x="1965044" y="1758274"/>
                  <a:pt x="1890847" y="1922616"/>
                </a:cubicBezTo>
                <a:close/>
                <a:moveTo>
                  <a:pt x="1888547" y="1927762"/>
                </a:moveTo>
                <a:cubicBezTo>
                  <a:pt x="1833708" y="2049639"/>
                  <a:pt x="1786264" y="2174712"/>
                  <a:pt x="1746460" y="2302305"/>
                </a:cubicBezTo>
                <a:cubicBezTo>
                  <a:pt x="1730945" y="2351961"/>
                  <a:pt x="1716669" y="2401801"/>
                  <a:pt x="1703630" y="2451824"/>
                </a:cubicBezTo>
                <a:cubicBezTo>
                  <a:pt x="1624061" y="2497465"/>
                  <a:pt x="1546204" y="2546607"/>
                  <a:pt x="1470066" y="2599243"/>
                </a:cubicBezTo>
                <a:cubicBezTo>
                  <a:pt x="1393927" y="2651880"/>
                  <a:pt x="1320826" y="2706934"/>
                  <a:pt x="1250777" y="2764405"/>
                </a:cubicBezTo>
                <a:cubicBezTo>
                  <a:pt x="1295758" y="2582903"/>
                  <a:pt x="1356287" y="2405614"/>
                  <a:pt x="1431702" y="2234520"/>
                </a:cubicBezTo>
                <a:cubicBezTo>
                  <a:pt x="1575048" y="2119530"/>
                  <a:pt x="1727880" y="2016912"/>
                  <a:pt x="1888547" y="1927762"/>
                </a:cubicBezTo>
                <a:close/>
                <a:moveTo>
                  <a:pt x="1246379" y="2767994"/>
                </a:moveTo>
                <a:cubicBezTo>
                  <a:pt x="1106315" y="2883221"/>
                  <a:pt x="976115" y="3009953"/>
                  <a:pt x="857127" y="3146870"/>
                </a:cubicBezTo>
                <a:cubicBezTo>
                  <a:pt x="880044" y="3050712"/>
                  <a:pt x="907419" y="2955434"/>
                  <a:pt x="939267" y="2861037"/>
                </a:cubicBezTo>
                <a:cubicBezTo>
                  <a:pt x="967820" y="2776343"/>
                  <a:pt x="999668" y="2693187"/>
                  <a:pt x="1034804" y="2611568"/>
                </a:cubicBezTo>
                <a:cubicBezTo>
                  <a:pt x="1060197" y="2583039"/>
                  <a:pt x="1086091" y="2554956"/>
                  <a:pt x="1112479" y="2527328"/>
                </a:cubicBezTo>
                <a:cubicBezTo>
                  <a:pt x="1210620" y="2424547"/>
                  <a:pt x="1315332" y="2328254"/>
                  <a:pt x="1425951" y="2239057"/>
                </a:cubicBezTo>
                <a:cubicBezTo>
                  <a:pt x="1351044" y="2409886"/>
                  <a:pt x="1290961" y="2586851"/>
                  <a:pt x="1246379" y="2767994"/>
                </a:cubicBezTo>
                <a:close/>
                <a:moveTo>
                  <a:pt x="1245026" y="2773479"/>
                </a:moveTo>
                <a:cubicBezTo>
                  <a:pt x="1213848" y="2900915"/>
                  <a:pt x="1190282" y="3030099"/>
                  <a:pt x="1174456" y="3160346"/>
                </a:cubicBezTo>
                <a:cubicBezTo>
                  <a:pt x="1168143" y="3212352"/>
                  <a:pt x="1163041" y="3264271"/>
                  <a:pt x="1159165" y="3316095"/>
                </a:cubicBezTo>
                <a:cubicBezTo>
                  <a:pt x="1090469" y="3374466"/>
                  <a:pt x="1023958" y="3435818"/>
                  <a:pt x="959633" y="3500149"/>
                </a:cubicBezTo>
                <a:cubicBezTo>
                  <a:pt x="895308" y="3564480"/>
                  <a:pt x="833493" y="3631655"/>
                  <a:pt x="774175" y="3701675"/>
                </a:cubicBezTo>
                <a:cubicBezTo>
                  <a:pt x="785623" y="3517065"/>
                  <a:pt x="812789" y="3333769"/>
                  <a:pt x="855368" y="3153777"/>
                </a:cubicBezTo>
                <a:cubicBezTo>
                  <a:pt x="974390" y="3016339"/>
                  <a:pt x="1104711" y="2889132"/>
                  <a:pt x="1244958" y="2773479"/>
                </a:cubicBezTo>
                <a:close/>
                <a:moveTo>
                  <a:pt x="770521" y="3706212"/>
                </a:moveTo>
                <a:cubicBezTo>
                  <a:pt x="649757" y="3849270"/>
                  <a:pt x="541529" y="4002466"/>
                  <a:pt x="447035" y="4164113"/>
                </a:cubicBezTo>
                <a:cubicBezTo>
                  <a:pt x="452178" y="4061996"/>
                  <a:pt x="462124" y="3959967"/>
                  <a:pt x="476874" y="3858033"/>
                </a:cubicBezTo>
                <a:cubicBezTo>
                  <a:pt x="488647" y="3776772"/>
                  <a:pt x="503419" y="3696190"/>
                  <a:pt x="521191" y="3616283"/>
                </a:cubicBezTo>
                <a:cubicBezTo>
                  <a:pt x="544737" y="3576872"/>
                  <a:pt x="569163" y="3537915"/>
                  <a:pt x="594468" y="3499404"/>
                </a:cubicBezTo>
                <a:cubicBezTo>
                  <a:pt x="672390" y="3380669"/>
                  <a:pt x="757957" y="3267135"/>
                  <a:pt x="850632" y="3159533"/>
                </a:cubicBezTo>
                <a:cubicBezTo>
                  <a:pt x="808506" y="3339159"/>
                  <a:pt x="781706" y="3522042"/>
                  <a:pt x="770521" y="3706212"/>
                </a:cubicBezTo>
                <a:close/>
                <a:moveTo>
                  <a:pt x="770521" y="3711832"/>
                </a:moveTo>
                <a:cubicBezTo>
                  <a:pt x="762706" y="3843128"/>
                  <a:pt x="762706" y="3974784"/>
                  <a:pt x="770521" y="4106080"/>
                </a:cubicBezTo>
                <a:cubicBezTo>
                  <a:pt x="877588" y="5913357"/>
                  <a:pt x="2428256" y="7291551"/>
                  <a:pt x="4234027" y="7184423"/>
                </a:cubicBezTo>
                <a:cubicBezTo>
                  <a:pt x="5060577" y="7135396"/>
                  <a:pt x="5837890" y="6774871"/>
                  <a:pt x="6409569" y="6175374"/>
                </a:cubicBezTo>
                <a:lnTo>
                  <a:pt x="6425469" y="6166841"/>
                </a:lnTo>
                <a:cubicBezTo>
                  <a:pt x="5410126" y="7664130"/>
                  <a:pt x="3374255" y="8054111"/>
                  <a:pt x="1878215" y="7037952"/>
                </a:cubicBezTo>
                <a:cubicBezTo>
                  <a:pt x="934917" y="6397201"/>
                  <a:pt x="392592" y="5311468"/>
                  <a:pt x="446562" y="4171765"/>
                </a:cubicBezTo>
                <a:cubicBezTo>
                  <a:pt x="540996" y="4009407"/>
                  <a:pt x="649273" y="3855527"/>
                  <a:pt x="770183" y="3711832"/>
                </a:cubicBezTo>
                <a:close/>
                <a:moveTo>
                  <a:pt x="535197" y="5113031"/>
                </a:moveTo>
                <a:cubicBezTo>
                  <a:pt x="965932" y="6871029"/>
                  <a:pt x="2739097" y="7946780"/>
                  <a:pt x="4495664" y="7515627"/>
                </a:cubicBezTo>
                <a:cubicBezTo>
                  <a:pt x="5286631" y="7321550"/>
                  <a:pt x="5976946" y="6839406"/>
                  <a:pt x="6431897" y="6163387"/>
                </a:cubicBezTo>
                <a:lnTo>
                  <a:pt x="6456255" y="6149844"/>
                </a:lnTo>
                <a:cubicBezTo>
                  <a:pt x="5741189" y="7720403"/>
                  <a:pt x="3930250" y="8465085"/>
                  <a:pt x="2318463" y="7851367"/>
                </a:cubicBezTo>
                <a:cubicBezTo>
                  <a:pt x="1089224" y="7383917"/>
                  <a:pt x="258446" y="6226087"/>
                  <a:pt x="208667" y="4910963"/>
                </a:cubicBezTo>
                <a:cubicBezTo>
                  <a:pt x="205690" y="4832276"/>
                  <a:pt x="205554" y="4753840"/>
                  <a:pt x="208261" y="4675647"/>
                </a:cubicBezTo>
                <a:cubicBezTo>
                  <a:pt x="224680" y="4631496"/>
                  <a:pt x="242136" y="4587615"/>
                  <a:pt x="260630" y="4544005"/>
                </a:cubicBezTo>
                <a:cubicBezTo>
                  <a:pt x="313716" y="4418242"/>
                  <a:pt x="374617" y="4295931"/>
                  <a:pt x="442976" y="4177792"/>
                </a:cubicBezTo>
                <a:cubicBezTo>
                  <a:pt x="428611" y="4492358"/>
                  <a:pt x="459671" y="4807350"/>
                  <a:pt x="535197" y="5113031"/>
                </a:cubicBezTo>
                <a:close/>
                <a:moveTo>
                  <a:pt x="6435957" y="6157293"/>
                </a:moveTo>
                <a:cubicBezTo>
                  <a:pt x="6440558" y="6150522"/>
                  <a:pt x="6445091" y="6143750"/>
                  <a:pt x="6449489" y="6136978"/>
                </a:cubicBezTo>
                <a:cubicBezTo>
                  <a:pt x="6456255" y="6131832"/>
                  <a:pt x="6462547" y="6126753"/>
                  <a:pt x="6469043" y="6121538"/>
                </a:cubicBezTo>
                <a:cubicBezTo>
                  <a:pt x="6465525" y="6129461"/>
                  <a:pt x="6462277" y="6137317"/>
                  <a:pt x="6458420" y="6145172"/>
                </a:cubicBezTo>
                <a:cubicBezTo>
                  <a:pt x="6451045" y="6149099"/>
                  <a:pt x="6443535" y="6153230"/>
                  <a:pt x="6435957" y="6157293"/>
                </a:cubicBezTo>
                <a:close/>
                <a:moveTo>
                  <a:pt x="6474862" y="6116663"/>
                </a:moveTo>
                <a:cubicBezTo>
                  <a:pt x="6485214" y="6108401"/>
                  <a:pt x="6495160" y="6100072"/>
                  <a:pt x="6505647" y="6091676"/>
                </a:cubicBezTo>
                <a:cubicBezTo>
                  <a:pt x="6503076" y="6102104"/>
                  <a:pt x="6500437" y="6112465"/>
                  <a:pt x="6497798" y="6122825"/>
                </a:cubicBezTo>
                <a:cubicBezTo>
                  <a:pt x="6486432" y="6129326"/>
                  <a:pt x="6474997" y="6135759"/>
                  <a:pt x="6463495" y="6142124"/>
                </a:cubicBezTo>
                <a:cubicBezTo>
                  <a:pt x="6467351" y="6133727"/>
                  <a:pt x="6471140" y="6125195"/>
                  <a:pt x="6475132" y="6116730"/>
                </a:cubicBezTo>
                <a:close/>
                <a:moveTo>
                  <a:pt x="6477839" y="6109891"/>
                </a:moveTo>
                <a:lnTo>
                  <a:pt x="6484943" y="6093436"/>
                </a:lnTo>
                <a:lnTo>
                  <a:pt x="6492521" y="6084904"/>
                </a:lnTo>
                <a:cubicBezTo>
                  <a:pt x="6499335" y="6077184"/>
                  <a:pt x="6506101" y="6069444"/>
                  <a:pt x="6512819" y="6061677"/>
                </a:cubicBezTo>
                <a:cubicBezTo>
                  <a:pt x="6510857" y="6069870"/>
                  <a:pt x="6508895" y="6077997"/>
                  <a:pt x="6506865" y="6086123"/>
                </a:cubicBezTo>
                <a:cubicBezTo>
                  <a:pt x="6497325" y="6094249"/>
                  <a:pt x="6487649" y="6102104"/>
                  <a:pt x="6477839" y="6110027"/>
                </a:cubicBezTo>
                <a:close/>
                <a:moveTo>
                  <a:pt x="6490018" y="6082805"/>
                </a:moveTo>
                <a:lnTo>
                  <a:pt x="6489206" y="6083685"/>
                </a:lnTo>
                <a:cubicBezTo>
                  <a:pt x="6492995" y="6074949"/>
                  <a:pt x="6496716" y="6066078"/>
                  <a:pt x="6500370" y="6057275"/>
                </a:cubicBezTo>
                <a:cubicBezTo>
                  <a:pt x="6506730" y="6047030"/>
                  <a:pt x="6513022" y="6036757"/>
                  <a:pt x="6519247" y="6026464"/>
                </a:cubicBezTo>
                <a:lnTo>
                  <a:pt x="6522292" y="6021318"/>
                </a:lnTo>
                <a:cubicBezTo>
                  <a:pt x="6519768" y="6032511"/>
                  <a:pt x="6517217" y="6043644"/>
                  <a:pt x="6514646" y="6054702"/>
                </a:cubicBezTo>
                <a:cubicBezTo>
                  <a:pt x="6506344" y="6064135"/>
                  <a:pt x="6498137" y="6073507"/>
                  <a:pt x="6490018" y="6082805"/>
                </a:cubicBezTo>
                <a:close/>
                <a:moveTo>
                  <a:pt x="6527840" y="6012108"/>
                </a:moveTo>
                <a:cubicBezTo>
                  <a:pt x="6533794" y="6002086"/>
                  <a:pt x="6539748" y="5992132"/>
                  <a:pt x="6545635" y="5982042"/>
                </a:cubicBezTo>
                <a:cubicBezTo>
                  <a:pt x="6544958" y="5994976"/>
                  <a:pt x="6544281" y="6007977"/>
                  <a:pt x="6543469" y="6020911"/>
                </a:cubicBezTo>
                <a:cubicBezTo>
                  <a:pt x="6535533" y="6030391"/>
                  <a:pt x="6527502" y="6039824"/>
                  <a:pt x="6519382" y="6049217"/>
                </a:cubicBezTo>
                <a:cubicBezTo>
                  <a:pt x="6522495" y="6036825"/>
                  <a:pt x="6525066" y="6024500"/>
                  <a:pt x="6527840" y="6012108"/>
                </a:cubicBezTo>
                <a:close/>
                <a:moveTo>
                  <a:pt x="2409602" y="977694"/>
                </a:moveTo>
                <a:cubicBezTo>
                  <a:pt x="2567144" y="854273"/>
                  <a:pt x="2735592" y="745479"/>
                  <a:pt x="2912863" y="652653"/>
                </a:cubicBezTo>
                <a:cubicBezTo>
                  <a:pt x="2767940" y="760587"/>
                  <a:pt x="2632301" y="880480"/>
                  <a:pt x="2507372" y="1011078"/>
                </a:cubicBezTo>
                <a:cubicBezTo>
                  <a:pt x="2347185" y="1095806"/>
                  <a:pt x="2194387" y="1193840"/>
                  <a:pt x="2050595" y="1304157"/>
                </a:cubicBezTo>
                <a:cubicBezTo>
                  <a:pt x="2162113" y="1186682"/>
                  <a:pt x="2282109" y="1077570"/>
                  <a:pt x="2409602" y="977694"/>
                </a:cubicBezTo>
                <a:close/>
                <a:moveTo>
                  <a:pt x="2035709" y="1319529"/>
                </a:moveTo>
                <a:cubicBezTo>
                  <a:pt x="2181586" y="1206096"/>
                  <a:pt x="2336921" y="1105394"/>
                  <a:pt x="2499997" y="1018527"/>
                </a:cubicBezTo>
                <a:cubicBezTo>
                  <a:pt x="2445868" y="1075680"/>
                  <a:pt x="2393499" y="1134933"/>
                  <a:pt x="2342889" y="1196284"/>
                </a:cubicBezTo>
                <a:cubicBezTo>
                  <a:pt x="2277075" y="1276414"/>
                  <a:pt x="2215369" y="1359164"/>
                  <a:pt x="2157769" y="1444534"/>
                </a:cubicBezTo>
                <a:cubicBezTo>
                  <a:pt x="2031501" y="1512827"/>
                  <a:pt x="1909860" y="1589354"/>
                  <a:pt x="1793619" y="1673621"/>
                </a:cubicBezTo>
                <a:cubicBezTo>
                  <a:pt x="1761819" y="1696692"/>
                  <a:pt x="1730492" y="1720257"/>
                  <a:pt x="1699638" y="1744317"/>
                </a:cubicBezTo>
                <a:cubicBezTo>
                  <a:pt x="1799593" y="1593566"/>
                  <a:pt x="1912012" y="1451469"/>
                  <a:pt x="2035709" y="1319529"/>
                </a:cubicBezTo>
                <a:close/>
                <a:moveTo>
                  <a:pt x="1592058" y="1736191"/>
                </a:moveTo>
                <a:cubicBezTo>
                  <a:pt x="1721980" y="1589333"/>
                  <a:pt x="1864744" y="1454374"/>
                  <a:pt x="2018659" y="1332937"/>
                </a:cubicBezTo>
                <a:cubicBezTo>
                  <a:pt x="1898351" y="1463048"/>
                  <a:pt x="1788937" y="1602836"/>
                  <a:pt x="1691519" y="1750886"/>
                </a:cubicBezTo>
                <a:cubicBezTo>
                  <a:pt x="1555034" y="1858068"/>
                  <a:pt x="1427378" y="1976044"/>
                  <a:pt x="1309777" y="2103691"/>
                </a:cubicBezTo>
                <a:cubicBezTo>
                  <a:pt x="1395192" y="1974751"/>
                  <a:pt x="1489511" y="1851953"/>
                  <a:pt x="1592058" y="1736191"/>
                </a:cubicBezTo>
                <a:close/>
                <a:moveTo>
                  <a:pt x="1297801" y="2121500"/>
                </a:moveTo>
                <a:cubicBezTo>
                  <a:pt x="1416925" y="1990570"/>
                  <a:pt x="1546542" y="1869607"/>
                  <a:pt x="1685362" y="1759824"/>
                </a:cubicBezTo>
                <a:cubicBezTo>
                  <a:pt x="1641836" y="1826370"/>
                  <a:pt x="1600671" y="1894628"/>
                  <a:pt x="1561881" y="1964600"/>
                </a:cubicBezTo>
                <a:cubicBezTo>
                  <a:pt x="1513348" y="2052179"/>
                  <a:pt x="1469030" y="2141430"/>
                  <a:pt x="1428928" y="2232353"/>
                </a:cubicBezTo>
                <a:cubicBezTo>
                  <a:pt x="1316307" y="2322775"/>
                  <a:pt x="1209781" y="2420545"/>
                  <a:pt x="1110043" y="2525026"/>
                </a:cubicBezTo>
                <a:cubicBezTo>
                  <a:pt x="1085956" y="2550216"/>
                  <a:pt x="1062295" y="2575766"/>
                  <a:pt x="1039067" y="2601681"/>
                </a:cubicBezTo>
                <a:cubicBezTo>
                  <a:pt x="1111673" y="2434630"/>
                  <a:pt x="1198225" y="2273999"/>
                  <a:pt x="1297801" y="2121500"/>
                </a:cubicBezTo>
                <a:close/>
                <a:moveTo>
                  <a:pt x="916195" y="2633982"/>
                </a:moveTo>
                <a:cubicBezTo>
                  <a:pt x="1022794" y="2457268"/>
                  <a:pt x="1145781" y="2290989"/>
                  <a:pt x="1283525" y="2137346"/>
                </a:cubicBezTo>
                <a:cubicBezTo>
                  <a:pt x="1186770" y="2287590"/>
                  <a:pt x="1102607" y="2445594"/>
                  <a:pt x="1031895" y="2609739"/>
                </a:cubicBezTo>
                <a:cubicBezTo>
                  <a:pt x="910768" y="2745735"/>
                  <a:pt x="801314" y="2891706"/>
                  <a:pt x="704687" y="3046107"/>
                </a:cubicBezTo>
                <a:cubicBezTo>
                  <a:pt x="765467" y="2903949"/>
                  <a:pt x="836139" y="2766233"/>
                  <a:pt x="916195" y="2633982"/>
                </a:cubicBezTo>
                <a:close/>
                <a:moveTo>
                  <a:pt x="696162" y="3066219"/>
                </a:moveTo>
                <a:cubicBezTo>
                  <a:pt x="793648" y="2907992"/>
                  <a:pt x="904571" y="2758459"/>
                  <a:pt x="1027700" y="2619287"/>
                </a:cubicBezTo>
                <a:cubicBezTo>
                  <a:pt x="994140" y="2697974"/>
                  <a:pt x="963605" y="2778104"/>
                  <a:pt x="936087" y="2859682"/>
                </a:cubicBezTo>
                <a:cubicBezTo>
                  <a:pt x="903522" y="2956199"/>
                  <a:pt x="875598" y="3053692"/>
                  <a:pt x="852323" y="3152152"/>
                </a:cubicBezTo>
                <a:cubicBezTo>
                  <a:pt x="757916" y="3261393"/>
                  <a:pt x="670827" y="3376769"/>
                  <a:pt x="591626" y="3497508"/>
                </a:cubicBezTo>
                <a:cubicBezTo>
                  <a:pt x="568170" y="3533175"/>
                  <a:pt x="545459" y="3569288"/>
                  <a:pt x="523492" y="3605855"/>
                </a:cubicBezTo>
                <a:cubicBezTo>
                  <a:pt x="565172" y="3421272"/>
                  <a:pt x="622950" y="3240699"/>
                  <a:pt x="696162" y="3066219"/>
                </a:cubicBezTo>
                <a:close/>
                <a:moveTo>
                  <a:pt x="420174" y="3627863"/>
                </a:moveTo>
                <a:cubicBezTo>
                  <a:pt x="491528" y="3439136"/>
                  <a:pt x="580085" y="3257384"/>
                  <a:pt x="684727" y="3084909"/>
                </a:cubicBezTo>
                <a:cubicBezTo>
                  <a:pt x="614052" y="3256490"/>
                  <a:pt x="558274" y="3433841"/>
                  <a:pt x="518011" y="3614997"/>
                </a:cubicBezTo>
                <a:cubicBezTo>
                  <a:pt x="425193" y="3770109"/>
                  <a:pt x="345504" y="3932725"/>
                  <a:pt x="279778" y="4101137"/>
                </a:cubicBezTo>
                <a:cubicBezTo>
                  <a:pt x="314722" y="3940099"/>
                  <a:pt x="361652" y="3781899"/>
                  <a:pt x="420174" y="3627863"/>
                </a:cubicBezTo>
                <a:close/>
                <a:moveTo>
                  <a:pt x="275312" y="4122197"/>
                </a:moveTo>
                <a:cubicBezTo>
                  <a:pt x="341179" y="3950141"/>
                  <a:pt x="421580" y="3784018"/>
                  <a:pt x="515643" y="3625628"/>
                </a:cubicBezTo>
                <a:cubicBezTo>
                  <a:pt x="498863" y="3702372"/>
                  <a:pt x="484812" y="3779732"/>
                  <a:pt x="473491" y="3857694"/>
                </a:cubicBezTo>
                <a:cubicBezTo>
                  <a:pt x="458380" y="3961843"/>
                  <a:pt x="448321" y="4066127"/>
                  <a:pt x="443314" y="4170546"/>
                </a:cubicBezTo>
                <a:cubicBezTo>
                  <a:pt x="373567" y="4290642"/>
                  <a:pt x="311488" y="4415038"/>
                  <a:pt x="257450" y="4542990"/>
                </a:cubicBezTo>
                <a:cubicBezTo>
                  <a:pt x="240354" y="4583620"/>
                  <a:pt x="224093" y="4624385"/>
                  <a:pt x="208667" y="4665286"/>
                </a:cubicBezTo>
                <a:cubicBezTo>
                  <a:pt x="215525" y="4482654"/>
                  <a:pt x="237820" y="4300929"/>
                  <a:pt x="275312" y="4122061"/>
                </a:cubicBezTo>
                <a:close/>
                <a:moveTo>
                  <a:pt x="111776" y="4706729"/>
                </a:moveTo>
                <a:cubicBezTo>
                  <a:pt x="146889" y="4514190"/>
                  <a:pt x="199081" y="4325165"/>
                  <a:pt x="267734" y="4141902"/>
                </a:cubicBezTo>
                <a:cubicBezTo>
                  <a:pt x="232084" y="4317499"/>
                  <a:pt x="211059" y="4495757"/>
                  <a:pt x="204878" y="4674834"/>
                </a:cubicBezTo>
                <a:cubicBezTo>
                  <a:pt x="141904" y="4843849"/>
                  <a:pt x="93132" y="5017834"/>
                  <a:pt x="59069" y="5194968"/>
                </a:cubicBezTo>
                <a:cubicBezTo>
                  <a:pt x="64525" y="5031140"/>
                  <a:pt x="82142" y="4867943"/>
                  <a:pt x="111776" y="4706729"/>
                </a:cubicBezTo>
                <a:close/>
                <a:moveTo>
                  <a:pt x="58460" y="5216570"/>
                </a:moveTo>
                <a:cubicBezTo>
                  <a:pt x="91999" y="5035772"/>
                  <a:pt x="140869" y="4858164"/>
                  <a:pt x="204539" y="4685669"/>
                </a:cubicBezTo>
                <a:cubicBezTo>
                  <a:pt x="202239" y="4760564"/>
                  <a:pt x="202487" y="4835709"/>
                  <a:pt x="205284" y="4911099"/>
                </a:cubicBezTo>
                <a:cubicBezTo>
                  <a:pt x="273542" y="6721382"/>
                  <a:pt x="1795182" y="8133544"/>
                  <a:pt x="3603963" y="8065217"/>
                </a:cubicBezTo>
                <a:cubicBezTo>
                  <a:pt x="4455040" y="8033051"/>
                  <a:pt x="5260189" y="7670630"/>
                  <a:pt x="5848865" y="7054610"/>
                </a:cubicBezTo>
                <a:cubicBezTo>
                  <a:pt x="6102836" y="6789024"/>
                  <a:pt x="6309885" y="6482185"/>
                  <a:pt x="6461194" y="6147203"/>
                </a:cubicBezTo>
                <a:cubicBezTo>
                  <a:pt x="6473055" y="6140614"/>
                  <a:pt x="6484855" y="6133978"/>
                  <a:pt x="6496581" y="6127295"/>
                </a:cubicBezTo>
                <a:cubicBezTo>
                  <a:pt x="6063938" y="7786359"/>
                  <a:pt x="4425121" y="8829876"/>
                  <a:pt x="2740260" y="8519191"/>
                </a:cubicBezTo>
                <a:cubicBezTo>
                  <a:pt x="1155809" y="8229295"/>
                  <a:pt x="18037" y="6828097"/>
                  <a:pt x="58460" y="5216570"/>
                </a:cubicBezTo>
                <a:close/>
                <a:moveTo>
                  <a:pt x="6292448" y="7094224"/>
                </a:moveTo>
                <a:cubicBezTo>
                  <a:pt x="5587579" y="8761211"/>
                  <a:pt x="3665933" y="9540700"/>
                  <a:pt x="2000329" y="8835226"/>
                </a:cubicBezTo>
                <a:cubicBezTo>
                  <a:pt x="1216433" y="8503210"/>
                  <a:pt x="592504" y="7878793"/>
                  <a:pt x="260765" y="7094224"/>
                </a:cubicBezTo>
                <a:cubicBezTo>
                  <a:pt x="90204" y="6690835"/>
                  <a:pt x="2754" y="6257135"/>
                  <a:pt x="3655" y="5819115"/>
                </a:cubicBezTo>
                <a:cubicBezTo>
                  <a:pt x="3514" y="5624199"/>
                  <a:pt x="20631" y="5429655"/>
                  <a:pt x="54806" y="5237765"/>
                </a:cubicBezTo>
                <a:cubicBezTo>
                  <a:pt x="24589" y="6843333"/>
                  <a:pt x="1161594" y="8234171"/>
                  <a:pt x="2740057" y="8522509"/>
                </a:cubicBezTo>
                <a:cubicBezTo>
                  <a:pt x="4427739" y="8833668"/>
                  <a:pt x="6069019" y="7787510"/>
                  <a:pt x="6500979" y="6125331"/>
                </a:cubicBezTo>
                <a:cubicBezTo>
                  <a:pt x="6513293" y="6118288"/>
                  <a:pt x="6525540" y="6111178"/>
                  <a:pt x="6537718" y="6104000"/>
                </a:cubicBezTo>
                <a:cubicBezTo>
                  <a:pt x="6508665" y="6444955"/>
                  <a:pt x="6425882" y="6779137"/>
                  <a:pt x="6292448" y="7094224"/>
                </a:cubicBezTo>
                <a:close/>
                <a:moveTo>
                  <a:pt x="6537786" y="6099666"/>
                </a:moveTo>
                <a:cubicBezTo>
                  <a:pt x="6525878" y="6106438"/>
                  <a:pt x="6513902" y="6113616"/>
                  <a:pt x="6501858" y="6120523"/>
                </a:cubicBezTo>
                <a:cubicBezTo>
                  <a:pt x="6504632" y="6109756"/>
                  <a:pt x="6507339" y="6098989"/>
                  <a:pt x="6510045" y="6088154"/>
                </a:cubicBezTo>
                <a:cubicBezTo>
                  <a:pt x="6520330" y="6079710"/>
                  <a:pt x="6530567" y="6071177"/>
                  <a:pt x="6540763" y="6062557"/>
                </a:cubicBezTo>
                <a:cubicBezTo>
                  <a:pt x="6539816" y="6074949"/>
                  <a:pt x="6538869" y="6087274"/>
                  <a:pt x="6537786" y="6099666"/>
                </a:cubicBezTo>
                <a:close/>
                <a:moveTo>
                  <a:pt x="6511398" y="6082669"/>
                </a:moveTo>
                <a:cubicBezTo>
                  <a:pt x="6513564" y="6073866"/>
                  <a:pt x="6515661" y="6065130"/>
                  <a:pt x="6517691" y="6056327"/>
                </a:cubicBezTo>
                <a:cubicBezTo>
                  <a:pt x="6526264" y="6046441"/>
                  <a:pt x="6534741" y="6036534"/>
                  <a:pt x="6543131" y="6026599"/>
                </a:cubicBezTo>
                <a:cubicBezTo>
                  <a:pt x="6542543" y="6037028"/>
                  <a:pt x="6541866" y="6047456"/>
                  <a:pt x="6541101" y="6057885"/>
                </a:cubicBezTo>
                <a:close/>
                <a:moveTo>
                  <a:pt x="7996890" y="4256141"/>
                </a:moveTo>
                <a:cubicBezTo>
                  <a:pt x="7756762" y="5029400"/>
                  <a:pt x="7238007" y="5685706"/>
                  <a:pt x="6541372" y="6097567"/>
                </a:cubicBezTo>
                <a:cubicBezTo>
                  <a:pt x="6542455" y="6084904"/>
                  <a:pt x="6543402" y="6072173"/>
                  <a:pt x="6544349" y="6059510"/>
                </a:cubicBezTo>
                <a:cubicBezTo>
                  <a:pt x="7924628" y="4887716"/>
                  <a:pt x="8094388" y="2817935"/>
                  <a:pt x="6923588" y="1436530"/>
                </a:cubicBezTo>
                <a:cubicBezTo>
                  <a:pt x="6102410" y="467695"/>
                  <a:pt x="4796084" y="60595"/>
                  <a:pt x="3570525" y="391604"/>
                </a:cubicBezTo>
                <a:cubicBezTo>
                  <a:pt x="3355858" y="449455"/>
                  <a:pt x="3147700" y="529238"/>
                  <a:pt x="2949332" y="629697"/>
                </a:cubicBezTo>
                <a:cubicBezTo>
                  <a:pt x="3078151" y="536401"/>
                  <a:pt x="3213534" y="452530"/>
                  <a:pt x="3354417" y="378738"/>
                </a:cubicBezTo>
                <a:cubicBezTo>
                  <a:pt x="4954200" y="-461690"/>
                  <a:pt x="6931842" y="154966"/>
                  <a:pt x="7771512" y="1756080"/>
                </a:cubicBezTo>
                <a:cubicBezTo>
                  <a:pt x="8175514" y="2526373"/>
                  <a:pt x="8256639" y="3425918"/>
                  <a:pt x="7996890" y="4256141"/>
                </a:cubicBezTo>
                <a:close/>
              </a:path>
            </a:pathLst>
          </a:custGeom>
          <a:gradFill flip="none" rotWithShape="1">
            <a:gsLst>
              <a:gs pos="0">
                <a:srgbClr val="FF6D70"/>
              </a:gs>
              <a:gs pos="66000">
                <a:srgbClr val="2C1F56"/>
              </a:gs>
              <a:gs pos="26000">
                <a:schemeClr val="accent1">
                  <a:lumMod val="45000"/>
                  <a:lumOff val="55000"/>
                </a:schemeClr>
              </a:gs>
            </a:gsLst>
            <a:lin ang="0" scaled="0"/>
            <a:tileRect/>
          </a:gradFill>
          <a:ln w="6758" cap="flat">
            <a:noFill/>
            <a:prstDash val="solid"/>
            <a:miter/>
          </a:ln>
        </p:spPr>
        <p:txBody>
          <a:bodyPr rtlCol="0" anchor="ctr"/>
          <a:lstStyle/>
          <a:p>
            <a:endParaRPr lang="en-US" sz="2400"/>
          </a:p>
        </p:txBody>
      </p:sp>
      <p:sp>
        <p:nvSpPr>
          <p:cNvPr id="2" name="Title 1">
            <a:extLst>
              <a:ext uri="{FF2B5EF4-FFF2-40B4-BE49-F238E27FC236}">
                <a16:creationId xmlns:a16="http://schemas.microsoft.com/office/drawing/2014/main" id="{1731944A-0D3C-514A-A98E-4FD741224354}"/>
              </a:ext>
            </a:extLst>
          </p:cNvPr>
          <p:cNvSpPr>
            <a:spLocks noGrp="1"/>
          </p:cNvSpPr>
          <p:nvPr>
            <p:ph type="title" hasCustomPrompt="1"/>
          </p:nvPr>
        </p:nvSpPr>
        <p:spPr>
          <a:xfrm>
            <a:off x="508000" y="365677"/>
            <a:ext cx="11176000" cy="517001"/>
          </a:xfrm>
        </p:spPr>
        <p:txBody>
          <a:bodyPr/>
          <a:lstStyle>
            <a:lvl1pPr>
              <a:defRPr>
                <a:solidFill>
                  <a:schemeClr val="bg1"/>
                </a:solidFill>
              </a:defRPr>
            </a:lvl1pPr>
          </a:lstStyle>
          <a:p>
            <a:r>
              <a:rPr lang="en-US" dirty="0"/>
              <a:t>Click to edit master title style</a:t>
            </a:r>
          </a:p>
        </p:txBody>
      </p:sp>
      <p:sp>
        <p:nvSpPr>
          <p:cNvPr id="7" name="Date Placeholder 2">
            <a:extLst>
              <a:ext uri="{FF2B5EF4-FFF2-40B4-BE49-F238E27FC236}">
                <a16:creationId xmlns:a16="http://schemas.microsoft.com/office/drawing/2014/main" id="{B1BE08C3-486D-4D29-A4CC-55058E6CAD49}"/>
              </a:ext>
            </a:extLst>
          </p:cNvPr>
          <p:cNvSpPr>
            <a:spLocks noGrp="1"/>
          </p:cNvSpPr>
          <p:nvPr>
            <p:ph type="dt" sz="half" idx="10"/>
          </p:nvPr>
        </p:nvSpPr>
        <p:spPr>
          <a:xfrm>
            <a:off x="508000" y="6356351"/>
            <a:ext cx="814269" cy="365125"/>
          </a:xfrm>
        </p:spPr>
        <p:txBody>
          <a:bodyPr/>
          <a:lstStyle>
            <a:lvl1pPr>
              <a:defRPr>
                <a:solidFill>
                  <a:schemeClr val="bg1"/>
                </a:solidFill>
              </a:defRPr>
            </a:lvl1pPr>
          </a:lstStyle>
          <a:p>
            <a:fld id="{B01F1F41-2107-2B4A-AFD3-0A9C893A5C18}" type="datetimeFigureOut">
              <a:rPr lang="en-US" smtClean="0"/>
              <a:pPr/>
              <a:t>7/16/2021</a:t>
            </a:fld>
            <a:endParaRPr lang="en-US"/>
          </a:p>
        </p:txBody>
      </p:sp>
      <p:sp>
        <p:nvSpPr>
          <p:cNvPr id="9" name="Footer Placeholder 3">
            <a:extLst>
              <a:ext uri="{FF2B5EF4-FFF2-40B4-BE49-F238E27FC236}">
                <a16:creationId xmlns:a16="http://schemas.microsoft.com/office/drawing/2014/main" id="{4FD8289E-60DA-49A2-ACD5-817042829A10}"/>
              </a:ext>
            </a:extLst>
          </p:cNvPr>
          <p:cNvSpPr>
            <a:spLocks noGrp="1"/>
          </p:cNvSpPr>
          <p:nvPr>
            <p:ph type="ftr" sz="quarter" idx="11"/>
          </p:nvPr>
        </p:nvSpPr>
        <p:spPr>
          <a:xfrm>
            <a:off x="1340532" y="6356351"/>
            <a:ext cx="2823179" cy="365125"/>
          </a:xfrm>
        </p:spPr>
        <p:txBody>
          <a:bodyPr/>
          <a:lstStyle/>
          <a:p>
            <a:r>
              <a:rPr lang="en-US">
                <a:solidFill>
                  <a:schemeClr val="tx2"/>
                </a:solidFill>
              </a:rPr>
              <a:t>|</a:t>
            </a:r>
            <a:r>
              <a:rPr lang="en-US"/>
              <a:t>  </a:t>
            </a:r>
            <a:r>
              <a:rPr lang="en-US">
                <a:solidFill>
                  <a:schemeClr val="bg1"/>
                </a:solidFill>
              </a:rPr>
              <a:t>Footer</a:t>
            </a:r>
          </a:p>
        </p:txBody>
      </p:sp>
      <p:pic>
        <p:nvPicPr>
          <p:cNvPr id="11" name="Graphic 10">
            <a:extLst>
              <a:ext uri="{FF2B5EF4-FFF2-40B4-BE49-F238E27FC236}">
                <a16:creationId xmlns:a16="http://schemas.microsoft.com/office/drawing/2014/main" id="{B1B20BC1-BF3E-48DF-8D38-782E26BEB7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209079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Engage CTA">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10" name="Text Placeholder 9">
            <a:extLst>
              <a:ext uri="{FF2B5EF4-FFF2-40B4-BE49-F238E27FC236}">
                <a16:creationId xmlns:a16="http://schemas.microsoft.com/office/drawing/2014/main" id="{DB6FC22D-6295-4A49-BC29-503E7C2A5F37}"/>
              </a:ext>
            </a:extLst>
          </p:cNvPr>
          <p:cNvSpPr>
            <a:spLocks noGrp="1"/>
          </p:cNvSpPr>
          <p:nvPr>
            <p:ph type="body" sz="quarter" idx="10"/>
          </p:nvPr>
        </p:nvSpPr>
        <p:spPr>
          <a:xfrm>
            <a:off x="5723348" y="736600"/>
            <a:ext cx="5960653" cy="4150784"/>
          </a:xfrm>
        </p:spPr>
        <p:txBody>
          <a:bodyPr>
            <a:normAutofit/>
          </a:bodyPr>
          <a:lstStyle>
            <a:lvl1pPr marL="0" indent="383108">
              <a:spcAft>
                <a:spcPts val="2400"/>
              </a:spcAft>
              <a:buFontTx/>
              <a:buBlip>
                <a:blip r:embed="rId3"/>
              </a:buBlip>
              <a:tabLst/>
              <a:defRPr sz="2133">
                <a:solidFill>
                  <a:schemeClr val="accent5"/>
                </a:solidFill>
                <a:latin typeface="+mn-lt"/>
              </a:defRPr>
            </a:lvl1pPr>
            <a:lvl2pPr marL="0" indent="383108">
              <a:spcAft>
                <a:spcPts val="2400"/>
              </a:spcAft>
              <a:buFontTx/>
              <a:buBlip>
                <a:blip r:embed="rId3"/>
              </a:buBlip>
              <a:tabLst/>
              <a:defRPr sz="2133">
                <a:solidFill>
                  <a:schemeClr val="accent5"/>
                </a:solidFill>
                <a:latin typeface="+mn-lt"/>
              </a:defRPr>
            </a:lvl2pPr>
            <a:lvl3pPr marL="0" indent="383108">
              <a:spcAft>
                <a:spcPts val="2400"/>
              </a:spcAft>
              <a:buFontTx/>
              <a:buBlip>
                <a:blip r:embed="rId3"/>
              </a:buBlip>
              <a:tabLst/>
              <a:defRPr sz="2133">
                <a:solidFill>
                  <a:schemeClr val="accent5"/>
                </a:solidFill>
                <a:latin typeface="+mn-lt"/>
              </a:defRPr>
            </a:lvl3pPr>
            <a:lvl4pPr marL="0" indent="383108">
              <a:spcAft>
                <a:spcPts val="2400"/>
              </a:spcAft>
              <a:buFontTx/>
              <a:buBlip>
                <a:blip r:embed="rId3"/>
              </a:buBlip>
              <a:tabLst/>
              <a:defRPr sz="2133">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382646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7531181"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6016579" y="2019357"/>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5551891" y="5442395"/>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5551891" y="5367695"/>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spTree>
    <p:extLst>
      <p:ext uri="{BB962C8B-B14F-4D97-AF65-F5344CB8AC3E}">
        <p14:creationId xmlns:p14="http://schemas.microsoft.com/office/powerpoint/2010/main" val="260046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65" name="Group 64">
            <a:extLst>
              <a:ext uri="{FF2B5EF4-FFF2-40B4-BE49-F238E27FC236}">
                <a16:creationId xmlns:a16="http://schemas.microsoft.com/office/drawing/2014/main" id="{CC0EE77F-062F-7044-B649-E334A4557711}"/>
              </a:ext>
            </a:extLst>
          </p:cNvPr>
          <p:cNvGrpSpPr/>
          <p:nvPr userDrawn="1"/>
        </p:nvGrpSpPr>
        <p:grpSpPr>
          <a:xfrm>
            <a:off x="5551891" y="1"/>
            <a:ext cx="7959877" cy="7591636"/>
            <a:chOff x="7994577" y="0"/>
            <a:chExt cx="11462017" cy="10932307"/>
          </a:xfrm>
        </p:grpSpPr>
        <p:grpSp>
          <p:nvGrpSpPr>
            <p:cNvPr id="8" name="Circle">
              <a:extLst>
                <a:ext uri="{FF2B5EF4-FFF2-40B4-BE49-F238E27FC236}">
                  <a16:creationId xmlns:a16="http://schemas.microsoft.com/office/drawing/2014/main" id="{4970906B-47AF-9543-A23B-58EC8065A7D2}"/>
                </a:ext>
              </a:extLst>
            </p:cNvPr>
            <p:cNvGrpSpPr/>
            <p:nvPr userDrawn="1"/>
          </p:nvGrpSpPr>
          <p:grpSpPr>
            <a:xfrm>
              <a:off x="9956627" y="1432340"/>
              <a:ext cx="9499967" cy="9499967"/>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14" name="one lump">
              <a:extLst>
                <a:ext uri="{FF2B5EF4-FFF2-40B4-BE49-F238E27FC236}">
                  <a16:creationId xmlns:a16="http://schemas.microsoft.com/office/drawing/2014/main" id="{4CA3D591-3B0F-8948-88A0-ACCBF374FB5D}"/>
                </a:ext>
              </a:extLst>
            </p:cNvPr>
            <p:cNvGrpSpPr/>
            <p:nvPr userDrawn="1"/>
          </p:nvGrpSpPr>
          <p:grpSpPr>
            <a:xfrm rot="10800000">
              <a:off x="14016662" y="0"/>
              <a:ext cx="3562164" cy="4398387"/>
              <a:chOff x="2328672" y="2862072"/>
              <a:chExt cx="1847682" cy="2281428"/>
            </a:xfrm>
          </p:grpSpPr>
          <p:sp>
            <p:nvSpPr>
              <p:cNvPr id="15" name="Graphic 6" hidden="1">
                <a:extLst>
                  <a:ext uri="{FF2B5EF4-FFF2-40B4-BE49-F238E27FC236}">
                    <a16:creationId xmlns:a16="http://schemas.microsoft.com/office/drawing/2014/main" id="{918EB62E-DBF3-B948-B499-9E979886B8C6}"/>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16" name="Graphic 6">
                <a:extLst>
                  <a:ext uri="{FF2B5EF4-FFF2-40B4-BE49-F238E27FC236}">
                    <a16:creationId xmlns:a16="http://schemas.microsoft.com/office/drawing/2014/main" id="{216FA2DA-94DF-9540-9EB3-655F51D1AC9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37" name="4 Xs">
              <a:extLst>
                <a:ext uri="{FF2B5EF4-FFF2-40B4-BE49-F238E27FC236}">
                  <a16:creationId xmlns:a16="http://schemas.microsoft.com/office/drawing/2014/main" id="{2428E0FC-1648-9543-BAF3-57967B99CAF3}"/>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38" name="Graphic 37">
                <a:extLst>
                  <a:ext uri="{FF2B5EF4-FFF2-40B4-BE49-F238E27FC236}">
                    <a16:creationId xmlns:a16="http://schemas.microsoft.com/office/drawing/2014/main" id="{890E5B45-35A6-E24C-892F-F944E2F1576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39" name="Graphic 37">
                <a:extLst>
                  <a:ext uri="{FF2B5EF4-FFF2-40B4-BE49-F238E27FC236}">
                    <a16:creationId xmlns:a16="http://schemas.microsoft.com/office/drawing/2014/main" id="{4C913FCA-D8CF-0544-8BEA-D9483D1026D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0" name="Graphic 37">
                <a:extLst>
                  <a:ext uri="{FF2B5EF4-FFF2-40B4-BE49-F238E27FC236}">
                    <a16:creationId xmlns:a16="http://schemas.microsoft.com/office/drawing/2014/main" id="{FE4A9092-A59B-2B4B-992A-B70F0727CE4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1" name="Graphic 37">
                <a:extLst>
                  <a:ext uri="{FF2B5EF4-FFF2-40B4-BE49-F238E27FC236}">
                    <a16:creationId xmlns:a16="http://schemas.microsoft.com/office/drawing/2014/main" id="{8885AE4E-A2DB-B34B-9080-690ED54CEB4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323898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35" name="4 Xs">
            <a:extLst>
              <a:ext uri="{FF2B5EF4-FFF2-40B4-BE49-F238E27FC236}">
                <a16:creationId xmlns:a16="http://schemas.microsoft.com/office/drawing/2014/main" id="{6B49B282-FF20-8449-BA31-484C4E7A5229}"/>
              </a:ext>
            </a:extLst>
          </p:cNvPr>
          <p:cNvGrpSpPr/>
          <p:nvPr userDrawn="1"/>
        </p:nvGrpSpPr>
        <p:grpSpPr>
          <a:xfrm>
            <a:off x="10281533" y="2246882"/>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3" y="5548188"/>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grpSp>
      <p:grpSp>
        <p:nvGrpSpPr>
          <p:cNvPr id="44" name="waves">
            <a:extLst>
              <a:ext uri="{FF2B5EF4-FFF2-40B4-BE49-F238E27FC236}">
                <a16:creationId xmlns:a16="http://schemas.microsoft.com/office/drawing/2014/main" id="{3E36DA55-C2AD-DB4B-B056-C8D8A465ACBC}"/>
              </a:ext>
            </a:extLst>
          </p:cNvPr>
          <p:cNvGrpSpPr/>
          <p:nvPr userDrawn="1"/>
        </p:nvGrpSpPr>
        <p:grpSpPr>
          <a:xfrm>
            <a:off x="6096001" y="4542732"/>
            <a:ext cx="7779727" cy="2330729"/>
            <a:chOff x="4253152" y="151074"/>
            <a:chExt cx="6930220" cy="2076330"/>
          </a:xfrm>
        </p:grpSpPr>
        <p:sp>
          <p:nvSpPr>
            <p:cNvPr id="45" name="coral">
              <a:extLst>
                <a:ext uri="{FF2B5EF4-FFF2-40B4-BE49-F238E27FC236}">
                  <a16:creationId xmlns:a16="http://schemas.microsoft.com/office/drawing/2014/main" id="{2D6DBFE9-65EF-3D48-B26A-C68DFA974FD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Source Sans Pro" panose="020B0503030403020204" pitchFamily="34" charset="0"/>
              </a:endParaRPr>
            </a:p>
          </p:txBody>
        </p:sp>
        <p:sp>
          <p:nvSpPr>
            <p:cNvPr id="46" name="green">
              <a:extLst>
                <a:ext uri="{FF2B5EF4-FFF2-40B4-BE49-F238E27FC236}">
                  <a16:creationId xmlns:a16="http://schemas.microsoft.com/office/drawing/2014/main" id="{2C2D7C0F-291B-4C40-BA4D-FEDF4CBE20C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latin typeface="Source Sans Pro" panose="020B0503030403020204" pitchFamily="34" charset="0"/>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0"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gr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66"/>
            <a:ext cx="6980716" cy="1111535"/>
          </a:xfrm>
          <a:prstGeom prst="rect">
            <a:avLst/>
          </a:prstGeom>
        </p:spPr>
        <p:txBody>
          <a:bodyPr anchor="ctr" anchorCtr="0">
            <a:normAutofit/>
          </a:bodyPr>
          <a:lstStyle>
            <a:lvl1pPr algn="l">
              <a:defRPr sz="4583">
                <a:solidFill>
                  <a:schemeClr val="accent5"/>
                </a:solidFill>
                <a:latin typeface="Source Sans Pro" panose="020B0503030403020204" pitchFamily="34" charset="0"/>
              </a:defRPr>
            </a:lvl1pPr>
          </a:lstStyle>
          <a:p>
            <a:r>
              <a:rPr lang="en-US" dirty="0"/>
              <a:t>First Last</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5" y="3826100"/>
            <a:ext cx="6875983" cy="532587"/>
          </a:xfrm>
          <a:prstGeom prst="rect">
            <a:avLst/>
          </a:prstGeom>
        </p:spPr>
        <p:txBody>
          <a:bodyPr/>
          <a:lstStyle>
            <a:lvl1pPr marL="0" indent="0" algn="l">
              <a:buNone/>
              <a:defRPr sz="2400">
                <a:solidFill>
                  <a:schemeClr val="bg2"/>
                </a:solidFill>
                <a:latin typeface="Source Sans Pro" panose="020B0503030403020204" pitchFamily="34" charset="0"/>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Title, Company</a:t>
            </a:r>
          </a:p>
        </p:txBody>
      </p:sp>
      <p:pic>
        <p:nvPicPr>
          <p:cNvPr id="6" name="Picture 5">
            <a:extLst>
              <a:ext uri="{FF2B5EF4-FFF2-40B4-BE49-F238E27FC236}">
                <a16:creationId xmlns:a16="http://schemas.microsoft.com/office/drawing/2014/main" id="{513E09BB-3A34-7645-AFFB-D25C8E2D5F72}"/>
              </a:ext>
            </a:extLst>
          </p:cNvPr>
          <p:cNvPicPr>
            <a:picLocks noChangeAspect="1"/>
          </p:cNvPicPr>
          <p:nvPr userDrawn="1"/>
        </p:nvPicPr>
        <p:blipFill>
          <a:blip r:embed="rId2"/>
          <a:stretch>
            <a:fillRect/>
          </a:stretch>
        </p:blipFill>
        <p:spPr>
          <a:xfrm>
            <a:off x="508229" y="563421"/>
            <a:ext cx="927403" cy="927401"/>
          </a:xfrm>
          <a:prstGeom prst="rect">
            <a:avLst/>
          </a:prstGeom>
        </p:spPr>
      </p:pic>
      <p:grpSp>
        <p:nvGrpSpPr>
          <p:cNvPr id="7" name="Photo">
            <a:extLst>
              <a:ext uri="{FF2B5EF4-FFF2-40B4-BE49-F238E27FC236}">
                <a16:creationId xmlns:a16="http://schemas.microsoft.com/office/drawing/2014/main" id="{2199EC45-4F3B-724E-97CC-7FC956B4B86B}"/>
              </a:ext>
            </a:extLst>
          </p:cNvPr>
          <p:cNvGrpSpPr/>
          <p:nvPr userDrawn="1"/>
        </p:nvGrpSpPr>
        <p:grpSpPr>
          <a:xfrm>
            <a:off x="1209262" y="1953610"/>
            <a:ext cx="2952036" cy="2951885"/>
            <a:chOff x="2925896" y="913502"/>
            <a:chExt cx="3630630" cy="3630630"/>
          </a:xfrm>
        </p:grpSpPr>
        <p:sp>
          <p:nvSpPr>
            <p:cNvPr id="8" name="Oval 7">
              <a:extLst>
                <a:ext uri="{FF2B5EF4-FFF2-40B4-BE49-F238E27FC236}">
                  <a16:creationId xmlns:a16="http://schemas.microsoft.com/office/drawing/2014/main" id="{3F3B23D8-7258-B541-90BD-1AD09EC73516}"/>
                </a:ext>
              </a:extLst>
            </p:cNvPr>
            <p:cNvSpPr/>
            <p:nvPr/>
          </p:nvSpPr>
          <p:spPr>
            <a:xfrm>
              <a:off x="2925896" y="913502"/>
              <a:ext cx="3630630" cy="3630630"/>
            </a:xfrm>
            <a:prstGeom prst="ellipse">
              <a:avLst/>
            </a:prstGeom>
            <a:gradFill flip="none" rotWithShape="1">
              <a:gsLst>
                <a:gs pos="0">
                  <a:srgbClr val="4D80A4"/>
                </a:gs>
                <a:gs pos="72000">
                  <a:srgbClr val="22415F"/>
                </a:gs>
                <a:gs pos="99000">
                  <a:schemeClr val="tx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8070" rtl="0" eaLnBrk="1" fontAlgn="auto" latinLnBrk="0" hangingPunct="1">
                <a:lnSpc>
                  <a:spcPct val="100000"/>
                </a:lnSpc>
                <a:spcBef>
                  <a:spcPts val="0"/>
                </a:spcBef>
                <a:spcAft>
                  <a:spcPts val="0"/>
                </a:spcAft>
                <a:buClrTx/>
                <a:buSzTx/>
                <a:buFontTx/>
                <a:buNone/>
                <a:tabLst/>
                <a:defRPr/>
              </a:pPr>
              <a:endParaRPr kumimoji="0" lang="en-US" sz="740" u="none" strike="noStrike" kern="1200" cap="none" spc="0" normalizeH="0" baseline="0" noProof="0" dirty="0">
                <a:ln>
                  <a:noFill/>
                </a:ln>
                <a:solidFill>
                  <a:srgbClr val="F8F3EF"/>
                </a:solidFill>
                <a:effectLst/>
                <a:uLnTx/>
                <a:uFillTx/>
                <a:latin typeface="Source Sans Pro" panose="020B0503030403020204" pitchFamily="34" charset="0"/>
                <a:ea typeface="+mn-ea"/>
                <a:cs typeface="+mn-cs"/>
              </a:endParaRPr>
            </a:p>
          </p:txBody>
        </p:sp>
        <p:pic>
          <p:nvPicPr>
            <p:cNvPr id="9" name="Picture 8">
              <a:extLst>
                <a:ext uri="{FF2B5EF4-FFF2-40B4-BE49-F238E27FC236}">
                  <a16:creationId xmlns:a16="http://schemas.microsoft.com/office/drawing/2014/main" id="{309D3969-35AE-BA42-959F-89CC45BB343C}"/>
                </a:ext>
              </a:extLst>
            </p:cNvPr>
            <p:cNvPicPr>
              <a:picLocks noChangeAspect="1"/>
            </p:cNvPicPr>
            <p:nvPr/>
          </p:nvPicPr>
          <p:blipFill rotWithShape="1">
            <a:blip r:embed="rId3"/>
            <a:srcRect l="5686" t="25971" r="24859" b="20353"/>
            <a:stretch/>
          </p:blipFill>
          <p:spPr>
            <a:xfrm>
              <a:off x="2925896" y="913502"/>
              <a:ext cx="3630630" cy="3630630"/>
            </a:xfrm>
            <a:prstGeom prst="ellipse">
              <a:avLst/>
            </a:prstGeom>
          </p:spPr>
        </p:pic>
      </p:grpSp>
    </p:spTree>
    <p:extLst>
      <p:ext uri="{BB962C8B-B14F-4D97-AF65-F5344CB8AC3E}">
        <p14:creationId xmlns:p14="http://schemas.microsoft.com/office/powerpoint/2010/main" val="190440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decel="50000" fill="hold" nodeType="withEffect">
                                  <p:stCondLst>
                                    <p:cond delay="0"/>
                                  </p:stCondLst>
                                  <p:childTnLst>
                                    <p:animScale>
                                      <p:cBhvr>
                                        <p:cTn id="9" dur="5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2_Divid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71486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Divider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20016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 preserve="1">
  <p:cSld name="1_Divider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tx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1">
                  <a:lumMod val="60000"/>
                  <a:lumOff val="40000"/>
                </a:schemeClr>
              </a:gs>
              <a:gs pos="100000">
                <a:schemeClr val="accent3">
                  <a:lumMod val="40000"/>
                  <a:lumOff val="60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44" name="Group 43">
            <a:extLst>
              <a:ext uri="{FF2B5EF4-FFF2-40B4-BE49-F238E27FC236}">
                <a16:creationId xmlns:a16="http://schemas.microsoft.com/office/drawing/2014/main" id="{9F385DED-ED43-A743-AE64-BC03522DC7DC}"/>
              </a:ext>
            </a:extLst>
          </p:cNvPr>
          <p:cNvGrpSpPr/>
          <p:nvPr userDrawn="1"/>
        </p:nvGrpSpPr>
        <p:grpSpPr>
          <a:xfrm>
            <a:off x="-733314" y="5049600"/>
            <a:ext cx="19125951" cy="1808401"/>
            <a:chOff x="7994577" y="7729729"/>
            <a:chExt cx="9753466" cy="2185140"/>
          </a:xfrm>
        </p:grpSpPr>
        <p:sp>
          <p:nvSpPr>
            <p:cNvPr id="45" name="Graphic 56">
              <a:extLst>
                <a:ext uri="{FF2B5EF4-FFF2-40B4-BE49-F238E27FC236}">
                  <a16:creationId xmlns:a16="http://schemas.microsoft.com/office/drawing/2014/main" id="{3FA4DCE2-42D3-F848-9A47-7D27C5A6AF7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46" name="Graphic 61">
              <a:extLst>
                <a:ext uri="{FF2B5EF4-FFF2-40B4-BE49-F238E27FC236}">
                  <a16:creationId xmlns:a16="http://schemas.microsoft.com/office/drawing/2014/main" id="{329069BE-19D3-3845-8A43-23C29D6BB37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95116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6" name="Group 5">
            <a:extLst>
              <a:ext uri="{FF2B5EF4-FFF2-40B4-BE49-F238E27FC236}">
                <a16:creationId xmlns:a16="http://schemas.microsoft.com/office/drawing/2014/main" id="{D76051AA-9C2D-8C43-AF09-1E6B18B30A5D}"/>
              </a:ext>
            </a:extLst>
          </p:cNvPr>
          <p:cNvGrpSpPr/>
          <p:nvPr userDrawn="1"/>
        </p:nvGrpSpPr>
        <p:grpSpPr>
          <a:xfrm>
            <a:off x="-733314" y="5049600"/>
            <a:ext cx="19125951" cy="1808401"/>
            <a:chOff x="7994577" y="7729729"/>
            <a:chExt cx="9753466" cy="2185140"/>
          </a:xfrm>
        </p:grpSpPr>
        <p:sp>
          <p:nvSpPr>
            <p:cNvPr id="7" name="Graphic 56">
              <a:extLst>
                <a:ext uri="{FF2B5EF4-FFF2-40B4-BE49-F238E27FC236}">
                  <a16:creationId xmlns:a16="http://schemas.microsoft.com/office/drawing/2014/main" id="{F3C9DC2F-356D-DD47-AD36-0F2AA59DC60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8" name="Graphic 61">
              <a:extLst>
                <a:ext uri="{FF2B5EF4-FFF2-40B4-BE49-F238E27FC236}">
                  <a16:creationId xmlns:a16="http://schemas.microsoft.com/office/drawing/2014/main" id="{5D6171E4-29D4-DB41-B1FB-920130A16DAC}"/>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593549036"/>
      </p:ext>
    </p:extLst>
  </p:cSld>
  <p:clrMapOvr>
    <a:masterClrMapping/>
  </p:clrMapOvr>
  <p:transition spd="slow">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grpSp>
        <p:nvGrpSpPr>
          <p:cNvPr id="56" name="dot and strokes">
            <a:extLst>
              <a:ext uri="{FF2B5EF4-FFF2-40B4-BE49-F238E27FC236}">
                <a16:creationId xmlns:a16="http://schemas.microsoft.com/office/drawing/2014/main" id="{777B85B1-2E82-5D42-B38D-7114B297ECC0}"/>
              </a:ext>
            </a:extLst>
          </p:cNvPr>
          <p:cNvGrpSpPr/>
          <p:nvPr userDrawn="1"/>
        </p:nvGrpSpPr>
        <p:grpSpPr>
          <a:xfrm>
            <a:off x="389550" y="4724217"/>
            <a:ext cx="1015173" cy="2143992"/>
            <a:chOff x="8220065" y="840135"/>
            <a:chExt cx="539621" cy="1139708"/>
          </a:xfrm>
          <a:gradFill>
            <a:gsLst>
              <a:gs pos="100000">
                <a:srgbClr val="F9F8F6">
                  <a:alpha val="0"/>
                </a:srgbClr>
              </a:gs>
              <a:gs pos="0">
                <a:srgbClr val="F9F8F6">
                  <a:alpha val="14955"/>
                </a:srgbClr>
              </a:gs>
            </a:gsLst>
            <a:lin ang="16200000" scaled="1"/>
          </a:gradFill>
        </p:grpSpPr>
        <p:sp>
          <p:nvSpPr>
            <p:cNvPr id="57" name="Graphic 43">
              <a:extLst>
                <a:ext uri="{FF2B5EF4-FFF2-40B4-BE49-F238E27FC236}">
                  <a16:creationId xmlns:a16="http://schemas.microsoft.com/office/drawing/2014/main" id="{0F90D69D-036E-9E44-8CA4-05F80CD58109}"/>
                </a:ext>
              </a:extLst>
            </p:cNvPr>
            <p:cNvSpPr/>
            <p:nvPr/>
          </p:nvSpPr>
          <p:spPr>
            <a:xfrm>
              <a:off x="8220065" y="840135"/>
              <a:ext cx="117197" cy="1139708"/>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pFill/>
            <a:ln w="6872" cap="flat">
              <a:noFill/>
              <a:prstDash val="solid"/>
              <a:miter/>
            </a:ln>
          </p:spPr>
          <p:txBody>
            <a:bodyPr rtlCol="0" anchor="ctr"/>
            <a:lstStyle/>
            <a:p>
              <a:endParaRPr lang="en-US" sz="1249"/>
            </a:p>
          </p:txBody>
        </p:sp>
        <p:sp>
          <p:nvSpPr>
            <p:cNvPr id="58" name="Graphic 43">
              <a:extLst>
                <a:ext uri="{FF2B5EF4-FFF2-40B4-BE49-F238E27FC236}">
                  <a16:creationId xmlns:a16="http://schemas.microsoft.com/office/drawing/2014/main" id="{262D4C59-3E26-F149-B57B-1CA347E5F237}"/>
                </a:ext>
              </a:extLst>
            </p:cNvPr>
            <p:cNvSpPr/>
            <p:nvPr/>
          </p:nvSpPr>
          <p:spPr>
            <a:xfrm>
              <a:off x="8431277" y="904252"/>
              <a:ext cx="117197" cy="1075591"/>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pFill/>
            <a:ln w="6872" cap="flat">
              <a:noFill/>
              <a:prstDash val="solid"/>
              <a:miter/>
            </a:ln>
          </p:spPr>
          <p:txBody>
            <a:bodyPr rtlCol="0" anchor="ctr"/>
            <a:lstStyle/>
            <a:p>
              <a:endParaRPr lang="en-US" sz="1249"/>
            </a:p>
          </p:txBody>
        </p:sp>
        <p:sp>
          <p:nvSpPr>
            <p:cNvPr id="59" name="Graphic 43">
              <a:extLst>
                <a:ext uri="{FF2B5EF4-FFF2-40B4-BE49-F238E27FC236}">
                  <a16:creationId xmlns:a16="http://schemas.microsoft.com/office/drawing/2014/main" id="{3BA89126-75DF-AF40-AEB6-F04F1BC8C6CC}"/>
                </a:ext>
              </a:extLst>
            </p:cNvPr>
            <p:cNvSpPr/>
            <p:nvPr/>
          </p:nvSpPr>
          <p:spPr>
            <a:xfrm>
              <a:off x="8642488" y="988262"/>
              <a:ext cx="117198" cy="99158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pFill/>
            <a:ln w="6872" cap="flat">
              <a:noFill/>
              <a:prstDash val="solid"/>
              <a:miter/>
            </a:ln>
          </p:spPr>
          <p:txBody>
            <a:bodyPr rtlCol="0" anchor="ctr"/>
            <a:lstStyle/>
            <a:p>
              <a:endParaRPr lang="en-US" sz="1249"/>
            </a:p>
          </p:txBody>
        </p:sp>
      </p:grpSp>
      <p:sp>
        <p:nvSpPr>
          <p:cNvPr id="41" name="!!Title 1">
            <a:extLst>
              <a:ext uri="{FF2B5EF4-FFF2-40B4-BE49-F238E27FC236}">
                <a16:creationId xmlns:a16="http://schemas.microsoft.com/office/drawing/2014/main" id="{20CCBE6A-1302-704E-9371-712B8AF5B5B1}"/>
              </a:ext>
            </a:extLst>
          </p:cNvPr>
          <p:cNvSpPr txBox="1">
            <a:spLocks/>
          </p:cNvSpPr>
          <p:nvPr userDrawn="1"/>
        </p:nvSpPr>
        <p:spPr>
          <a:xfrm>
            <a:off x="542903" y="538142"/>
            <a:ext cx="2771799" cy="854849"/>
          </a:xfrm>
          <a:prstGeom prst="rect">
            <a:avLst/>
          </a:prstGeom>
        </p:spPr>
        <p:txBody>
          <a:bodyPr vert="horz" wrap="square" lIns="0" tIns="0" rIns="0" bIns="0" rtlCol="0" anchor="t" anchorCtr="0">
            <a:spAutoFit/>
          </a:bodyPr>
          <a:lstStyle>
            <a:lvl1pPr algn="l" defTabSz="685800" rtl="0" eaLnBrk="1" latinLnBrk="0" hangingPunct="1">
              <a:lnSpc>
                <a:spcPct val="90000"/>
              </a:lnSpc>
              <a:spcBef>
                <a:spcPct val="0"/>
              </a:spcBef>
              <a:buNone/>
              <a:defRPr sz="2800" b="1" i="0" kern="1200">
                <a:solidFill>
                  <a:schemeClr val="tx1"/>
                </a:solidFill>
                <a:latin typeface="+mj-lt"/>
                <a:ea typeface="+mj-ea"/>
                <a:cs typeface="+mj-cs"/>
              </a:defRPr>
            </a:lvl1pPr>
          </a:lstStyle>
          <a:p>
            <a:pPr marL="0" marR="0" lvl="0" indent="0" algn="l" defTabSz="914318" rtl="0" eaLnBrk="1" fontAlgn="auto" latinLnBrk="0" hangingPunct="1">
              <a:lnSpc>
                <a:spcPct val="100000"/>
              </a:lnSpc>
              <a:spcBef>
                <a:spcPct val="0"/>
              </a:spcBef>
              <a:spcAft>
                <a:spcPts val="0"/>
              </a:spcAft>
              <a:buClrTx/>
              <a:buSzTx/>
              <a:buFontTx/>
              <a:buNone/>
              <a:tabLst/>
              <a:defRPr/>
            </a:pPr>
            <a:r>
              <a:rPr kumimoji="0" lang="en-US" sz="5555" b="1" i="0" u="none" strike="noStrike" kern="1200" cap="none" spc="0" normalizeH="0" baseline="0" noProof="0" dirty="0">
                <a:ln>
                  <a:noFill/>
                </a:ln>
                <a:solidFill>
                  <a:srgbClr val="F8F3EF"/>
                </a:solidFill>
                <a:effectLst/>
                <a:uLnTx/>
                <a:uFillTx/>
                <a:latin typeface="+mn-lt"/>
                <a:ea typeface="+mj-ea"/>
                <a:cs typeface="+mj-cs"/>
              </a:rPr>
              <a:t>Agenda</a:t>
            </a:r>
          </a:p>
        </p:txBody>
      </p:sp>
      <p:grpSp>
        <p:nvGrpSpPr>
          <p:cNvPr id="4" name="Group 3">
            <a:extLst>
              <a:ext uri="{FF2B5EF4-FFF2-40B4-BE49-F238E27FC236}">
                <a16:creationId xmlns:a16="http://schemas.microsoft.com/office/drawing/2014/main" id="{4BFCADD9-4881-604B-8EB8-6C1A2638D8E7}"/>
              </a:ext>
            </a:extLst>
          </p:cNvPr>
          <p:cNvGrpSpPr/>
          <p:nvPr userDrawn="1"/>
        </p:nvGrpSpPr>
        <p:grpSpPr>
          <a:xfrm>
            <a:off x="4172707" y="807293"/>
            <a:ext cx="7511064" cy="5370624"/>
            <a:chOff x="3147293" y="773464"/>
            <a:chExt cx="5029200" cy="3596201"/>
          </a:xfrm>
        </p:grpSpPr>
        <p:grpSp>
          <p:nvGrpSpPr>
            <p:cNvPr id="16" name="Group 15">
              <a:extLst>
                <a:ext uri="{FF2B5EF4-FFF2-40B4-BE49-F238E27FC236}">
                  <a16:creationId xmlns:a16="http://schemas.microsoft.com/office/drawing/2014/main" id="{70E88F39-C460-2540-9D74-F35CBBFA4E98}"/>
                </a:ext>
              </a:extLst>
            </p:cNvPr>
            <p:cNvGrpSpPr/>
            <p:nvPr userDrawn="1"/>
          </p:nvGrpSpPr>
          <p:grpSpPr>
            <a:xfrm>
              <a:off x="3147293" y="773464"/>
              <a:ext cx="5029200" cy="444441"/>
              <a:chOff x="3289965" y="773464"/>
              <a:chExt cx="5029200" cy="444441"/>
            </a:xfrm>
          </p:grpSpPr>
          <p:sp>
            <p:nvSpPr>
              <p:cNvPr id="17" name="Rectangle 16">
                <a:extLst>
                  <a:ext uri="{FF2B5EF4-FFF2-40B4-BE49-F238E27FC236}">
                    <a16:creationId xmlns:a16="http://schemas.microsoft.com/office/drawing/2014/main" id="{5DF7AB99-02BE-5943-B626-BE44176C382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18" name="Rectangle 17">
                <a:extLst>
                  <a:ext uri="{FF2B5EF4-FFF2-40B4-BE49-F238E27FC236}">
                    <a16:creationId xmlns:a16="http://schemas.microsoft.com/office/drawing/2014/main" id="{FEEA5CC3-760F-3A45-986F-7390E5F15629}"/>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19" name="Straight Connector 18">
                <a:extLst>
                  <a:ext uri="{FF2B5EF4-FFF2-40B4-BE49-F238E27FC236}">
                    <a16:creationId xmlns:a16="http://schemas.microsoft.com/office/drawing/2014/main" id="{ACDE1167-B544-2F44-A630-23A8276B4E38}"/>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5BE498E3-0F9B-D548-8B27-BC6DF4EC9B8B}"/>
                </a:ext>
              </a:extLst>
            </p:cNvPr>
            <p:cNvGrpSpPr/>
            <p:nvPr userDrawn="1"/>
          </p:nvGrpSpPr>
          <p:grpSpPr>
            <a:xfrm>
              <a:off x="3147293" y="1298757"/>
              <a:ext cx="5029200" cy="444441"/>
              <a:chOff x="3289965" y="773464"/>
              <a:chExt cx="5029200" cy="444441"/>
            </a:xfrm>
          </p:grpSpPr>
          <p:sp>
            <p:nvSpPr>
              <p:cNvPr id="21" name="Rectangle 20">
                <a:extLst>
                  <a:ext uri="{FF2B5EF4-FFF2-40B4-BE49-F238E27FC236}">
                    <a16:creationId xmlns:a16="http://schemas.microsoft.com/office/drawing/2014/main" id="{DCDA2227-6D8F-AC43-B17C-0F496F95681F}"/>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2" name="Rectangle 21">
                <a:extLst>
                  <a:ext uri="{FF2B5EF4-FFF2-40B4-BE49-F238E27FC236}">
                    <a16:creationId xmlns:a16="http://schemas.microsoft.com/office/drawing/2014/main" id="{CDBE0476-A6EC-DF44-ABDA-BE99371562B6}"/>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3" name="Straight Connector 22">
                <a:extLst>
                  <a:ext uri="{FF2B5EF4-FFF2-40B4-BE49-F238E27FC236}">
                    <a16:creationId xmlns:a16="http://schemas.microsoft.com/office/drawing/2014/main" id="{2CBE9C63-E0CE-2E43-8C2E-C35ADF208BB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8D8D7322-B958-964E-8B8C-9192588194CA}"/>
                </a:ext>
              </a:extLst>
            </p:cNvPr>
            <p:cNvGrpSpPr/>
            <p:nvPr userDrawn="1"/>
          </p:nvGrpSpPr>
          <p:grpSpPr>
            <a:xfrm>
              <a:off x="3147293" y="1824051"/>
              <a:ext cx="5029200" cy="444441"/>
              <a:chOff x="3289965" y="773464"/>
              <a:chExt cx="5029200" cy="444441"/>
            </a:xfrm>
          </p:grpSpPr>
          <p:sp>
            <p:nvSpPr>
              <p:cNvPr id="25" name="Rectangle 24">
                <a:extLst>
                  <a:ext uri="{FF2B5EF4-FFF2-40B4-BE49-F238E27FC236}">
                    <a16:creationId xmlns:a16="http://schemas.microsoft.com/office/drawing/2014/main" id="{C791330F-BDF6-2E49-85E0-1C48472A201B}"/>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6" name="Rectangle 25">
                <a:extLst>
                  <a:ext uri="{FF2B5EF4-FFF2-40B4-BE49-F238E27FC236}">
                    <a16:creationId xmlns:a16="http://schemas.microsoft.com/office/drawing/2014/main" id="{5B2F4183-33A8-224A-A443-8F2527418F0C}"/>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7" name="Straight Connector 26">
                <a:extLst>
                  <a:ext uri="{FF2B5EF4-FFF2-40B4-BE49-F238E27FC236}">
                    <a16:creationId xmlns:a16="http://schemas.microsoft.com/office/drawing/2014/main" id="{E9E735A5-C4E1-2F4B-BDED-418827467CAD}"/>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A330632E-6C0F-6C4D-B1FE-F7EDC5F4D184}"/>
                </a:ext>
              </a:extLst>
            </p:cNvPr>
            <p:cNvGrpSpPr/>
            <p:nvPr userDrawn="1"/>
          </p:nvGrpSpPr>
          <p:grpSpPr>
            <a:xfrm>
              <a:off x="3147293" y="2349344"/>
              <a:ext cx="5029200" cy="444441"/>
              <a:chOff x="3289965" y="773464"/>
              <a:chExt cx="5029200" cy="444441"/>
            </a:xfrm>
          </p:grpSpPr>
          <p:sp>
            <p:nvSpPr>
              <p:cNvPr id="29" name="Rectangle 28">
                <a:extLst>
                  <a:ext uri="{FF2B5EF4-FFF2-40B4-BE49-F238E27FC236}">
                    <a16:creationId xmlns:a16="http://schemas.microsoft.com/office/drawing/2014/main" id="{50C1BABE-EBEC-9B4E-9E43-DC7585F46A58}"/>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0" name="Rectangle 29">
                <a:extLst>
                  <a:ext uri="{FF2B5EF4-FFF2-40B4-BE49-F238E27FC236}">
                    <a16:creationId xmlns:a16="http://schemas.microsoft.com/office/drawing/2014/main" id="{5B6F25F9-E801-AB42-BE21-F9E1408A4E0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1" name="Straight Connector 30">
                <a:extLst>
                  <a:ext uri="{FF2B5EF4-FFF2-40B4-BE49-F238E27FC236}">
                    <a16:creationId xmlns:a16="http://schemas.microsoft.com/office/drawing/2014/main" id="{C208CCBF-FCE0-6143-9629-AD31C02BB80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01BBE74D-B5EC-9443-9C9A-4BD991427D8F}"/>
                </a:ext>
              </a:extLst>
            </p:cNvPr>
            <p:cNvGrpSpPr/>
            <p:nvPr userDrawn="1"/>
          </p:nvGrpSpPr>
          <p:grpSpPr>
            <a:xfrm>
              <a:off x="3147293" y="2874637"/>
              <a:ext cx="5029200" cy="444441"/>
              <a:chOff x="3289965" y="773464"/>
              <a:chExt cx="5029200" cy="444441"/>
            </a:xfrm>
          </p:grpSpPr>
          <p:sp>
            <p:nvSpPr>
              <p:cNvPr id="33" name="Rectangle 32">
                <a:extLst>
                  <a:ext uri="{FF2B5EF4-FFF2-40B4-BE49-F238E27FC236}">
                    <a16:creationId xmlns:a16="http://schemas.microsoft.com/office/drawing/2014/main" id="{6C145362-781B-0449-8DA6-5B30A6E1ADD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4" name="Rectangle 33">
                <a:extLst>
                  <a:ext uri="{FF2B5EF4-FFF2-40B4-BE49-F238E27FC236}">
                    <a16:creationId xmlns:a16="http://schemas.microsoft.com/office/drawing/2014/main" id="{C17FE23F-751A-2E43-8393-8780EF906E6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5" name="Straight Connector 34">
                <a:extLst>
                  <a:ext uri="{FF2B5EF4-FFF2-40B4-BE49-F238E27FC236}">
                    <a16:creationId xmlns:a16="http://schemas.microsoft.com/office/drawing/2014/main" id="{AC49855D-1F75-7A44-B1AB-4C19DF741BC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2FCC83A-22AF-3441-B243-A44A4B8146E4}"/>
                </a:ext>
              </a:extLst>
            </p:cNvPr>
            <p:cNvGrpSpPr/>
            <p:nvPr userDrawn="1"/>
          </p:nvGrpSpPr>
          <p:grpSpPr>
            <a:xfrm>
              <a:off x="3147293" y="3393446"/>
              <a:ext cx="5029200" cy="444441"/>
              <a:chOff x="3289965" y="773464"/>
              <a:chExt cx="5029200" cy="444441"/>
            </a:xfrm>
          </p:grpSpPr>
          <p:sp>
            <p:nvSpPr>
              <p:cNvPr id="37" name="Rectangle 36">
                <a:extLst>
                  <a:ext uri="{FF2B5EF4-FFF2-40B4-BE49-F238E27FC236}">
                    <a16:creationId xmlns:a16="http://schemas.microsoft.com/office/drawing/2014/main" id="{1E045387-A767-EA44-8486-5E8171EFA239}"/>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8" name="Rectangle 37">
                <a:extLst>
                  <a:ext uri="{FF2B5EF4-FFF2-40B4-BE49-F238E27FC236}">
                    <a16:creationId xmlns:a16="http://schemas.microsoft.com/office/drawing/2014/main" id="{B8D58236-0418-D747-BAD3-43F04C594E1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9" name="Straight Connector 38">
                <a:extLst>
                  <a:ext uri="{FF2B5EF4-FFF2-40B4-BE49-F238E27FC236}">
                    <a16:creationId xmlns:a16="http://schemas.microsoft.com/office/drawing/2014/main" id="{EBF363B8-2878-2044-B1AC-6737706B5FB3}"/>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B022F0C3-B8F9-7543-98A7-F67CA8C3FD38}"/>
                </a:ext>
              </a:extLst>
            </p:cNvPr>
            <p:cNvGrpSpPr/>
            <p:nvPr userDrawn="1"/>
          </p:nvGrpSpPr>
          <p:grpSpPr>
            <a:xfrm>
              <a:off x="3147293" y="3925224"/>
              <a:ext cx="5029200" cy="444441"/>
              <a:chOff x="3289965" y="773464"/>
              <a:chExt cx="5029200" cy="444441"/>
            </a:xfrm>
          </p:grpSpPr>
          <p:sp>
            <p:nvSpPr>
              <p:cNvPr id="42" name="Rectangle 41">
                <a:extLst>
                  <a:ext uri="{FF2B5EF4-FFF2-40B4-BE49-F238E27FC236}">
                    <a16:creationId xmlns:a16="http://schemas.microsoft.com/office/drawing/2014/main" id="{763C5C9A-E187-414D-B0C1-06E6F2FFC731}"/>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43" name="Rectangle 42">
                <a:extLst>
                  <a:ext uri="{FF2B5EF4-FFF2-40B4-BE49-F238E27FC236}">
                    <a16:creationId xmlns:a16="http://schemas.microsoft.com/office/drawing/2014/main" id="{3ABE93C9-68C2-C84D-83F8-CCF17419700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44" name="Straight Connector 43">
                <a:extLst>
                  <a:ext uri="{FF2B5EF4-FFF2-40B4-BE49-F238E27FC236}">
                    <a16:creationId xmlns:a16="http://schemas.microsoft.com/office/drawing/2014/main" id="{D4DCE20A-7D09-E447-9DF9-7502974647F0}"/>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0" name="one hump">
            <a:extLst>
              <a:ext uri="{FF2B5EF4-FFF2-40B4-BE49-F238E27FC236}">
                <a16:creationId xmlns:a16="http://schemas.microsoft.com/office/drawing/2014/main" id="{21E1BD3D-DFAF-6749-B9A7-D4B5A6014991}"/>
              </a:ext>
            </a:extLst>
          </p:cNvPr>
          <p:cNvSpPr/>
          <p:nvPr userDrawn="1"/>
        </p:nvSpPr>
        <p:spPr>
          <a:xfrm>
            <a:off x="1" y="3995061"/>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1249" dirty="0"/>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800547" y="4071512"/>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20364877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41"/>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BE92D8BB-EA7F-DB42-896F-417FCFEA167C}"/>
              </a:ext>
            </a:extLst>
          </p:cNvPr>
          <p:cNvSpPr/>
          <p:nvPr userDrawn="1"/>
        </p:nvSpPr>
        <p:spPr>
          <a:xfrm flipH="1">
            <a:off x="-1194343" y="3423382"/>
            <a:ext cx="4109992" cy="4109785"/>
          </a:xfrm>
          <a:prstGeom prst="ellipse">
            <a:avLst/>
          </a:prstGeom>
          <a:gradFill flip="none" rotWithShape="1">
            <a:gsLst>
              <a:gs pos="50000">
                <a:schemeClr val="accent1">
                  <a:lumMod val="75000"/>
                  <a:alpha val="18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2" y="5394434"/>
            <a:ext cx="5282068" cy="277804"/>
          </a:xfrm>
        </p:spPr>
        <p:txBody>
          <a:bodyPr>
            <a:noAutofit/>
          </a:bodyPr>
          <a:lstStyle>
            <a:lvl1pPr>
              <a:defRPr sz="2223">
                <a:solidFill>
                  <a:schemeClr val="tx2"/>
                </a:solidFill>
              </a:defRPr>
            </a:lvl1pPr>
          </a:lstStyle>
          <a:p>
            <a:r>
              <a:rPr lang="en-US" dirty="0"/>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2" y="1498157"/>
            <a:ext cx="7386348" cy="3444388"/>
          </a:xfrm>
        </p:spPr>
        <p:txBody>
          <a:bodyPr>
            <a:normAutofit/>
          </a:bodyPr>
          <a:lstStyle>
            <a:lvl1pPr>
              <a:defRPr sz="3333"/>
            </a:lvl1pPr>
          </a:lstStyle>
          <a:p>
            <a:endParaRPr lang="en-US" dirty="0"/>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401052"/>
            <a:chOff x="5283035" y="1188441"/>
            <a:chExt cx="1038225" cy="1203159"/>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8"/>
              <a:ext cx="570673" cy="886852"/>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6111" dirty="0">
                  <a:solidFill>
                    <a:srgbClr val="FF6D70"/>
                  </a:solidFill>
                  <a:latin typeface="+mn-lt"/>
                </a:rPr>
                <a:t>“</a:t>
              </a:r>
              <a:endParaRPr lang="en-US" sz="7985" dirty="0">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0" y="825520"/>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4" name="waves">
            <a:extLst>
              <a:ext uri="{FF2B5EF4-FFF2-40B4-BE49-F238E27FC236}">
                <a16:creationId xmlns:a16="http://schemas.microsoft.com/office/drawing/2014/main" id="{90AB9E35-83B3-FE47-AC3F-0AC4CC70C1D3}"/>
              </a:ext>
            </a:extLst>
          </p:cNvPr>
          <p:cNvGrpSpPr/>
          <p:nvPr userDrawn="1"/>
        </p:nvGrpSpPr>
        <p:grpSpPr>
          <a:xfrm rot="5400000">
            <a:off x="-2804257" y="2453977"/>
            <a:ext cx="7120597" cy="1687452"/>
            <a:chOff x="4253152" y="151074"/>
            <a:chExt cx="6930220" cy="2076330"/>
          </a:xfrm>
        </p:grpSpPr>
        <p:sp>
          <p:nvSpPr>
            <p:cNvPr id="35" name="coral">
              <a:extLst>
                <a:ext uri="{FF2B5EF4-FFF2-40B4-BE49-F238E27FC236}">
                  <a16:creationId xmlns:a16="http://schemas.microsoft.com/office/drawing/2014/main" id="{8303D869-46DF-1C40-BBF8-3AED65A75F8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6" name="green">
              <a:extLst>
                <a:ext uri="{FF2B5EF4-FFF2-40B4-BE49-F238E27FC236}">
                  <a16:creationId xmlns:a16="http://schemas.microsoft.com/office/drawing/2014/main" id="{E35618F7-242C-4148-A231-0E9002E01B7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7" name="Text Placeholder 6">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7"/>
            <a:ext cx="2330580" cy="1436420"/>
          </a:xfrm>
        </p:spPr>
        <p:txBody>
          <a:bodyPr>
            <a:noAutofit/>
          </a:bodyPr>
          <a:lstStyle>
            <a:lvl1pPr>
              <a:defRPr sz="5555" b="1">
                <a:solidFill>
                  <a:schemeClr val="accent5"/>
                </a:solidFill>
              </a:defRPr>
            </a:lvl1pPr>
          </a:lstStyle>
          <a:p>
            <a:pPr lvl="0"/>
            <a:r>
              <a:rPr lang="en-US" dirty="0"/>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967131" y="5478273"/>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46855785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1"/>
            <a:ext cx="5427349" cy="2913763"/>
          </a:xfrm>
        </p:spPr>
        <p:txBody>
          <a:bodyPr anchor="ctr" anchorCtr="0">
            <a:noAutofit/>
          </a:bodyPr>
          <a:lstStyle>
            <a:lvl1pPr algn="r">
              <a:defRPr sz="23887" b="1">
                <a:solidFill>
                  <a:schemeClr val="bg1"/>
                </a:solidFill>
                <a:latin typeface="+mn-lt"/>
              </a:defRPr>
            </a:lvl1pPr>
            <a:lvl2pPr algn="r">
              <a:defRPr/>
            </a:lvl2pPr>
            <a:lvl3pPr algn="r">
              <a:defRPr/>
            </a:lvl3pPr>
            <a:lvl4pPr algn="r">
              <a:defRPr/>
            </a:lvl4pPr>
            <a:lvl5pPr algn="r">
              <a:defRPr/>
            </a:lvl5pPr>
          </a:lstStyle>
          <a:p>
            <a:pPr lvl="0"/>
            <a:r>
              <a:rPr lang="en-US" dirty="0"/>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2" y="1972671"/>
            <a:ext cx="1791325" cy="2913763"/>
          </a:xfrm>
        </p:spPr>
        <p:txBody>
          <a:bodyPr anchor="ctr" anchorCtr="0">
            <a:noAutofit/>
          </a:bodyPr>
          <a:lstStyle>
            <a:lvl1pPr algn="l">
              <a:defRPr sz="11944"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dirty="0"/>
              <a:t>it</a:t>
            </a:r>
          </a:p>
        </p:txBody>
      </p:sp>
      <p:grpSp>
        <p:nvGrpSpPr>
          <p:cNvPr id="20" name="waves">
            <a:extLst>
              <a:ext uri="{FF2B5EF4-FFF2-40B4-BE49-F238E27FC236}">
                <a16:creationId xmlns:a16="http://schemas.microsoft.com/office/drawing/2014/main" id="{091EAC0F-F6B6-804E-81C1-DC14DB0CFEB4}"/>
              </a:ext>
            </a:extLst>
          </p:cNvPr>
          <p:cNvGrpSpPr/>
          <p:nvPr userDrawn="1"/>
        </p:nvGrpSpPr>
        <p:grpSpPr>
          <a:xfrm>
            <a:off x="2563907" y="4742329"/>
            <a:ext cx="11311821" cy="2131131"/>
            <a:chOff x="4253152" y="151074"/>
            <a:chExt cx="6930220" cy="2076330"/>
          </a:xfrm>
        </p:grpSpPr>
        <p:sp>
          <p:nvSpPr>
            <p:cNvPr id="21" name="coral">
              <a:extLst>
                <a:ext uri="{FF2B5EF4-FFF2-40B4-BE49-F238E27FC236}">
                  <a16:creationId xmlns:a16="http://schemas.microsoft.com/office/drawing/2014/main" id="{5544ED0D-A342-F44A-8373-4300D2A9FC5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6981805-0618-3A4E-BF33-F709D396003A}"/>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7" y="1490445"/>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7" y="5369819"/>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5" y="5396784"/>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08438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Oval 6">
            <a:extLst>
              <a:ext uri="{FF2B5EF4-FFF2-40B4-BE49-F238E27FC236}">
                <a16:creationId xmlns:a16="http://schemas.microsoft.com/office/drawing/2014/main" id="{26F17582-2F62-A148-8696-1C39223CE799}"/>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2723913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9268B40-4CED-5446-BECA-119CE8F3CD72}"/>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8" name="3 Xs">
            <a:extLst>
              <a:ext uri="{FF2B5EF4-FFF2-40B4-BE49-F238E27FC236}">
                <a16:creationId xmlns:a16="http://schemas.microsoft.com/office/drawing/2014/main" id="{41CADA79-152E-724D-8B57-FD7B7338D609}"/>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048E5BB7-1C8E-6C4D-B676-D37BA28DDBD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10" name="Freeform 9">
              <a:extLst>
                <a:ext uri="{FF2B5EF4-FFF2-40B4-BE49-F238E27FC236}">
                  <a16:creationId xmlns:a16="http://schemas.microsoft.com/office/drawing/2014/main" id="{2D574E84-0116-584A-8A38-A4721963F891}"/>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11" name="Freeform 10">
              <a:extLst>
                <a:ext uri="{FF2B5EF4-FFF2-40B4-BE49-F238E27FC236}">
                  <a16:creationId xmlns:a16="http://schemas.microsoft.com/office/drawing/2014/main" id="{BB7A9C06-6BC6-A345-80A2-F3C9B691A533}"/>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2474885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tx1">
                    <a:lumMod val="50000"/>
                  </a:schemeClr>
                </a:solidFill>
                <a:latin typeface="+mn-lt"/>
              </a:defRPr>
            </a:lvl1pPr>
          </a:lstStyle>
          <a:p>
            <a:r>
              <a:rPr lang="en-US" dirty="0"/>
              <a:t>Click to edit master title style</a:t>
            </a:r>
            <a:endParaRPr lang="en-ID" dirty="0"/>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tx1"/>
                </a:solidFill>
              </a:defRPr>
            </a:lvl1pPr>
            <a:lvl2pPr marL="320779" indent="-320779">
              <a:buClr>
                <a:schemeClr val="tx2"/>
              </a:buClr>
              <a:buSzPct val="80000"/>
              <a:buFont typeface="System Font Regular"/>
              <a:buChar char="→"/>
              <a:tabLst/>
              <a:defRPr>
                <a:solidFill>
                  <a:schemeClr val="tx1"/>
                </a:solidFill>
              </a:defRPr>
            </a:lvl2pPr>
            <a:lvl3pPr marL="477311" indent="-156531">
              <a:buClr>
                <a:schemeClr val="tx2"/>
              </a:buClr>
              <a:buSzPct val="80000"/>
              <a:tabLst/>
              <a:defRPr>
                <a:solidFill>
                  <a:schemeClr val="tx1"/>
                </a:solidFill>
              </a:defRPr>
            </a:lvl3pPr>
            <a:lvl4pPr marL="642660" indent="-165351">
              <a:buClr>
                <a:schemeClr val="tx2"/>
              </a:buClr>
              <a:buSzPct val="80000"/>
              <a:tabLst/>
              <a:defRPr>
                <a:solidFill>
                  <a:schemeClr val="tx1"/>
                </a:solidFill>
              </a:defRPr>
            </a:lvl4pPr>
            <a:lvl5pPr marL="799192" indent="-156531">
              <a:buClr>
                <a:schemeClr val="tx2"/>
              </a:buClr>
              <a:buSzPct val="80000"/>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71824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w/ Subhead and cont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noFill/>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tx1"/>
                </a:solidFill>
                <a:latin typeface="+mn-lt"/>
                <a:ea typeface="Source Sans Pro" panose="020B0503030403020204" pitchFamily="34" charset="0"/>
                <a:cs typeface="Calibri" charset="0"/>
              </a:defRPr>
            </a:lvl1pPr>
            <a:lvl2pPr>
              <a:buClr>
                <a:schemeClr val="tx2"/>
              </a:buClr>
              <a:defRPr b="0" i="0">
                <a:solidFill>
                  <a:schemeClr val="tx1"/>
                </a:solidFill>
                <a:latin typeface="+mn-lt"/>
                <a:ea typeface="Source Sans Pro" panose="020B0503030403020204" pitchFamily="34" charset="0"/>
                <a:cs typeface="Calibri" charset="0"/>
              </a:defRPr>
            </a:lvl2pPr>
            <a:lvl3pPr>
              <a:buClr>
                <a:schemeClr val="tx2"/>
              </a:buClr>
              <a:defRPr b="0" i="0">
                <a:solidFill>
                  <a:schemeClr val="tx1"/>
                </a:solidFill>
                <a:latin typeface="+mn-lt"/>
                <a:ea typeface="Source Sans Pro" panose="020B0503030403020204" pitchFamily="34" charset="0"/>
                <a:cs typeface="Calibri" charset="0"/>
              </a:defRPr>
            </a:lvl3pPr>
            <a:lvl4pPr>
              <a:buClr>
                <a:schemeClr val="tx2"/>
              </a:buClr>
              <a:defRPr b="0" i="0">
                <a:solidFill>
                  <a:schemeClr val="tx1"/>
                </a:solidFill>
                <a:latin typeface="+mn-lt"/>
                <a:ea typeface="Source Sans Pro" panose="020B0503030403020204" pitchFamily="34" charset="0"/>
                <a:cs typeface="Calibri" charset="0"/>
              </a:defRPr>
            </a:lvl4pPr>
            <a:lvl5pPr marL="634944" indent="-114642">
              <a:buClr>
                <a:schemeClr val="tx2"/>
              </a:buCl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352509083"/>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4" y="5049600"/>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4151136"/>
      </p:ext>
    </p:extLst>
  </p:cSld>
  <p:clrMapOvr>
    <a:masterClrMapping/>
  </p:clrMapOvr>
  <p:transition spd="slow">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003045029"/>
      </p:ext>
    </p:extLst>
  </p:cSld>
  <p:clrMapOvr>
    <a:masterClrMapping/>
  </p:clrMapOvr>
  <p:transition spd="slow">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237046"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2pPr>
            <a:lvl3pPr marL="461392"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87856" indent="-226464">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924902" indent="-2370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131691928"/>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65" name="Group 64">
            <a:extLst>
              <a:ext uri="{FF2B5EF4-FFF2-40B4-BE49-F238E27FC236}">
                <a16:creationId xmlns:a16="http://schemas.microsoft.com/office/drawing/2014/main" id="{CC0EE77F-062F-7044-B649-E334A4557711}"/>
              </a:ext>
            </a:extLst>
          </p:cNvPr>
          <p:cNvGrpSpPr/>
          <p:nvPr userDrawn="1"/>
        </p:nvGrpSpPr>
        <p:grpSpPr>
          <a:xfrm>
            <a:off x="5551891" y="1"/>
            <a:ext cx="7959877" cy="7591636"/>
            <a:chOff x="7994577" y="0"/>
            <a:chExt cx="11462017" cy="10932307"/>
          </a:xfrm>
        </p:grpSpPr>
        <p:grpSp>
          <p:nvGrpSpPr>
            <p:cNvPr id="8" name="Circle">
              <a:extLst>
                <a:ext uri="{FF2B5EF4-FFF2-40B4-BE49-F238E27FC236}">
                  <a16:creationId xmlns:a16="http://schemas.microsoft.com/office/drawing/2014/main" id="{4970906B-47AF-9543-A23B-58EC8065A7D2}"/>
                </a:ext>
              </a:extLst>
            </p:cNvPr>
            <p:cNvGrpSpPr/>
            <p:nvPr userDrawn="1"/>
          </p:nvGrpSpPr>
          <p:grpSpPr>
            <a:xfrm>
              <a:off x="9956627" y="1432340"/>
              <a:ext cx="9499967" cy="9499967"/>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14" name="one lump">
              <a:extLst>
                <a:ext uri="{FF2B5EF4-FFF2-40B4-BE49-F238E27FC236}">
                  <a16:creationId xmlns:a16="http://schemas.microsoft.com/office/drawing/2014/main" id="{4CA3D591-3B0F-8948-88A0-ACCBF374FB5D}"/>
                </a:ext>
              </a:extLst>
            </p:cNvPr>
            <p:cNvGrpSpPr/>
            <p:nvPr userDrawn="1"/>
          </p:nvGrpSpPr>
          <p:grpSpPr>
            <a:xfrm rot="10800000">
              <a:off x="14016662" y="0"/>
              <a:ext cx="3562164" cy="4398387"/>
              <a:chOff x="2328672" y="2862072"/>
              <a:chExt cx="1847682" cy="2281428"/>
            </a:xfrm>
          </p:grpSpPr>
          <p:sp>
            <p:nvSpPr>
              <p:cNvPr id="15" name="Graphic 6" hidden="1">
                <a:extLst>
                  <a:ext uri="{FF2B5EF4-FFF2-40B4-BE49-F238E27FC236}">
                    <a16:creationId xmlns:a16="http://schemas.microsoft.com/office/drawing/2014/main" id="{918EB62E-DBF3-B948-B499-9E979886B8C6}"/>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16" name="Graphic 6">
                <a:extLst>
                  <a:ext uri="{FF2B5EF4-FFF2-40B4-BE49-F238E27FC236}">
                    <a16:creationId xmlns:a16="http://schemas.microsoft.com/office/drawing/2014/main" id="{216FA2DA-94DF-9540-9EB3-655F51D1AC9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37" name="4 Xs">
              <a:extLst>
                <a:ext uri="{FF2B5EF4-FFF2-40B4-BE49-F238E27FC236}">
                  <a16:creationId xmlns:a16="http://schemas.microsoft.com/office/drawing/2014/main" id="{2428E0FC-1648-9543-BAF3-57967B99CAF3}"/>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38" name="Graphic 37">
                <a:extLst>
                  <a:ext uri="{FF2B5EF4-FFF2-40B4-BE49-F238E27FC236}">
                    <a16:creationId xmlns:a16="http://schemas.microsoft.com/office/drawing/2014/main" id="{890E5B45-35A6-E24C-892F-F944E2F1576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39" name="Graphic 37">
                <a:extLst>
                  <a:ext uri="{FF2B5EF4-FFF2-40B4-BE49-F238E27FC236}">
                    <a16:creationId xmlns:a16="http://schemas.microsoft.com/office/drawing/2014/main" id="{4C913FCA-D8CF-0544-8BEA-D9483D1026D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0" name="Graphic 37">
                <a:extLst>
                  <a:ext uri="{FF2B5EF4-FFF2-40B4-BE49-F238E27FC236}">
                    <a16:creationId xmlns:a16="http://schemas.microsoft.com/office/drawing/2014/main" id="{FE4A9092-A59B-2B4B-992A-B70F0727CE4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1" name="Graphic 37">
                <a:extLst>
                  <a:ext uri="{FF2B5EF4-FFF2-40B4-BE49-F238E27FC236}">
                    <a16:creationId xmlns:a16="http://schemas.microsoft.com/office/drawing/2014/main" id="{8885AE4E-A2DB-B34B-9080-690ED54CEB4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111084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32828033"/>
      </p:ext>
    </p:extLst>
  </p:cSld>
  <p:clrMapOvr>
    <a:masterClrMapping/>
  </p:clrMapOvr>
  <p:transition spd="slow">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402756726"/>
      </p:ext>
    </p:extLst>
  </p:cSld>
  <p:clrMapOvr>
    <a:masterClrMapping/>
  </p:clrMapOvr>
  <p:transition spd="slow">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2_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667802194"/>
      </p:ext>
    </p:extLst>
  </p:cSld>
  <p:clrMapOvr>
    <a:masterClrMapping/>
  </p:clrMapOvr>
  <p:transition spd="slow">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6" name="Group 5">
            <a:extLst>
              <a:ext uri="{FF2B5EF4-FFF2-40B4-BE49-F238E27FC236}">
                <a16:creationId xmlns:a16="http://schemas.microsoft.com/office/drawing/2014/main" id="{D76051AA-9C2D-8C43-AF09-1E6B18B30A5D}"/>
              </a:ext>
            </a:extLst>
          </p:cNvPr>
          <p:cNvGrpSpPr/>
          <p:nvPr userDrawn="1"/>
        </p:nvGrpSpPr>
        <p:grpSpPr>
          <a:xfrm>
            <a:off x="-733314" y="5049600"/>
            <a:ext cx="19125951" cy="1808401"/>
            <a:chOff x="7994577" y="7729729"/>
            <a:chExt cx="9753466" cy="2185140"/>
          </a:xfrm>
        </p:grpSpPr>
        <p:sp>
          <p:nvSpPr>
            <p:cNvPr id="7" name="Graphic 56">
              <a:extLst>
                <a:ext uri="{FF2B5EF4-FFF2-40B4-BE49-F238E27FC236}">
                  <a16:creationId xmlns:a16="http://schemas.microsoft.com/office/drawing/2014/main" id="{F3C9DC2F-356D-DD47-AD36-0F2AA59DC60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8" name="Graphic 61">
              <a:extLst>
                <a:ext uri="{FF2B5EF4-FFF2-40B4-BE49-F238E27FC236}">
                  <a16:creationId xmlns:a16="http://schemas.microsoft.com/office/drawing/2014/main" id="{5D6171E4-29D4-DB41-B1FB-920130A16DAC}"/>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721732783"/>
      </p:ext>
    </p:extLst>
  </p:cSld>
  <p:clrMapOvr>
    <a:masterClrMapping/>
  </p:clrMapOvr>
  <p:transition spd="slow">
    <p:wipe dir="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514729702"/>
      </p:ext>
    </p:extLst>
  </p:cSld>
  <p:clrMapOvr>
    <a:masterClrMapping/>
  </p:clrMapOvr>
  <p:transition spd="slow">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4">
            <a:extLst>
              <a:ext uri="{FF2B5EF4-FFF2-40B4-BE49-F238E27FC236}">
                <a16:creationId xmlns:a16="http://schemas.microsoft.com/office/drawing/2014/main" id="{6C13FDC1-9BBE-384A-AFA5-8C43E0454C50}"/>
              </a:ext>
            </a:extLst>
          </p:cNvPr>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tabLst>
                <a:tab pos="2259782" algn="l"/>
              </a:tabLst>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248531"/>
      </p:ext>
    </p:extLst>
  </p:cSld>
  <p:clrMapOvr>
    <a:masterClrMapping/>
  </p:clrMapOvr>
  <p:transition spd="slow">
    <p:wipe dir="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Three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9" name="Text Placeholder 5"/>
          <p:cNvSpPr>
            <a:spLocks noGrp="1"/>
          </p:cNvSpPr>
          <p:nvPr>
            <p:ph type="body" sz="quarter" idx="10" hasCustomPrompt="1"/>
          </p:nvPr>
        </p:nvSpPr>
        <p:spPr>
          <a:xfrm>
            <a:off x="50800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23" name="Text Placeholder 5">
            <a:extLst>
              <a:ext uri="{FF2B5EF4-FFF2-40B4-BE49-F238E27FC236}">
                <a16:creationId xmlns:a16="http://schemas.microsoft.com/office/drawing/2014/main" id="{782F6130-624B-C94C-9345-64A60B72D3C4}"/>
              </a:ext>
            </a:extLst>
          </p:cNvPr>
          <p:cNvSpPr>
            <a:spLocks noGrp="1"/>
          </p:cNvSpPr>
          <p:nvPr>
            <p:ph type="body" sz="quarter" idx="12" hasCustomPrompt="1"/>
          </p:nvPr>
        </p:nvSpPr>
        <p:spPr>
          <a:xfrm>
            <a:off x="4441373"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5" name="Text Placeholder 5">
            <a:extLst>
              <a:ext uri="{FF2B5EF4-FFF2-40B4-BE49-F238E27FC236}">
                <a16:creationId xmlns:a16="http://schemas.microsoft.com/office/drawing/2014/main" id="{59B4166D-BAA9-A841-87DF-92E32A96E696}"/>
              </a:ext>
            </a:extLst>
          </p:cNvPr>
          <p:cNvSpPr>
            <a:spLocks noGrp="1"/>
          </p:cNvSpPr>
          <p:nvPr>
            <p:ph type="body" sz="quarter" idx="14" hasCustomPrompt="1"/>
          </p:nvPr>
        </p:nvSpPr>
        <p:spPr>
          <a:xfrm>
            <a:off x="837051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Tree>
    <p:extLst>
      <p:ext uri="{BB962C8B-B14F-4D97-AF65-F5344CB8AC3E}">
        <p14:creationId xmlns:p14="http://schemas.microsoft.com/office/powerpoint/2010/main" val="3313856890"/>
      </p:ext>
    </p:extLst>
  </p:cSld>
  <p:clrMapOvr>
    <a:masterClrMapping/>
  </p:clrMapOvr>
  <p:transition spd="slow">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15" name="Text Placeholder 5">
            <a:extLst>
              <a:ext uri="{FF2B5EF4-FFF2-40B4-BE49-F238E27FC236}">
                <a16:creationId xmlns:a16="http://schemas.microsoft.com/office/drawing/2014/main" id="{1DBEBA93-80C3-964D-AF2C-2D8C9BF3CFE4}"/>
              </a:ext>
            </a:extLst>
          </p:cNvPr>
          <p:cNvSpPr>
            <a:spLocks noGrp="1"/>
          </p:cNvSpPr>
          <p:nvPr>
            <p:ph type="body" sz="quarter" idx="22" hasCustomPrompt="1"/>
          </p:nvPr>
        </p:nvSpPr>
        <p:spPr>
          <a:xfrm>
            <a:off x="617935"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16" name="Text Placeholder 5">
            <a:extLst>
              <a:ext uri="{FF2B5EF4-FFF2-40B4-BE49-F238E27FC236}">
                <a16:creationId xmlns:a16="http://schemas.microsoft.com/office/drawing/2014/main" id="{4CD20D2B-0F2E-4043-9739-90A491FA2E51}"/>
              </a:ext>
            </a:extLst>
          </p:cNvPr>
          <p:cNvSpPr>
            <a:spLocks noGrp="1"/>
          </p:cNvSpPr>
          <p:nvPr>
            <p:ph type="body" sz="quarter" idx="23" hasCustomPrompt="1"/>
          </p:nvPr>
        </p:nvSpPr>
        <p:spPr>
          <a:xfrm>
            <a:off x="3484250"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17" name="Text Placeholder 5">
            <a:extLst>
              <a:ext uri="{FF2B5EF4-FFF2-40B4-BE49-F238E27FC236}">
                <a16:creationId xmlns:a16="http://schemas.microsoft.com/office/drawing/2014/main" id="{A9A47F79-BE94-BA47-A2CB-5FD3DBEA1A1B}"/>
              </a:ext>
            </a:extLst>
          </p:cNvPr>
          <p:cNvSpPr>
            <a:spLocks noGrp="1"/>
          </p:cNvSpPr>
          <p:nvPr>
            <p:ph type="body" sz="quarter" idx="24" hasCustomPrompt="1"/>
          </p:nvPr>
        </p:nvSpPr>
        <p:spPr>
          <a:xfrm>
            <a:off x="6350564"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0" name="Text Placeholder 5">
            <a:extLst>
              <a:ext uri="{FF2B5EF4-FFF2-40B4-BE49-F238E27FC236}">
                <a16:creationId xmlns:a16="http://schemas.microsoft.com/office/drawing/2014/main" id="{525435F3-50E5-4F4F-8287-EC37BD8C5FBA}"/>
              </a:ext>
            </a:extLst>
          </p:cNvPr>
          <p:cNvSpPr>
            <a:spLocks noGrp="1"/>
          </p:cNvSpPr>
          <p:nvPr>
            <p:ph type="body" sz="quarter" idx="25" hasCustomPrompt="1"/>
          </p:nvPr>
        </p:nvSpPr>
        <p:spPr>
          <a:xfrm>
            <a:off x="9216879"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Tree>
    <p:extLst>
      <p:ext uri="{BB962C8B-B14F-4D97-AF65-F5344CB8AC3E}">
        <p14:creationId xmlns:p14="http://schemas.microsoft.com/office/powerpoint/2010/main" val="1306520470"/>
      </p:ext>
    </p:extLst>
  </p:cSld>
  <p:clrMapOvr>
    <a:masterClrMapping/>
  </p:clrMapOvr>
  <p:transition spd="slow">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458247661"/>
      </p:ext>
    </p:extLst>
  </p:cSld>
  <p:clrMapOvr>
    <a:masterClrMapping/>
  </p:clrMapOvr>
  <p:transition spd="slow">
    <p:wipe dir="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6273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2172605616"/>
      </p:ext>
    </p:extLst>
  </p:cSld>
  <p:clrMapOvr>
    <a:masterClrMapping/>
  </p:clrMapOvr>
  <p:transition spd="slow">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6" y="5958226"/>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40825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4">
            <a:extLst>
              <a:ext uri="{FF2B5EF4-FFF2-40B4-BE49-F238E27FC236}">
                <a16:creationId xmlns:a16="http://schemas.microsoft.com/office/drawing/2014/main" id="{6C13FDC1-9BBE-384A-AFA5-8C43E0454C50}"/>
              </a:ext>
            </a:extLst>
          </p:cNvPr>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tabLst>
                <a:tab pos="2259782" algn="l"/>
              </a:tabLst>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2051249"/>
      </p:ext>
    </p:extLst>
  </p:cSld>
  <p:clrMapOvr>
    <a:masterClrMapping/>
  </p:clrMapOvr>
  <p:transition spd="slow">
    <p:wipe dir="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6867526" y="1809749"/>
            <a:ext cx="4816473" cy="3033816"/>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535504" indent="-150280">
              <a:tabLst/>
              <a:defRPr>
                <a:solidFill>
                  <a:schemeClr val="bg1"/>
                </a:solidFill>
              </a:defRPr>
            </a:lvl3pPr>
            <a:lvl4pPr marL="770447" indent="-234945">
              <a:tabLst/>
              <a:defRPr>
                <a:solidFill>
                  <a:schemeClr val="bg1"/>
                </a:solidFill>
              </a:defRPr>
            </a:lvl4pPr>
            <a:lvl5pPr marL="924961" indent="-237061">
              <a:tabLst>
                <a:tab pos="759865" algn="l"/>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4798005"/>
      </p:ext>
    </p:extLst>
  </p:cSld>
  <p:clrMapOvr>
    <a:masterClrMapping/>
  </p:clrMapOvr>
  <p:transition spd="slow">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defRPr>
            </a:lvl1pPr>
          </a:lstStyle>
          <a:p>
            <a:r>
              <a:rPr lang="en-US" dirty="0"/>
              <a:t>Click icon to add picture</a:t>
            </a:r>
          </a:p>
        </p:txBody>
      </p:sp>
      <p:sp>
        <p:nvSpPr>
          <p:cNvPr id="4" name="Title 1"/>
          <p:cNvSpPr>
            <a:spLocks noGrp="1"/>
          </p:cNvSpPr>
          <p:nvPr>
            <p:ph type="title" hasCustomPrompt="1"/>
          </p:nvPr>
        </p:nvSpPr>
        <p:spPr>
          <a:xfrm>
            <a:off x="508231" y="516468"/>
            <a:ext cx="5194197"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508231" y="2133599"/>
            <a:ext cx="4959120" cy="3396868"/>
          </a:xfrm>
        </p:spPr>
        <p:txBody>
          <a:bodyPr/>
          <a:lstStyle>
            <a:lvl1pPr>
              <a:defRPr>
                <a:solidFill>
                  <a:schemeClr val="tx1"/>
                </a:solidFill>
              </a:defRPr>
            </a:lvl1pPr>
            <a:lvl2pPr marL="385224" indent="-372524">
              <a:buFont typeface="System Font Regular"/>
              <a:buChar char="→"/>
              <a:tabLst/>
              <a:defRPr>
                <a:solidFill>
                  <a:schemeClr val="tx1"/>
                </a:solidFill>
              </a:defRPr>
            </a:lvl2pPr>
            <a:lvl3pPr marL="535504" indent="-150280">
              <a:tabLst/>
              <a:defRPr>
                <a:solidFill>
                  <a:schemeClr val="tx1"/>
                </a:solidFill>
              </a:defRPr>
            </a:lvl3pPr>
            <a:lvl4pPr marL="687900" indent="-152396">
              <a:tabLst/>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528743"/>
      </p:ext>
    </p:extLst>
  </p:cSld>
  <p:clrMapOvr>
    <a:masterClrMapping/>
  </p:clrMapOvr>
  <p:transition spd="slow">
    <p:wipe dir="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797549" y="2888193"/>
            <a:ext cx="4886223"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508230" y="1571625"/>
            <a:ext cx="4822913" cy="3648075"/>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618051" indent="-232828">
              <a:tabLst/>
              <a:defRPr>
                <a:solidFill>
                  <a:schemeClr val="bg1"/>
                </a:solidFill>
              </a:defRPr>
            </a:lvl3pPr>
            <a:lvl4pPr marL="840296" indent="-222245">
              <a:tabLst/>
              <a:defRPr>
                <a:solidFill>
                  <a:schemeClr val="bg1"/>
                </a:solidFill>
              </a:defRPr>
            </a:lvl4pPr>
            <a:lvl5pPr marL="992693" indent="-152396">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8622299"/>
      </p:ext>
    </p:extLst>
  </p:cSld>
  <p:clrMapOvr>
    <a:masterClrMapping/>
  </p:clrMapOvr>
  <p:transition spd="slow">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591300" y="423864"/>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6591301" y="1743076"/>
            <a:ext cx="4286249" cy="3648075"/>
          </a:xfrm>
        </p:spPr>
        <p:txBody>
          <a:bodyPr/>
          <a:lstStyle>
            <a:lvl1pPr>
              <a:defRPr>
                <a:solidFill>
                  <a:schemeClr val="tx1"/>
                </a:solidFill>
              </a:defRPr>
            </a:lvl1pPr>
            <a:lvl2pPr marL="313259" indent="-300559">
              <a:buFont typeface="System Font Regular"/>
              <a:buChar char="→"/>
              <a:tabLst/>
              <a:defRPr>
                <a:solidFill>
                  <a:schemeClr val="tx1"/>
                </a:solidFill>
              </a:defRPr>
            </a:lvl2pPr>
            <a:lvl3pPr marL="535504" indent="-232828">
              <a:tabLst/>
              <a:defRPr>
                <a:solidFill>
                  <a:schemeClr val="tx1"/>
                </a:solidFill>
              </a:defRPr>
            </a:lvl3pPr>
            <a:lvl4pPr marL="770447" indent="-224361">
              <a:tabLst/>
              <a:defRPr>
                <a:solidFill>
                  <a:schemeClr val="tx1"/>
                </a:solidFill>
              </a:defRPr>
            </a:lvl4pPr>
            <a:lvl5pPr marL="992693" indent="-241294">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1" y="0"/>
            <a:ext cx="6096551" cy="6858000"/>
          </a:xfrm>
        </p:spPr>
        <p:txBody>
          <a:bodyPr/>
          <a:lstStyle>
            <a:lvl1pPr>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178049278"/>
      </p:ext>
    </p:extLst>
  </p:cSld>
  <p:clrMapOvr>
    <a:masterClrMapping/>
  </p:clrMapOvr>
  <p:transition spd="slow">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Product">
    <p:bg>
      <p:bgPr>
        <a:solidFill>
          <a:schemeClr val="accent5"/>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27951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bg1"/>
                </a:solidFill>
              </a:defRPr>
            </a:lvl1pPr>
          </a:lstStyle>
          <a:p>
            <a:pPr lvl="0"/>
            <a:r>
              <a:rPr lang="en-US"/>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242258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bg1"/>
                </a:solidFill>
                <a:latin typeface="+mn-lt"/>
              </a:defRPr>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accent5"/>
                </a:solidFill>
              </a:defRPr>
            </a:lvl1pPr>
            <a:lvl2pPr marL="317472" indent="-317472">
              <a:buClr>
                <a:schemeClr val="tx2"/>
              </a:buClr>
              <a:buSzPct val="80000"/>
              <a:buFont typeface="System Font Regular"/>
              <a:buChar char="→"/>
              <a:tabLst/>
              <a:defRPr>
                <a:solidFill>
                  <a:schemeClr val="accent5"/>
                </a:solidFill>
              </a:defRPr>
            </a:lvl2pPr>
            <a:lvl3pPr marL="511482" indent="-194011">
              <a:buClr>
                <a:schemeClr val="tx2"/>
              </a:buClr>
              <a:buSzPct val="80000"/>
              <a:tabLst/>
              <a:defRPr>
                <a:solidFill>
                  <a:schemeClr val="accent5"/>
                </a:solidFill>
              </a:defRPr>
            </a:lvl3pPr>
            <a:lvl4pPr marL="670218" indent="-158736">
              <a:buClr>
                <a:schemeClr val="tx2"/>
              </a:buClr>
              <a:buSzPct val="80000"/>
              <a:tabLst/>
              <a:defRPr>
                <a:solidFill>
                  <a:schemeClr val="accent5"/>
                </a:solidFill>
              </a:defRPr>
            </a:lvl4pPr>
            <a:lvl5pPr marL="793679" indent="-158736">
              <a:buClr>
                <a:schemeClr val="tx2"/>
              </a:buClr>
              <a:buSzPct val="80000"/>
              <a:tabLst/>
              <a:defRPr>
                <a:solidFill>
                  <a:schemeClr val="accent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53585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bg1"/>
                </a:solidFill>
                <a:latin typeface="+mn-lt"/>
                <a:ea typeface="Source Sans Pro" panose="020B0503030403020204" pitchFamily="34" charset="0"/>
                <a:cs typeface="Calibri" charset="0"/>
              </a:defRPr>
            </a:lvl1pPr>
            <a:lvl2pPr marL="313259" indent="-300559">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535504" indent="-222245">
              <a:buClr>
                <a:schemeClr val="tx2"/>
              </a:buClr>
              <a:tabLst/>
              <a:defRPr b="0" i="0">
                <a:solidFill>
                  <a:schemeClr val="bg1"/>
                </a:solidFill>
                <a:latin typeface="+mn-lt"/>
                <a:ea typeface="Source Sans Pro" panose="020B0503030403020204" pitchFamily="34" charset="0"/>
                <a:cs typeface="Calibri" charset="0"/>
              </a:defRPr>
            </a:lvl3pPr>
            <a:lvl4pPr>
              <a:buClr>
                <a:schemeClr val="tx2"/>
              </a:buClr>
              <a:defRPr b="0" i="0">
                <a:solidFill>
                  <a:schemeClr val="bg1"/>
                </a:solidFill>
                <a:latin typeface="+mn-lt"/>
                <a:ea typeface="Source Sans Pro" panose="020B0503030403020204" pitchFamily="34" charset="0"/>
                <a:cs typeface="Calibri" charset="0"/>
              </a:defRPr>
            </a:lvl4pPr>
            <a:lvl5pPr>
              <a:buClr>
                <a:schemeClr val="tx2"/>
              </a:buClr>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628646565"/>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208015572"/>
      </p:ext>
    </p:extLst>
  </p:cSld>
  <p:clrMapOvr>
    <a:masterClrMapping/>
  </p:clrMapOvr>
  <p:transition spd="slow">
    <p:wipe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3" name="Text Placeholder 5">
            <a:extLst>
              <a:ext uri="{FF2B5EF4-FFF2-40B4-BE49-F238E27FC236}">
                <a16:creationId xmlns:a16="http://schemas.microsoft.com/office/drawing/2014/main" id="{5D9A68D5-3CBD-2249-BCFA-4DD16FF8F7E0}"/>
              </a:ext>
            </a:extLst>
          </p:cNvPr>
          <p:cNvSpPr>
            <a:spLocks noGrp="1"/>
          </p:cNvSpPr>
          <p:nvPr>
            <p:ph type="body" sz="quarter" idx="10" hasCustomPrompt="1"/>
          </p:nvPr>
        </p:nvSpPr>
        <p:spPr>
          <a:xfrm>
            <a:off x="508002"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5">
            <a:extLst>
              <a:ext uri="{FF2B5EF4-FFF2-40B4-BE49-F238E27FC236}">
                <a16:creationId xmlns:a16="http://schemas.microsoft.com/office/drawing/2014/main" id="{6CD9F73A-A1B4-AF4B-83DA-9FEF1D232838}"/>
              </a:ext>
            </a:extLst>
          </p:cNvPr>
          <p:cNvSpPr>
            <a:spLocks noGrp="1"/>
          </p:cNvSpPr>
          <p:nvPr>
            <p:ph type="body" sz="quarter" idx="12" hasCustomPrompt="1"/>
          </p:nvPr>
        </p:nvSpPr>
        <p:spPr>
          <a:xfrm>
            <a:off x="6293659"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889483216"/>
      </p:ext>
    </p:extLst>
  </p:cSld>
  <p:clrMapOvr>
    <a:masterClrMapping/>
  </p:clrMapOvr>
  <p:transition spd="slow">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hree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9" name="Text Placeholder 5"/>
          <p:cNvSpPr>
            <a:spLocks noGrp="1"/>
          </p:cNvSpPr>
          <p:nvPr>
            <p:ph type="body" sz="quarter" idx="10" hasCustomPrompt="1"/>
          </p:nvPr>
        </p:nvSpPr>
        <p:spPr>
          <a:xfrm>
            <a:off x="50800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23" name="Text Placeholder 5">
            <a:extLst>
              <a:ext uri="{FF2B5EF4-FFF2-40B4-BE49-F238E27FC236}">
                <a16:creationId xmlns:a16="http://schemas.microsoft.com/office/drawing/2014/main" id="{782F6130-624B-C94C-9345-64A60B72D3C4}"/>
              </a:ext>
            </a:extLst>
          </p:cNvPr>
          <p:cNvSpPr>
            <a:spLocks noGrp="1"/>
          </p:cNvSpPr>
          <p:nvPr>
            <p:ph type="body" sz="quarter" idx="12" hasCustomPrompt="1"/>
          </p:nvPr>
        </p:nvSpPr>
        <p:spPr>
          <a:xfrm>
            <a:off x="4441373"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5" name="Text Placeholder 5">
            <a:extLst>
              <a:ext uri="{FF2B5EF4-FFF2-40B4-BE49-F238E27FC236}">
                <a16:creationId xmlns:a16="http://schemas.microsoft.com/office/drawing/2014/main" id="{59B4166D-BAA9-A841-87DF-92E32A96E696}"/>
              </a:ext>
            </a:extLst>
          </p:cNvPr>
          <p:cNvSpPr>
            <a:spLocks noGrp="1"/>
          </p:cNvSpPr>
          <p:nvPr>
            <p:ph type="body" sz="quarter" idx="14" hasCustomPrompt="1"/>
          </p:nvPr>
        </p:nvSpPr>
        <p:spPr>
          <a:xfrm>
            <a:off x="837051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Tree>
    <p:extLst>
      <p:ext uri="{BB962C8B-B14F-4D97-AF65-F5344CB8AC3E}">
        <p14:creationId xmlns:p14="http://schemas.microsoft.com/office/powerpoint/2010/main" val="144067327"/>
      </p:ext>
    </p:extLst>
  </p:cSld>
  <p:clrMapOvr>
    <a:masterClrMapping/>
  </p:clrMapOvr>
  <p:transition spd="slow">
    <p:wipe dir="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662866819"/>
      </p:ext>
    </p:extLst>
  </p:cSld>
  <p:clrMapOvr>
    <a:masterClrMapping/>
  </p:clrMapOvr>
  <p:transition spd="slow">
    <p:wipe dir="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6" y="5958226"/>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490681410"/>
      </p:ext>
    </p:extLst>
  </p:cSld>
  <p:clrMapOvr>
    <a:masterClrMapping/>
  </p:clrMapOvr>
  <p:transition spd="slow">
    <p:wipe dir="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405548"/>
            <a:ext cx="11175769" cy="1325563"/>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372892732"/>
      </p:ext>
    </p:extLst>
  </p:cSld>
  <p:clrMapOvr>
    <a:masterClrMapping/>
  </p:clrMapOvr>
  <p:transition spd="slow">
    <p:wipe dir="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cxnSp>
        <p:nvCxnSpPr>
          <p:cNvPr id="4" name="Straight Connector 3"/>
          <p:cNvCxnSpPr/>
          <p:nvPr/>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Tree>
    <p:extLst>
      <p:ext uri="{BB962C8B-B14F-4D97-AF65-F5344CB8AC3E}">
        <p14:creationId xmlns:p14="http://schemas.microsoft.com/office/powerpoint/2010/main" val="2191713181"/>
      </p:ext>
    </p:extLst>
  </p:cSld>
  <p:clrMapOvr>
    <a:masterClrMapping/>
  </p:clrMapOvr>
  <p:transition spd="slow">
    <p:wipe dir="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17" name="Text Placeholder 5">
            <a:extLst>
              <a:ext uri="{FF2B5EF4-FFF2-40B4-BE49-F238E27FC236}">
                <a16:creationId xmlns:a16="http://schemas.microsoft.com/office/drawing/2014/main" id="{8177294B-20F5-9944-8235-D9BC3472029B}"/>
              </a:ext>
            </a:extLst>
          </p:cNvPr>
          <p:cNvSpPr>
            <a:spLocks noGrp="1"/>
          </p:cNvSpPr>
          <p:nvPr>
            <p:ph type="body" sz="quarter" idx="10" hasCustomPrompt="1"/>
          </p:nvPr>
        </p:nvSpPr>
        <p:spPr>
          <a:xfrm>
            <a:off x="50800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0" name="Text Placeholder 5">
            <a:extLst>
              <a:ext uri="{FF2B5EF4-FFF2-40B4-BE49-F238E27FC236}">
                <a16:creationId xmlns:a16="http://schemas.microsoft.com/office/drawing/2014/main" id="{16C83BD2-BF74-2E4E-9118-BF16B37E96A0}"/>
              </a:ext>
            </a:extLst>
          </p:cNvPr>
          <p:cNvSpPr>
            <a:spLocks noGrp="1"/>
          </p:cNvSpPr>
          <p:nvPr>
            <p:ph type="body" sz="quarter" idx="12" hasCustomPrompt="1"/>
          </p:nvPr>
        </p:nvSpPr>
        <p:spPr>
          <a:xfrm>
            <a:off x="4441373"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1" name="Text Placeholder 5">
            <a:extLst>
              <a:ext uri="{FF2B5EF4-FFF2-40B4-BE49-F238E27FC236}">
                <a16:creationId xmlns:a16="http://schemas.microsoft.com/office/drawing/2014/main" id="{AD62FC8A-5158-0848-B0E3-3DB4E95B21C7}"/>
              </a:ext>
            </a:extLst>
          </p:cNvPr>
          <p:cNvSpPr>
            <a:spLocks noGrp="1"/>
          </p:cNvSpPr>
          <p:nvPr>
            <p:ph type="body" sz="quarter" idx="14" hasCustomPrompt="1"/>
          </p:nvPr>
        </p:nvSpPr>
        <p:spPr>
          <a:xfrm>
            <a:off x="837051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Tree>
    <p:extLst>
      <p:ext uri="{BB962C8B-B14F-4D97-AF65-F5344CB8AC3E}">
        <p14:creationId xmlns:p14="http://schemas.microsoft.com/office/powerpoint/2010/main" val="937075592"/>
      </p:ext>
    </p:extLst>
  </p:cSld>
  <p:clrMapOvr>
    <a:masterClrMapping/>
  </p:clrMapOvr>
  <p:transition spd="slow">
    <p:wipe dir="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23" name="Text Placeholder 5">
            <a:extLst>
              <a:ext uri="{FF2B5EF4-FFF2-40B4-BE49-F238E27FC236}">
                <a16:creationId xmlns:a16="http://schemas.microsoft.com/office/drawing/2014/main" id="{2E2E8FF9-8E70-E84B-8E15-2BFB71256161}"/>
              </a:ext>
            </a:extLst>
          </p:cNvPr>
          <p:cNvSpPr>
            <a:spLocks noGrp="1"/>
          </p:cNvSpPr>
          <p:nvPr>
            <p:ph type="body" sz="quarter" idx="22" hasCustomPrompt="1"/>
          </p:nvPr>
        </p:nvSpPr>
        <p:spPr>
          <a:xfrm>
            <a:off x="617935"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 useBgFill="1">
        <p:nvSpPr>
          <p:cNvPr id="24" name="Text Placeholder 5">
            <a:extLst>
              <a:ext uri="{FF2B5EF4-FFF2-40B4-BE49-F238E27FC236}">
                <a16:creationId xmlns:a16="http://schemas.microsoft.com/office/drawing/2014/main" id="{FACAFBBD-ABF2-874C-B241-027A038A0576}"/>
              </a:ext>
            </a:extLst>
          </p:cNvPr>
          <p:cNvSpPr>
            <a:spLocks noGrp="1"/>
          </p:cNvSpPr>
          <p:nvPr>
            <p:ph type="body" sz="quarter" idx="23" hasCustomPrompt="1"/>
          </p:nvPr>
        </p:nvSpPr>
        <p:spPr>
          <a:xfrm>
            <a:off x="3484250"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5" name="Text Placeholder 5">
            <a:extLst>
              <a:ext uri="{FF2B5EF4-FFF2-40B4-BE49-F238E27FC236}">
                <a16:creationId xmlns:a16="http://schemas.microsoft.com/office/drawing/2014/main" id="{A49045D6-8BFC-B640-A296-C381BA776873}"/>
              </a:ext>
            </a:extLst>
          </p:cNvPr>
          <p:cNvSpPr>
            <a:spLocks noGrp="1"/>
          </p:cNvSpPr>
          <p:nvPr>
            <p:ph type="body" sz="quarter" idx="24" hasCustomPrompt="1"/>
          </p:nvPr>
        </p:nvSpPr>
        <p:spPr>
          <a:xfrm>
            <a:off x="6350564"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6" name="Text Placeholder 5">
            <a:extLst>
              <a:ext uri="{FF2B5EF4-FFF2-40B4-BE49-F238E27FC236}">
                <a16:creationId xmlns:a16="http://schemas.microsoft.com/office/drawing/2014/main" id="{528826DE-8AAC-D043-8029-3310BBA334FC}"/>
              </a:ext>
            </a:extLst>
          </p:cNvPr>
          <p:cNvSpPr>
            <a:spLocks noGrp="1"/>
          </p:cNvSpPr>
          <p:nvPr>
            <p:ph type="body" sz="quarter" idx="25" hasCustomPrompt="1"/>
          </p:nvPr>
        </p:nvSpPr>
        <p:spPr>
          <a:xfrm>
            <a:off x="9228612"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Tree>
    <p:extLst>
      <p:ext uri="{BB962C8B-B14F-4D97-AF65-F5344CB8AC3E}">
        <p14:creationId xmlns:p14="http://schemas.microsoft.com/office/powerpoint/2010/main" val="3791507034"/>
      </p:ext>
    </p:extLst>
  </p:cSld>
  <p:clrMapOvr>
    <a:masterClrMapping/>
  </p:clrMapOvr>
  <p:transition spd="slow">
    <p:wipe dir="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chemeClr val="bg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520600387"/>
      </p:ext>
    </p:extLst>
  </p:cSld>
  <p:clrMapOvr>
    <a:masterClrMapping/>
  </p:clrMapOvr>
  <p:transition spd="slow">
    <p:wipe dir="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1F558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chemeClr val="accent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3879238907"/>
      </p:ext>
    </p:extLst>
  </p:cSld>
  <p:clrMapOvr>
    <a:masterClrMapping/>
  </p:clrMapOvr>
  <p:transition spd="slow">
    <p:wipe dir="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22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9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15" name="Text Placeholder 5">
            <a:extLst>
              <a:ext uri="{FF2B5EF4-FFF2-40B4-BE49-F238E27FC236}">
                <a16:creationId xmlns:a16="http://schemas.microsoft.com/office/drawing/2014/main" id="{1DBEBA93-80C3-964D-AF2C-2D8C9BF3CFE4}"/>
              </a:ext>
            </a:extLst>
          </p:cNvPr>
          <p:cNvSpPr>
            <a:spLocks noGrp="1"/>
          </p:cNvSpPr>
          <p:nvPr>
            <p:ph type="body" sz="quarter" idx="22" hasCustomPrompt="1"/>
          </p:nvPr>
        </p:nvSpPr>
        <p:spPr>
          <a:xfrm>
            <a:off x="617935"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16" name="Text Placeholder 5">
            <a:extLst>
              <a:ext uri="{FF2B5EF4-FFF2-40B4-BE49-F238E27FC236}">
                <a16:creationId xmlns:a16="http://schemas.microsoft.com/office/drawing/2014/main" id="{4CD20D2B-0F2E-4043-9739-90A491FA2E51}"/>
              </a:ext>
            </a:extLst>
          </p:cNvPr>
          <p:cNvSpPr>
            <a:spLocks noGrp="1"/>
          </p:cNvSpPr>
          <p:nvPr>
            <p:ph type="body" sz="quarter" idx="23" hasCustomPrompt="1"/>
          </p:nvPr>
        </p:nvSpPr>
        <p:spPr>
          <a:xfrm>
            <a:off x="3484250"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17" name="Text Placeholder 5">
            <a:extLst>
              <a:ext uri="{FF2B5EF4-FFF2-40B4-BE49-F238E27FC236}">
                <a16:creationId xmlns:a16="http://schemas.microsoft.com/office/drawing/2014/main" id="{A9A47F79-BE94-BA47-A2CB-5FD3DBEA1A1B}"/>
              </a:ext>
            </a:extLst>
          </p:cNvPr>
          <p:cNvSpPr>
            <a:spLocks noGrp="1"/>
          </p:cNvSpPr>
          <p:nvPr>
            <p:ph type="body" sz="quarter" idx="24" hasCustomPrompt="1"/>
          </p:nvPr>
        </p:nvSpPr>
        <p:spPr>
          <a:xfrm>
            <a:off x="6350564"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0" name="Text Placeholder 5">
            <a:extLst>
              <a:ext uri="{FF2B5EF4-FFF2-40B4-BE49-F238E27FC236}">
                <a16:creationId xmlns:a16="http://schemas.microsoft.com/office/drawing/2014/main" id="{525435F3-50E5-4F4F-8287-EC37BD8C5FBA}"/>
              </a:ext>
            </a:extLst>
          </p:cNvPr>
          <p:cNvSpPr>
            <a:spLocks noGrp="1"/>
          </p:cNvSpPr>
          <p:nvPr>
            <p:ph type="body" sz="quarter" idx="25" hasCustomPrompt="1"/>
          </p:nvPr>
        </p:nvSpPr>
        <p:spPr>
          <a:xfrm>
            <a:off x="9216879"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Tree>
    <p:extLst>
      <p:ext uri="{BB962C8B-B14F-4D97-AF65-F5344CB8AC3E}">
        <p14:creationId xmlns:p14="http://schemas.microsoft.com/office/powerpoint/2010/main" val="699483873"/>
      </p:ext>
    </p:extLst>
  </p:cSld>
  <p:clrMapOvr>
    <a:masterClrMapping/>
  </p:clrMapOvr>
  <p:transition spd="slow">
    <p:wipe dir="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eashell BG">
    <p:bg>
      <p:bgPr>
        <a:solidFill>
          <a:schemeClr val="accent5"/>
        </a:solidFill>
        <a:effectLst/>
      </p:bgPr>
    </p:bg>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7E2036F5-128F-7A43-8E3A-F2190B6630C2}"/>
              </a:ext>
            </a:extLst>
          </p:cNvPr>
          <p:cNvGrpSpPr/>
          <p:nvPr userDrawn="1"/>
        </p:nvGrpSpPr>
        <p:grpSpPr>
          <a:xfrm>
            <a:off x="5551891" y="1"/>
            <a:ext cx="7959877" cy="7591636"/>
            <a:chOff x="7994577" y="0"/>
            <a:chExt cx="11462017" cy="10932307"/>
          </a:xfrm>
        </p:grpSpPr>
        <p:grpSp>
          <p:nvGrpSpPr>
            <p:cNvPr id="57" name="Circle">
              <a:extLst>
                <a:ext uri="{FF2B5EF4-FFF2-40B4-BE49-F238E27FC236}">
                  <a16:creationId xmlns:a16="http://schemas.microsoft.com/office/drawing/2014/main" id="{6F4F397A-9318-5A47-AD83-78DD3E6D5143}"/>
                </a:ext>
              </a:extLst>
            </p:cNvPr>
            <p:cNvGrpSpPr/>
            <p:nvPr userDrawn="1"/>
          </p:nvGrpSpPr>
          <p:grpSpPr>
            <a:xfrm>
              <a:off x="9956627" y="1432340"/>
              <a:ext cx="9499967" cy="9499967"/>
              <a:chOff x="5143500" y="742950"/>
              <a:chExt cx="4927600" cy="4927600"/>
            </a:xfrm>
          </p:grpSpPr>
          <p:sp>
            <p:nvSpPr>
              <p:cNvPr id="84" name="Oval 83">
                <a:extLst>
                  <a:ext uri="{FF2B5EF4-FFF2-40B4-BE49-F238E27FC236}">
                    <a16:creationId xmlns:a16="http://schemas.microsoft.com/office/drawing/2014/main" id="{0D2C09A5-66A0-B640-8A89-5D57816B5C37}"/>
                  </a:ext>
                </a:extLst>
              </p:cNvPr>
              <p:cNvSpPr/>
              <p:nvPr/>
            </p:nvSpPr>
            <p:spPr>
              <a:xfrm>
                <a:off x="5143500" y="742950"/>
                <a:ext cx="4927600" cy="4927600"/>
              </a:xfrm>
              <a:prstGeom prst="ellipse">
                <a:avLst/>
              </a:prstGeom>
              <a:blipFill dpi="0" rotWithShape="1">
                <a:blip r:embed="rId2">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85" name="Oval 84">
                <a:extLst>
                  <a:ext uri="{FF2B5EF4-FFF2-40B4-BE49-F238E27FC236}">
                    <a16:creationId xmlns:a16="http://schemas.microsoft.com/office/drawing/2014/main" id="{655C89A4-E5A5-9D4C-AA66-31192363D984}"/>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58" name="one lump">
              <a:extLst>
                <a:ext uri="{FF2B5EF4-FFF2-40B4-BE49-F238E27FC236}">
                  <a16:creationId xmlns:a16="http://schemas.microsoft.com/office/drawing/2014/main" id="{F18E86AC-3F7C-784F-86E5-16D89E8B552C}"/>
                </a:ext>
              </a:extLst>
            </p:cNvPr>
            <p:cNvGrpSpPr/>
            <p:nvPr userDrawn="1"/>
          </p:nvGrpSpPr>
          <p:grpSpPr>
            <a:xfrm rot="10800000">
              <a:off x="14016662" y="0"/>
              <a:ext cx="3562164" cy="4398387"/>
              <a:chOff x="2328672" y="2862072"/>
              <a:chExt cx="1847682" cy="2281428"/>
            </a:xfrm>
          </p:grpSpPr>
          <p:sp>
            <p:nvSpPr>
              <p:cNvPr id="82" name="Graphic 6" hidden="1">
                <a:extLst>
                  <a:ext uri="{FF2B5EF4-FFF2-40B4-BE49-F238E27FC236}">
                    <a16:creationId xmlns:a16="http://schemas.microsoft.com/office/drawing/2014/main" id="{82593997-1390-A24C-A103-338E3EF489A8}"/>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83" name="Graphic 6">
                <a:extLst>
                  <a:ext uri="{FF2B5EF4-FFF2-40B4-BE49-F238E27FC236}">
                    <a16:creationId xmlns:a16="http://schemas.microsoft.com/office/drawing/2014/main" id="{6B6A9E68-5302-424A-996C-3B21666C57C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59" name="streaks">
              <a:extLst>
                <a:ext uri="{FF2B5EF4-FFF2-40B4-BE49-F238E27FC236}">
                  <a16:creationId xmlns:a16="http://schemas.microsoft.com/office/drawing/2014/main" id="{0829B57B-1785-0149-B41D-82F2BF8A51E1}"/>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67" name="Graphic 2">
                <a:extLst>
                  <a:ext uri="{FF2B5EF4-FFF2-40B4-BE49-F238E27FC236}">
                    <a16:creationId xmlns:a16="http://schemas.microsoft.com/office/drawing/2014/main" id="{C48091C8-64A4-9D4C-B223-8D53BAEDFD6E}"/>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68" name="Graphic 2">
                <a:extLst>
                  <a:ext uri="{FF2B5EF4-FFF2-40B4-BE49-F238E27FC236}">
                    <a16:creationId xmlns:a16="http://schemas.microsoft.com/office/drawing/2014/main" id="{ECD15EB6-231A-7C4E-9AC2-C46EEB8EC948}"/>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69" name="Graphic 2">
                <a:extLst>
                  <a:ext uri="{FF2B5EF4-FFF2-40B4-BE49-F238E27FC236}">
                    <a16:creationId xmlns:a16="http://schemas.microsoft.com/office/drawing/2014/main" id="{1A87F180-2396-3F46-99D3-87F1D2B11DD3}"/>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70" name="Graphic 2">
                <a:extLst>
                  <a:ext uri="{FF2B5EF4-FFF2-40B4-BE49-F238E27FC236}">
                    <a16:creationId xmlns:a16="http://schemas.microsoft.com/office/drawing/2014/main" id="{79B400E3-0228-2A48-ABDC-D738C7AECA47}"/>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71" name="Graphic 2">
                <a:extLst>
                  <a:ext uri="{FF2B5EF4-FFF2-40B4-BE49-F238E27FC236}">
                    <a16:creationId xmlns:a16="http://schemas.microsoft.com/office/drawing/2014/main" id="{0A53F592-E792-FA47-B684-665A671E233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72" name="Graphic 2">
                <a:extLst>
                  <a:ext uri="{FF2B5EF4-FFF2-40B4-BE49-F238E27FC236}">
                    <a16:creationId xmlns:a16="http://schemas.microsoft.com/office/drawing/2014/main" id="{80694FB5-F709-9145-A389-F9C2CF43EAE9}"/>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73" name="Graphic 2">
                <a:extLst>
                  <a:ext uri="{FF2B5EF4-FFF2-40B4-BE49-F238E27FC236}">
                    <a16:creationId xmlns:a16="http://schemas.microsoft.com/office/drawing/2014/main" id="{4D124D94-9075-4E45-A003-D698A4D6ADC4}"/>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74" name="Graphic 2">
                <a:extLst>
                  <a:ext uri="{FF2B5EF4-FFF2-40B4-BE49-F238E27FC236}">
                    <a16:creationId xmlns:a16="http://schemas.microsoft.com/office/drawing/2014/main" id="{1D59CCFD-FB9C-3740-9F94-05222ABF7720}"/>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75" name="Graphic 2">
                <a:extLst>
                  <a:ext uri="{FF2B5EF4-FFF2-40B4-BE49-F238E27FC236}">
                    <a16:creationId xmlns:a16="http://schemas.microsoft.com/office/drawing/2014/main" id="{A50D94FC-CDAB-8541-96C1-7130E4BE394C}"/>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76" name="Graphic 2">
                <a:extLst>
                  <a:ext uri="{FF2B5EF4-FFF2-40B4-BE49-F238E27FC236}">
                    <a16:creationId xmlns:a16="http://schemas.microsoft.com/office/drawing/2014/main" id="{53ECF351-78F4-9F4A-99E7-C5A34EA25EE1}"/>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77" name="Graphic 2">
                <a:extLst>
                  <a:ext uri="{FF2B5EF4-FFF2-40B4-BE49-F238E27FC236}">
                    <a16:creationId xmlns:a16="http://schemas.microsoft.com/office/drawing/2014/main" id="{CF96F85C-3FE9-1642-9F0B-6A98CFC6EA00}"/>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78" name="Graphic 2">
                <a:extLst>
                  <a:ext uri="{FF2B5EF4-FFF2-40B4-BE49-F238E27FC236}">
                    <a16:creationId xmlns:a16="http://schemas.microsoft.com/office/drawing/2014/main" id="{95BC99DF-A478-874D-AF08-EB8DB37EE68E}"/>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79" name="Graphic 2">
                <a:extLst>
                  <a:ext uri="{FF2B5EF4-FFF2-40B4-BE49-F238E27FC236}">
                    <a16:creationId xmlns:a16="http://schemas.microsoft.com/office/drawing/2014/main" id="{E5557E15-F214-4E4D-8C71-5764DCA1E19B}"/>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80" name="Graphic 2">
                <a:extLst>
                  <a:ext uri="{FF2B5EF4-FFF2-40B4-BE49-F238E27FC236}">
                    <a16:creationId xmlns:a16="http://schemas.microsoft.com/office/drawing/2014/main" id="{6235E861-C55E-0F49-8887-2068AB2B9FDC}"/>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81" name="Graphic 2">
                <a:extLst>
                  <a:ext uri="{FF2B5EF4-FFF2-40B4-BE49-F238E27FC236}">
                    <a16:creationId xmlns:a16="http://schemas.microsoft.com/office/drawing/2014/main" id="{94F15CB0-94C4-6B45-9459-77B215B476DC}"/>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0" name="Graphic 56">
              <a:extLst>
                <a:ext uri="{FF2B5EF4-FFF2-40B4-BE49-F238E27FC236}">
                  <a16:creationId xmlns:a16="http://schemas.microsoft.com/office/drawing/2014/main" id="{A146D7CC-8773-B34C-9B46-599AFE1FABC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1" name="Graphic 61">
              <a:extLst>
                <a:ext uri="{FF2B5EF4-FFF2-40B4-BE49-F238E27FC236}">
                  <a16:creationId xmlns:a16="http://schemas.microsoft.com/office/drawing/2014/main" id="{301B2ACB-C05B-C04E-BE15-0576F546C9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62" name="4 Xs">
              <a:extLst>
                <a:ext uri="{FF2B5EF4-FFF2-40B4-BE49-F238E27FC236}">
                  <a16:creationId xmlns:a16="http://schemas.microsoft.com/office/drawing/2014/main" id="{DB050E3C-4B92-B348-B6BD-0215DB9E6E64}"/>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63" name="Graphic 37">
                <a:extLst>
                  <a:ext uri="{FF2B5EF4-FFF2-40B4-BE49-F238E27FC236}">
                    <a16:creationId xmlns:a16="http://schemas.microsoft.com/office/drawing/2014/main" id="{49DCBB61-C991-A843-97B7-6448FD09195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64" name="Graphic 37">
                <a:extLst>
                  <a:ext uri="{FF2B5EF4-FFF2-40B4-BE49-F238E27FC236}">
                    <a16:creationId xmlns:a16="http://schemas.microsoft.com/office/drawing/2014/main" id="{1D3D5D7A-95C6-F847-A257-60BA7CDC76C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65" name="Graphic 37">
                <a:extLst>
                  <a:ext uri="{FF2B5EF4-FFF2-40B4-BE49-F238E27FC236}">
                    <a16:creationId xmlns:a16="http://schemas.microsoft.com/office/drawing/2014/main" id="{895EE3BC-B130-854C-BC3D-A7F4FE30CB4F}"/>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66" name="Graphic 37">
                <a:extLst>
                  <a:ext uri="{FF2B5EF4-FFF2-40B4-BE49-F238E27FC236}">
                    <a16:creationId xmlns:a16="http://schemas.microsoft.com/office/drawing/2014/main" id="{95FEACF9-FB13-D54A-AEBB-4C1F25144E7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48194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grpSp>
        <p:nvGrpSpPr>
          <p:cNvPr id="23" name="waves">
            <a:extLst>
              <a:ext uri="{FF2B5EF4-FFF2-40B4-BE49-F238E27FC236}">
                <a16:creationId xmlns:a16="http://schemas.microsoft.com/office/drawing/2014/main" id="{78FF047B-042B-184B-98A9-4D6759BB8D55}"/>
              </a:ext>
            </a:extLst>
          </p:cNvPr>
          <p:cNvGrpSpPr/>
          <p:nvPr userDrawn="1"/>
        </p:nvGrpSpPr>
        <p:grpSpPr>
          <a:xfrm>
            <a:off x="-1566254" y="5170549"/>
            <a:ext cx="17037436" cy="1687452"/>
            <a:chOff x="4253152" y="151074"/>
            <a:chExt cx="6930220" cy="2076330"/>
          </a:xfrm>
        </p:grpSpPr>
        <p:sp>
          <p:nvSpPr>
            <p:cNvPr id="24" name="coral">
              <a:extLst>
                <a:ext uri="{FF2B5EF4-FFF2-40B4-BE49-F238E27FC236}">
                  <a16:creationId xmlns:a16="http://schemas.microsoft.com/office/drawing/2014/main" id="{3B3E6D26-CD9B-EE47-8932-6B0B3B8BF33C}"/>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5" name="green">
              <a:extLst>
                <a:ext uri="{FF2B5EF4-FFF2-40B4-BE49-F238E27FC236}">
                  <a16:creationId xmlns:a16="http://schemas.microsoft.com/office/drawing/2014/main" id="{70A4A9C1-D410-7B49-9F90-4736A2E50A0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1790996155"/>
      </p:ext>
    </p:extLst>
  </p:cSld>
  <p:clrMapOvr>
    <a:masterClrMapping/>
  </p:clrMapOvr>
  <p:transition spd="slow">
    <p:wipe dir="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waves">
            <a:extLst>
              <a:ext uri="{FF2B5EF4-FFF2-40B4-BE49-F238E27FC236}">
                <a16:creationId xmlns:a16="http://schemas.microsoft.com/office/drawing/2014/main" id="{39616EB5-6B04-604F-BAC6-C005AC2B886C}"/>
              </a:ext>
            </a:extLst>
          </p:cNvPr>
          <p:cNvGrpSpPr/>
          <p:nvPr userDrawn="1"/>
        </p:nvGrpSpPr>
        <p:grpSpPr>
          <a:xfrm>
            <a:off x="-1566254" y="5170549"/>
            <a:ext cx="17037436" cy="1687452"/>
            <a:chOff x="4253152" y="151074"/>
            <a:chExt cx="6930220" cy="2076330"/>
          </a:xfrm>
        </p:grpSpPr>
        <p:sp>
          <p:nvSpPr>
            <p:cNvPr id="21" name="coral">
              <a:extLst>
                <a:ext uri="{FF2B5EF4-FFF2-40B4-BE49-F238E27FC236}">
                  <a16:creationId xmlns:a16="http://schemas.microsoft.com/office/drawing/2014/main" id="{E3EF3A70-98AF-2E48-BCCD-D3F505097C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4C75630-123C-354A-90FC-64179A7F0B81}"/>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6032549" y="53553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578872802"/>
      </p:ext>
    </p:extLst>
  </p:cSld>
  <p:clrMapOvr>
    <a:masterClrMapping/>
  </p:clrMapOvr>
  <p:transition spd="slow">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5" name="Oval 64">
            <a:extLst>
              <a:ext uri="{FF2B5EF4-FFF2-40B4-BE49-F238E27FC236}">
                <a16:creationId xmlns:a16="http://schemas.microsoft.com/office/drawing/2014/main" id="{A67F92C1-226B-D34B-8F57-77A1E9414682}"/>
              </a:ext>
            </a:extLst>
          </p:cNvPr>
          <p:cNvSpPr/>
          <p:nvPr userDrawn="1"/>
        </p:nvSpPr>
        <p:spPr>
          <a:xfrm>
            <a:off x="6920522" y="976171"/>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32" name="waves">
            <a:extLst>
              <a:ext uri="{FF2B5EF4-FFF2-40B4-BE49-F238E27FC236}">
                <a16:creationId xmlns:a16="http://schemas.microsoft.com/office/drawing/2014/main" id="{B3697C6D-79F7-AC41-BFF3-CCAEC86A9EF9}"/>
              </a:ext>
            </a:extLst>
          </p:cNvPr>
          <p:cNvGrpSpPr/>
          <p:nvPr userDrawn="1"/>
        </p:nvGrpSpPr>
        <p:grpSpPr>
          <a:xfrm>
            <a:off x="6096001" y="4542732"/>
            <a:ext cx="7779727" cy="2330729"/>
            <a:chOff x="4253152" y="151074"/>
            <a:chExt cx="6930220" cy="2076330"/>
          </a:xfrm>
        </p:grpSpPr>
        <p:sp>
          <p:nvSpPr>
            <p:cNvPr id="33" name="coral">
              <a:extLst>
                <a:ext uri="{FF2B5EF4-FFF2-40B4-BE49-F238E27FC236}">
                  <a16:creationId xmlns:a16="http://schemas.microsoft.com/office/drawing/2014/main" id="{D4BABF9B-7D7A-F042-B042-23A66D30317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4" name="green">
              <a:extLst>
                <a:ext uri="{FF2B5EF4-FFF2-40B4-BE49-F238E27FC236}">
                  <a16:creationId xmlns:a16="http://schemas.microsoft.com/office/drawing/2014/main" id="{33243E7D-BA9B-7F45-AEC0-0F2863FB31C7}"/>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798108145"/>
      </p:ext>
    </p:extLst>
  </p:cSld>
  <p:clrMapOvr>
    <a:masterClrMapping/>
  </p:clrMapOvr>
  <p:transition spd="slow">
    <p:wipe dir="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8" name="waves">
            <a:extLst>
              <a:ext uri="{FF2B5EF4-FFF2-40B4-BE49-F238E27FC236}">
                <a16:creationId xmlns:a16="http://schemas.microsoft.com/office/drawing/2014/main" id="{E555CF5C-748A-CE43-8182-BD26B45F50E8}"/>
              </a:ext>
            </a:extLst>
          </p:cNvPr>
          <p:cNvGrpSpPr/>
          <p:nvPr userDrawn="1"/>
        </p:nvGrpSpPr>
        <p:grpSpPr>
          <a:xfrm>
            <a:off x="6096001" y="4542732"/>
            <a:ext cx="7779727" cy="2330729"/>
            <a:chOff x="4253152" y="151074"/>
            <a:chExt cx="6930220" cy="2076330"/>
          </a:xfrm>
        </p:grpSpPr>
        <p:sp>
          <p:nvSpPr>
            <p:cNvPr id="49" name="coral">
              <a:extLst>
                <a:ext uri="{FF2B5EF4-FFF2-40B4-BE49-F238E27FC236}">
                  <a16:creationId xmlns:a16="http://schemas.microsoft.com/office/drawing/2014/main" id="{DED7FFEF-61C3-444A-B7CB-C47A60D8543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50" name="green">
              <a:extLst>
                <a:ext uri="{FF2B5EF4-FFF2-40B4-BE49-F238E27FC236}">
                  <a16:creationId xmlns:a16="http://schemas.microsoft.com/office/drawing/2014/main" id="{129EAA55-280A-E044-A52E-E0E15738E950}"/>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0" y="174"/>
            <a:ext cx="6391683" cy="6857657"/>
            <a:chOff x="8352309" y="248"/>
            <a:chExt cx="9203857" cy="9875345"/>
          </a:xfrm>
        </p:grpSpPr>
        <p:sp>
          <p:nvSpPr>
            <p:cNvPr id="22" name="Leaner">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sp>
          <p:nvSpPr>
            <p:cNvPr id="27" name="Graphic 6">
              <a:extLst>
                <a:ext uri="{FF2B5EF4-FFF2-40B4-BE49-F238E27FC236}">
                  <a16:creationId xmlns:a16="http://schemas.microsoft.com/office/drawing/2014/main" id="{24B07B6C-2ED5-8846-AC61-257D0BEB18BB}"/>
                </a:ext>
              </a:extLst>
            </p:cNvPr>
            <p:cNvSpPr/>
            <p:nvPr userDrawn="1"/>
          </p:nvSpPr>
          <p:spPr>
            <a:xfrm rot="10800000">
              <a:off x="14008676" y="248"/>
              <a:ext cx="3547485" cy="4380263"/>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2">
                <a:alphaModFix amt="1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4608" dirty="0"/>
            </a:p>
          </p:txBody>
        </p:sp>
        <p:grpSp>
          <p:nvGrpSpPr>
            <p:cNvPr id="28" name="Group 27">
              <a:extLst>
                <a:ext uri="{FF2B5EF4-FFF2-40B4-BE49-F238E27FC236}">
                  <a16:creationId xmlns:a16="http://schemas.microsoft.com/office/drawing/2014/main" id="{57235399-C95B-1943-B9EF-860E65AFDD01}"/>
                </a:ext>
              </a:extLst>
            </p:cNvPr>
            <p:cNvGrpSpPr/>
            <p:nvPr userDrawn="1"/>
          </p:nvGrpSpPr>
          <p:grpSpPr>
            <a:xfrm>
              <a:off x="14900230" y="913506"/>
              <a:ext cx="1268724" cy="1016526"/>
              <a:chOff x="14900230" y="913506"/>
              <a:chExt cx="1268724" cy="1016526"/>
            </a:xfrm>
            <a:solidFill>
              <a:schemeClr val="accent5">
                <a:alpha val="15223"/>
              </a:schemeClr>
            </a:solidFill>
          </p:grpSpPr>
          <p:sp>
            <p:nvSpPr>
              <p:cNvPr id="39" name="Freeform 38">
                <a:extLst>
                  <a:ext uri="{FF2B5EF4-FFF2-40B4-BE49-F238E27FC236}">
                    <a16:creationId xmlns:a16="http://schemas.microsoft.com/office/drawing/2014/main" id="{5B5C8F91-AF88-874B-9D3A-24B6B89475B0}"/>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40" name="Freeform 39">
                <a:extLst>
                  <a:ext uri="{FF2B5EF4-FFF2-40B4-BE49-F238E27FC236}">
                    <a16:creationId xmlns:a16="http://schemas.microsoft.com/office/drawing/2014/main" id="{B6609D64-423C-DC43-BAD9-388F8D5BEB88}"/>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41" name="Freeform 40">
                <a:extLst>
                  <a:ext uri="{FF2B5EF4-FFF2-40B4-BE49-F238E27FC236}">
                    <a16:creationId xmlns:a16="http://schemas.microsoft.com/office/drawing/2014/main" id="{BD6BAF1C-7522-754B-B806-5C8F99B9050F}"/>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29" name="Group 28">
              <a:extLst>
                <a:ext uri="{FF2B5EF4-FFF2-40B4-BE49-F238E27FC236}">
                  <a16:creationId xmlns:a16="http://schemas.microsoft.com/office/drawing/2014/main" id="{B9821EA1-C321-4246-A6D2-DACB94F87897}"/>
                </a:ext>
              </a:extLst>
            </p:cNvPr>
            <p:cNvGrpSpPr/>
            <p:nvPr userDrawn="1"/>
          </p:nvGrpSpPr>
          <p:grpSpPr>
            <a:xfrm>
              <a:off x="15782242" y="1613278"/>
              <a:ext cx="1036054" cy="2188200"/>
              <a:chOff x="15782242" y="1613278"/>
              <a:chExt cx="1036054" cy="2188200"/>
            </a:xfrm>
          </p:grpSpPr>
          <p:sp>
            <p:nvSpPr>
              <p:cNvPr id="36" name="Graphic 43">
                <a:extLst>
                  <a:ext uri="{FF2B5EF4-FFF2-40B4-BE49-F238E27FC236}">
                    <a16:creationId xmlns:a16="http://schemas.microsoft.com/office/drawing/2014/main" id="{6FD28292-19D6-944A-ADB4-2DC046E6FDCE}"/>
                  </a:ext>
                </a:extLst>
              </p:cNvPr>
              <p:cNvSpPr/>
              <p:nvPr userDrawn="1"/>
            </p:nvSpPr>
            <p:spPr>
              <a:xfrm>
                <a:off x="15782242" y="1613278"/>
                <a:ext cx="225014" cy="2188200"/>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7" name="Graphic 43">
                <a:extLst>
                  <a:ext uri="{FF2B5EF4-FFF2-40B4-BE49-F238E27FC236}">
                    <a16:creationId xmlns:a16="http://schemas.microsoft.com/office/drawing/2014/main" id="{35FAB3DF-38A8-3F43-B269-6CFA1F7B25A6}"/>
                  </a:ext>
                </a:extLst>
              </p:cNvPr>
              <p:cNvSpPr/>
              <p:nvPr userDrawn="1"/>
            </p:nvSpPr>
            <p:spPr>
              <a:xfrm>
                <a:off x="16187762" y="1736380"/>
                <a:ext cx="225014" cy="2065098"/>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8" name="Graphic 43">
                <a:extLst>
                  <a:ext uri="{FF2B5EF4-FFF2-40B4-BE49-F238E27FC236}">
                    <a16:creationId xmlns:a16="http://schemas.microsoft.com/office/drawing/2014/main" id="{59FFEE35-F625-1F42-9CC5-050597A6730D}"/>
                  </a:ext>
                </a:extLst>
              </p:cNvPr>
              <p:cNvSpPr/>
              <p:nvPr userDrawn="1"/>
            </p:nvSpPr>
            <p:spPr>
              <a:xfrm>
                <a:off x="16593280" y="1897677"/>
                <a:ext cx="225016" cy="190380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gr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88772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4" name="waves">
            <a:extLst>
              <a:ext uri="{FF2B5EF4-FFF2-40B4-BE49-F238E27FC236}">
                <a16:creationId xmlns:a16="http://schemas.microsoft.com/office/drawing/2014/main" id="{2063CD0F-C9EB-3C44-9748-EA1260C4D8A4}"/>
              </a:ext>
            </a:extLst>
          </p:cNvPr>
          <p:cNvGrpSpPr/>
          <p:nvPr userDrawn="1"/>
        </p:nvGrpSpPr>
        <p:grpSpPr>
          <a:xfrm>
            <a:off x="-1566254" y="5170549"/>
            <a:ext cx="17037436" cy="1687452"/>
            <a:chOff x="4253152" y="151074"/>
            <a:chExt cx="6930220" cy="2076330"/>
          </a:xfrm>
        </p:grpSpPr>
        <p:sp>
          <p:nvSpPr>
            <p:cNvPr id="25" name="coral">
              <a:extLst>
                <a:ext uri="{FF2B5EF4-FFF2-40B4-BE49-F238E27FC236}">
                  <a16:creationId xmlns:a16="http://schemas.microsoft.com/office/drawing/2014/main" id="{E135005D-56A8-C644-9F2A-FE8BF5E183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6" name="green">
              <a:extLst>
                <a:ext uri="{FF2B5EF4-FFF2-40B4-BE49-F238E27FC236}">
                  <a16:creationId xmlns:a16="http://schemas.microsoft.com/office/drawing/2014/main" id="{26519B29-1185-F047-B6D7-88E348CE352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489277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9F543-4184-3E4F-9977-55C81E78063A}"/>
              </a:ext>
            </a:extLst>
          </p:cNvPr>
          <p:cNvGrpSpPr/>
          <p:nvPr userDrawn="1"/>
        </p:nvGrpSpPr>
        <p:grpSpPr>
          <a:xfrm>
            <a:off x="-733314" y="5049600"/>
            <a:ext cx="19125951" cy="1808401"/>
            <a:chOff x="7994577" y="7729729"/>
            <a:chExt cx="9753466" cy="2185140"/>
          </a:xfrm>
        </p:grpSpPr>
        <p:sp>
          <p:nvSpPr>
            <p:cNvPr id="5" name="Graphic 56">
              <a:extLst>
                <a:ext uri="{FF2B5EF4-FFF2-40B4-BE49-F238E27FC236}">
                  <a16:creationId xmlns:a16="http://schemas.microsoft.com/office/drawing/2014/main" id="{D7489825-F018-3B4F-8E18-461B40E9925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 name="Graphic 61">
              <a:extLst>
                <a:ext uri="{FF2B5EF4-FFF2-40B4-BE49-F238E27FC236}">
                  <a16:creationId xmlns:a16="http://schemas.microsoft.com/office/drawing/2014/main" id="{11B6F687-57A9-2742-9150-64E0A457153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0010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pic>
        <p:nvPicPr>
          <p:cNvPr id="41" name="wave pattern" descr="A picture containing nature, dune&#10;&#10;Description automatically generated">
            <a:extLst>
              <a:ext uri="{FF2B5EF4-FFF2-40B4-BE49-F238E27FC236}">
                <a16:creationId xmlns:a16="http://schemas.microsoft.com/office/drawing/2014/main" id="{FEA6B481-BC84-A24D-857C-DFC0F3E0055E}"/>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408306399"/>
      </p:ext>
    </p:extLst>
  </p:cSld>
  <p:clrMapOvr>
    <a:masterClrMapping/>
  </p:clrMapOvr>
  <p:transition spd="slow">
    <p:wipe dir="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pic>
        <p:nvPicPr>
          <p:cNvPr id="77" name="wave pattern" descr="A picture containing nature, dune&#10;&#10;Description automatically generated">
            <a:extLst>
              <a:ext uri="{FF2B5EF4-FFF2-40B4-BE49-F238E27FC236}">
                <a16:creationId xmlns:a16="http://schemas.microsoft.com/office/drawing/2014/main" id="{431210A4-7017-1C43-B12A-A6086FB5EFA8}"/>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7" name="Slide Number Placeholder 5">
            <a:extLst>
              <a:ext uri="{FF2B5EF4-FFF2-40B4-BE49-F238E27FC236}">
                <a16:creationId xmlns:a16="http://schemas.microsoft.com/office/drawing/2014/main" id="{02FFEA81-BB5A-E84B-8FBF-DF8658B0DFEC}"/>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sp>
        <p:nvSpPr>
          <p:cNvPr id="8" name="Slide Number Placeholder 5">
            <a:extLst>
              <a:ext uri="{FF2B5EF4-FFF2-40B4-BE49-F238E27FC236}">
                <a16:creationId xmlns:a16="http://schemas.microsoft.com/office/drawing/2014/main" id="{1E1766E1-6F1F-2E40-8922-5A29D6162A58}"/>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0"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2"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4"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Tree>
    <p:extLst>
      <p:ext uri="{BB962C8B-B14F-4D97-AF65-F5344CB8AC3E}">
        <p14:creationId xmlns:p14="http://schemas.microsoft.com/office/powerpoint/2010/main" val="4235848092"/>
      </p:ext>
    </p:extLst>
  </p:cSld>
  <p:clrMapOvr>
    <a:masterClrMapping/>
  </p:clrMapOvr>
  <p:transition spd="slow">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Engage Quote">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5" name="Rectangle 4">
            <a:extLst>
              <a:ext uri="{FF2B5EF4-FFF2-40B4-BE49-F238E27FC236}">
                <a16:creationId xmlns:a16="http://schemas.microsoft.com/office/drawing/2014/main" id="{CDEB7964-C5EE-104E-AB73-ECD369064086}"/>
              </a:ext>
            </a:extLst>
          </p:cNvPr>
          <p:cNvSpPr/>
          <p:nvPr userDrawn="1"/>
        </p:nvSpPr>
        <p:spPr>
          <a:xfrm>
            <a:off x="3314701"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Freeform: Shape 35">
            <a:extLst>
              <a:ext uri="{FF2B5EF4-FFF2-40B4-BE49-F238E27FC236}">
                <a16:creationId xmlns:a16="http://schemas.microsoft.com/office/drawing/2014/main" id="{3E06244D-399D-C244-BD04-78D56B482FA2}"/>
              </a:ext>
            </a:extLst>
          </p:cNvPr>
          <p:cNvSpPr/>
          <p:nvPr userDrawn="1"/>
        </p:nvSpPr>
        <p:spPr>
          <a:xfrm>
            <a:off x="-4951714" y="-193154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10000">
                <a:schemeClr val="tx1">
                  <a:alpha val="0"/>
                </a:schemeClr>
              </a:gs>
              <a:gs pos="100000">
                <a:schemeClr val="tx1">
                  <a:lumMod val="60000"/>
                  <a:lumOff val="40000"/>
                  <a:alpha val="30000"/>
                </a:schemeClr>
              </a:gs>
            </a:gsLst>
            <a:lin ang="10800000" scaled="1"/>
            <a:tileRect/>
          </a:gradFill>
          <a:ln w="2358" cap="flat">
            <a:noFill/>
            <a:prstDash val="solid"/>
            <a:miter/>
          </a:ln>
        </p:spPr>
        <p:txBody>
          <a:bodyPr rtlCol="0" anchor="ctr"/>
          <a:lstStyle/>
          <a:p>
            <a:endParaRPr lang="en-US" sz="2400"/>
          </a:p>
        </p:txBody>
      </p:sp>
      <p:sp>
        <p:nvSpPr>
          <p:cNvPr id="8" name="Rectangle 7">
            <a:extLst>
              <a:ext uri="{FF2B5EF4-FFF2-40B4-BE49-F238E27FC236}">
                <a16:creationId xmlns:a16="http://schemas.microsoft.com/office/drawing/2014/main" id="{878F7EAB-5EEF-5843-8277-AF186213EFF8}"/>
              </a:ext>
            </a:extLst>
          </p:cNvPr>
          <p:cNvSpPr/>
          <p:nvPr userDrawn="1"/>
        </p:nvSpPr>
        <p:spPr>
          <a:xfrm>
            <a:off x="2197099" y="-4099035"/>
            <a:ext cx="7810501"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77">
              <a:spcBef>
                <a:spcPct val="0"/>
              </a:spcBef>
            </a:pPr>
            <a:r>
              <a:rPr lang="en-GB" sz="3200" b="1" i="0" dirty="0">
                <a:solidFill>
                  <a:schemeClr val="tx2"/>
                </a:solidFill>
                <a:latin typeface="Source Sans Pro" panose="020B0503030403020204" pitchFamily="34" charset="0"/>
                <a:ea typeface="+mj-ea"/>
                <a:cs typeface="+mj-cs"/>
              </a:rPr>
              <a:t>Building a foundation for...</a:t>
            </a:r>
            <a:endParaRPr lang="en-US" sz="3200" b="1" i="0" dirty="0">
              <a:solidFill>
                <a:schemeClr val="tx2"/>
              </a:solidFill>
              <a:latin typeface="Source Sans Pro" panose="020B0503030403020204" pitchFamily="34" charset="0"/>
              <a:ea typeface="+mj-ea"/>
              <a:cs typeface="+mj-cs"/>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72EDE628-C243-344C-A7A9-A7B75D33690A}"/>
                  </a:ext>
                </a:extLst>
              </p14:cNvPr>
              <p14:cNvContentPartPr/>
              <p14:nvPr userDrawn="1"/>
            </p14:nvContentPartPr>
            <p14:xfrm>
              <a:off x="-5605893" y="439840"/>
              <a:ext cx="480" cy="480"/>
            </p14:xfrm>
          </p:contentPart>
        </mc:Choice>
        <mc:Fallback xmlns="">
          <p:pic>
            <p:nvPicPr>
              <p:cNvPr id="9" name="Ink 8">
                <a:extLst>
                  <a:ext uri="{FF2B5EF4-FFF2-40B4-BE49-F238E27FC236}">
                    <a16:creationId xmlns:a16="http://schemas.microsoft.com/office/drawing/2014/main" id="{72EDE628-C243-344C-A7A9-A7B75D33690A}"/>
                  </a:ext>
                </a:extLst>
              </p:cNvPr>
              <p:cNvPicPr/>
              <p:nvPr/>
            </p:nvPicPr>
            <p:blipFill>
              <a:blip r:embed="rId4"/>
              <a:stretch>
                <a:fillRect/>
              </a:stretch>
            </p:blipFill>
            <p:spPr>
              <a:xfrm>
                <a:off x="-5617893" y="427840"/>
                <a:ext cx="24000" cy="24000"/>
              </a:xfrm>
              <a:prstGeom prst="rect">
                <a:avLst/>
              </a:prstGeom>
            </p:spPr>
          </p:pic>
        </mc:Fallback>
      </mc:AlternateContent>
      <p:sp>
        <p:nvSpPr>
          <p:cNvPr id="31" name="TITLE">
            <a:extLst>
              <a:ext uri="{FF2B5EF4-FFF2-40B4-BE49-F238E27FC236}">
                <a16:creationId xmlns:a16="http://schemas.microsoft.com/office/drawing/2014/main" id="{0DE24C69-53C3-AE48-B542-909C6ABD56BF}"/>
              </a:ext>
            </a:extLst>
          </p:cNvPr>
          <p:cNvSpPr>
            <a:spLocks noGrp="1"/>
          </p:cNvSpPr>
          <p:nvPr>
            <p:ph type="body" sz="quarter" idx="12" hasCustomPrompt="1"/>
          </p:nvPr>
        </p:nvSpPr>
        <p:spPr>
          <a:xfrm>
            <a:off x="4229099" y="5432171"/>
            <a:ext cx="7454901" cy="533400"/>
          </a:xfrm>
        </p:spPr>
        <p:txBody>
          <a:bodyPr/>
          <a:lstStyle>
            <a:lvl1pPr>
              <a:defRPr b="1" i="0">
                <a:solidFill>
                  <a:schemeClr val="tx2"/>
                </a:solidFill>
                <a:latin typeface="Source Sans Pro Semibold" panose="020B0503030403020204" pitchFamily="34" charset="0"/>
                <a:ea typeface="Source Sans Pro Semibold" panose="020B0503030403020204" pitchFamily="34" charset="0"/>
              </a:defRPr>
            </a:lvl1pPr>
          </a:lstStyle>
          <a:p>
            <a:pPr lvl="0"/>
            <a:r>
              <a:rPr lang="en-US" dirty="0"/>
              <a:t>— Name, Title</a:t>
            </a:r>
          </a:p>
        </p:txBody>
      </p:sp>
      <p:sp>
        <p:nvSpPr>
          <p:cNvPr id="17" name="Title 1">
            <a:extLst>
              <a:ext uri="{FF2B5EF4-FFF2-40B4-BE49-F238E27FC236}">
                <a16:creationId xmlns:a16="http://schemas.microsoft.com/office/drawing/2014/main" id="{75015F69-F9C8-9540-AF88-3152FE5DD6D4}"/>
              </a:ext>
            </a:extLst>
          </p:cNvPr>
          <p:cNvSpPr txBox="1">
            <a:spLocks/>
          </p:cNvSpPr>
          <p:nvPr userDrawn="1"/>
        </p:nvSpPr>
        <p:spPr>
          <a:xfrm>
            <a:off x="4115904" y="1063410"/>
            <a:ext cx="760897" cy="1323439"/>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8000" dirty="0">
                <a:solidFill>
                  <a:srgbClr val="FF6D70"/>
                </a:solidFill>
                <a:latin typeface="+mn-lt"/>
              </a:rPr>
              <a:t>“</a:t>
            </a:r>
            <a:endParaRPr lang="en-US" sz="9600" dirty="0">
              <a:solidFill>
                <a:srgbClr val="FF6D70"/>
              </a:solidFill>
              <a:latin typeface="+mn-lt"/>
            </a:endParaRPr>
          </a:p>
        </p:txBody>
      </p:sp>
      <p:sp>
        <p:nvSpPr>
          <p:cNvPr id="18" name="Oval 17">
            <a:extLst>
              <a:ext uri="{FF2B5EF4-FFF2-40B4-BE49-F238E27FC236}">
                <a16:creationId xmlns:a16="http://schemas.microsoft.com/office/drawing/2014/main" id="{200E090A-065F-BC41-9689-182CD87141CD}"/>
              </a:ext>
            </a:extLst>
          </p:cNvPr>
          <p:cNvSpPr/>
          <p:nvPr userDrawn="1"/>
        </p:nvSpPr>
        <p:spPr>
          <a:xfrm>
            <a:off x="3822701" y="641667"/>
            <a:ext cx="1384300" cy="1384300"/>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w="12700">
                <a:solidFill>
                  <a:srgbClr val="FF6D70"/>
                </a:solidFill>
              </a:ln>
              <a:noFill/>
              <a:latin typeface="+mn-lt"/>
            </a:endParaRPr>
          </a:p>
        </p:txBody>
      </p:sp>
      <p:sp>
        <p:nvSpPr>
          <p:cNvPr id="27" name="QUOTE">
            <a:extLst>
              <a:ext uri="{FF2B5EF4-FFF2-40B4-BE49-F238E27FC236}">
                <a16:creationId xmlns:a16="http://schemas.microsoft.com/office/drawing/2014/main" id="{9D7187EA-700C-864A-B857-4AAA95FDC2CA}"/>
              </a:ext>
            </a:extLst>
          </p:cNvPr>
          <p:cNvSpPr>
            <a:spLocks noGrp="1"/>
          </p:cNvSpPr>
          <p:nvPr>
            <p:ph type="body" sz="quarter" idx="11"/>
          </p:nvPr>
        </p:nvSpPr>
        <p:spPr>
          <a:xfrm>
            <a:off x="4229099" y="1728721"/>
            <a:ext cx="7454901" cy="2768048"/>
          </a:xfrm>
        </p:spPr>
        <p:txBody>
          <a:bodyPr>
            <a:normAutofit/>
          </a:bodyPr>
          <a:lstStyle>
            <a:lvl1pPr>
              <a:defRPr sz="3733" b="0" i="0">
                <a:solidFill>
                  <a:schemeClr val="tx1"/>
                </a:solidFill>
                <a:latin typeface="Source Sans Pro" panose="020B0503030403020204" pitchFamily="34" charset="0"/>
              </a:defRPr>
            </a:lvl1pPr>
          </a:lstStyle>
          <a:p>
            <a:pPr lvl="0"/>
            <a:r>
              <a:rPr lang="en-US" dirty="0"/>
              <a:t>Click to edit</a:t>
            </a:r>
          </a:p>
        </p:txBody>
      </p:sp>
      <p:sp>
        <p:nvSpPr>
          <p:cNvPr id="19" name="SIDEBAR">
            <a:extLst>
              <a:ext uri="{FF2B5EF4-FFF2-40B4-BE49-F238E27FC236}">
                <a16:creationId xmlns:a16="http://schemas.microsoft.com/office/drawing/2014/main" id="{88EEB87D-BBD1-5843-A566-BDF32AA33488}"/>
              </a:ext>
            </a:extLst>
          </p:cNvPr>
          <p:cNvSpPr>
            <a:spLocks noGrp="1"/>
          </p:cNvSpPr>
          <p:nvPr>
            <p:ph type="body" sz="quarter" idx="10"/>
          </p:nvPr>
        </p:nvSpPr>
        <p:spPr>
          <a:xfrm>
            <a:off x="523355" y="1728722"/>
            <a:ext cx="2577347" cy="860385"/>
          </a:xfrm>
        </p:spPr>
        <p:txBody>
          <a:bodyPr/>
          <a:lstStyle>
            <a:lvl1pPr>
              <a:defRPr b="1" i="0">
                <a:solidFill>
                  <a:schemeClr val="bg1"/>
                </a:solidFill>
                <a:latin typeface="Source Sans Pro Semibold" panose="020B0503030403020204" pitchFamily="34" charset="0"/>
                <a:ea typeface="Source Sans Pro Semibold" panose="020B0503030403020204" pitchFamily="34" charset="0"/>
              </a:defRPr>
            </a:lvl1pPr>
          </a:lstStyle>
          <a:p>
            <a:pPr lvl="0"/>
            <a:r>
              <a:rPr lang="en-US" dirty="0"/>
              <a:t>Click to edit</a:t>
            </a:r>
          </a:p>
        </p:txBody>
      </p:sp>
    </p:spTree>
    <p:extLst>
      <p:ext uri="{BB962C8B-B14F-4D97-AF65-F5344CB8AC3E}">
        <p14:creationId xmlns:p14="http://schemas.microsoft.com/office/powerpoint/2010/main" val="634104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10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1000"/>
                            </p:stCondLst>
                            <p:childTnLst>
                              <p:par>
                                <p:cTn id="12" presetID="10" presetClass="entr" presetSubtype="0" fill="hold" grpId="1" nodeType="afterEffect">
                                  <p:stCondLst>
                                    <p:cond delay="0"/>
                                  </p:stCondLst>
                                  <p:childTnLst>
                                    <p:set>
                                      <p:cBhvr>
                                        <p:cTn id="13" dur="1" fill="hold">
                                          <p:stCondLst>
                                            <p:cond delay="0"/>
                                          </p:stCondLst>
                                        </p:cTn>
                                        <p:tgtEl>
                                          <p:spTgt spid="27">
                                            <p:txEl>
                                              <p:pRg st="0" end="0"/>
                                            </p:txEl>
                                          </p:spTgt>
                                        </p:tgtEl>
                                        <p:attrNameLst>
                                          <p:attrName>style.visibility</p:attrName>
                                        </p:attrNameLst>
                                      </p:cBhvr>
                                      <p:to>
                                        <p:strVal val="visible"/>
                                      </p:to>
                                    </p:set>
                                    <p:animEffect transition="in" filter="fade">
                                      <p:cBhvr>
                                        <p:cTn id="14" dur="500"/>
                                        <p:tgtEl>
                                          <p:spTgt spid="27">
                                            <p:txEl>
                                              <p:pRg st="0" end="0"/>
                                            </p:txEl>
                                          </p:spTgt>
                                        </p:tgtEl>
                                      </p:cBhvr>
                                    </p:animEffect>
                                  </p:childTnLst>
                                </p:cTn>
                              </p:par>
                              <p:par>
                                <p:cTn id="15" presetID="64" presetClass="path" presetSubtype="0" accel="50000" decel="50000" fill="hold" grpId="0" nodeType="withEffect">
                                  <p:stCondLst>
                                    <p:cond delay="0"/>
                                  </p:stCondLst>
                                  <p:childTnLst>
                                    <p:animMotion origin="layout" path="M 3.05556E-6 -0.03148 L 3.05556E-6 0.00154 " pathEditMode="relative" rAng="0" ptsTypes="AA">
                                      <p:cBhvr>
                                        <p:cTn id="16" dur="2000" fill="hold"/>
                                        <p:tgtEl>
                                          <p:spTgt spid="27">
                                            <p:txEl>
                                              <p:pRg st="0" end="0"/>
                                            </p:txEl>
                                          </p:spTgt>
                                        </p:tgtEl>
                                        <p:attrNameLst>
                                          <p:attrName>ppt_x</p:attrName>
                                          <p:attrName>ppt_y</p:attrName>
                                        </p:attrNameLst>
                                      </p:cBhvr>
                                      <p:rCtr x="0" y="1636"/>
                                    </p:animMotion>
                                  </p:childTnLst>
                                </p:cTn>
                              </p:par>
                              <p:par>
                                <p:cTn id="17" presetID="10" presetClass="entr" presetSubtype="0" fill="hold" grpId="1" nodeType="with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childTnLst>
                                </p:cTn>
                              </p:par>
                              <p:par>
                                <p:cTn id="20" presetID="42" presetClass="path" presetSubtype="0" accel="50000" decel="50000" fill="hold" grpId="0" nodeType="withEffect">
                                  <p:stCondLst>
                                    <p:cond delay="0"/>
                                  </p:stCondLst>
                                  <p:childTnLst>
                                    <p:animMotion origin="layout" path="M -3.88889E-6 -0.05247 L -3.88889E-6 1.11111E-6 " pathEditMode="relative" rAng="0" ptsTypes="AA">
                                      <p:cBhvr>
                                        <p:cTn id="21" dur="2000" fill="hold"/>
                                        <p:tgtEl>
                                          <p:spTgt spid="19">
                                            <p:txEl>
                                              <p:pRg st="0" end="0"/>
                                            </p:txEl>
                                          </p:spTgt>
                                        </p:tgtEl>
                                        <p:attrNameLst>
                                          <p:attrName>ppt_x</p:attrName>
                                          <p:attrName>ppt_y</p:attrName>
                                        </p:attrNameLst>
                                      </p:cBhvr>
                                      <p:rCtr x="0" y="2623"/>
                                    </p:animMotion>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Effect transition="in" filter="fade">
                                      <p:cBhvr>
                                        <p:cTn id="25"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tmplLst>
          <p:tmpl lvl="1">
            <p:tnLst>
              <p:par>
                <p:cTn presetID="10"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17" grpId="0"/>
      <p:bldP spid="18" grpId="0" animBg="1"/>
      <p:bldP spid="27" grpId="0" build="p">
        <p:tmplLst>
          <p:tmpl lvl="1">
            <p:tnLst>
              <p:par>
                <p:cTn presetID="64" presetClass="path" presetSubtype="0" accel="50000" decel="50000" fill="hold" nodeType="withEffect">
                  <p:stCondLst>
                    <p:cond delay="0"/>
                  </p:stCondLst>
                  <p:childTnLst>
                    <p:animMotion origin="layout" path="M 3.05556E-6 -0.03148 L 3.05556E-6 0.00154 " pathEditMode="relative" rAng="0" ptsTypes="AA">
                      <p:cBhvr>
                        <p:cTn dur="2000" fill="hold"/>
                        <p:tgtEl>
                          <p:spTgt spid="27"/>
                        </p:tgtEl>
                        <p:attrNameLst>
                          <p:attrName>ppt_x</p:attrName>
                          <p:attrName>ppt_y</p:attrName>
                        </p:attrNameLst>
                      </p:cBhvr>
                      <p:rCtr x="0" y="1636"/>
                    </p:animMotion>
                  </p:childTnLst>
                </p:cTn>
              </p:par>
            </p:tnLst>
          </p:tmpl>
        </p:tmplLst>
      </p:bldP>
      <p:bldP spid="27" grpId="1" build="p">
        <p:tmplLst>
          <p:tmpl lvl="1">
            <p:tnLst>
              <p:par>
                <p:cTn presetID="10" presetClass="entr" presetSubtype="0" fill="hold" nodeType="after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fade">
                      <p:cBhvr>
                        <p:cTn dur="500"/>
                        <p:tgtEl>
                          <p:spTgt spid="27"/>
                        </p:tgtEl>
                      </p:cBhvr>
                    </p:animEffect>
                  </p:childTnLst>
                </p:cTn>
              </p:par>
            </p:tnLst>
          </p:tmpl>
        </p:tmplLst>
      </p:bldP>
      <p:bldP spid="19" grpId="0" build="p">
        <p:tmplLst>
          <p:tmpl lvl="1">
            <p:tnLst>
              <p:par>
                <p:cTn presetID="42" presetClass="path" presetSubtype="0" accel="50000" decel="50000" fill="hold" nodeType="withEffect">
                  <p:stCondLst>
                    <p:cond delay="0"/>
                  </p:stCondLst>
                  <p:childTnLst>
                    <p:animMotion origin="layout" path="M -3.88889E-6 -0.05247 L -3.88889E-6 1.11111E-6 " pathEditMode="relative" rAng="0" ptsTypes="AA">
                      <p:cBhvr>
                        <p:cTn dur="2000" fill="hold"/>
                        <p:tgtEl>
                          <p:spTgt spid="19"/>
                        </p:tgtEl>
                        <p:attrNameLst>
                          <p:attrName>ppt_x</p:attrName>
                          <p:attrName>ppt_y</p:attrName>
                        </p:attrNameLst>
                      </p:cBhvr>
                      <p:rCtr x="0" y="2623"/>
                    </p:animMotion>
                  </p:childTnLst>
                </p:cTn>
              </p:par>
            </p:tnLst>
          </p:tmpl>
        </p:tmplLst>
      </p:bldP>
      <p:bldP spid="19" grpId="1"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2278892471"/>
      </p:ext>
    </p:extLst>
  </p:cSld>
  <p:clrMapOvr>
    <a:masterClrMapping/>
  </p:clrMapOvr>
  <p:transition spd="slow">
    <p:wipe dir="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Section Slide 2">
    <p:bg>
      <p:bgPr>
        <a:gradFill flip="none" rotWithShape="1">
          <a:gsLst>
            <a:gs pos="0">
              <a:srgbClr val="3C4857"/>
            </a:gs>
            <a:gs pos="100000">
              <a:srgbClr val="1D2024"/>
            </a:gs>
          </a:gsLst>
          <a:lin ang="2700000" scaled="1"/>
          <a:tileRect/>
        </a:gradFill>
        <a:effectLst/>
      </p:bgPr>
    </p:bg>
    <p:spTree>
      <p:nvGrpSpPr>
        <p:cNvPr id="1" name=""/>
        <p:cNvGrpSpPr/>
        <p:nvPr/>
      </p:nvGrpSpPr>
      <p:grpSpPr>
        <a:xfrm>
          <a:off x="0" y="0"/>
          <a:ext cx="0" cy="0"/>
          <a:chOff x="0" y="0"/>
          <a:chExt cx="0" cy="0"/>
        </a:xfrm>
      </p:grpSpPr>
      <p:pic>
        <p:nvPicPr>
          <p:cNvPr id="6" name="Picture 5" descr="A picture containing blue, player, tower&#10;&#10;Description automatically generated">
            <a:extLst>
              <a:ext uri="{FF2B5EF4-FFF2-40B4-BE49-F238E27FC236}">
                <a16:creationId xmlns:a16="http://schemas.microsoft.com/office/drawing/2014/main" id="{73FB78CE-8F45-3443-AA1B-A2B3CE474C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7" y="0"/>
            <a:ext cx="12192000" cy="6858000"/>
          </a:xfrm>
          <a:prstGeom prst="rect">
            <a:avLst/>
          </a:prstGeom>
        </p:spPr>
      </p:pic>
      <p:pic>
        <p:nvPicPr>
          <p:cNvPr id="8" name="Graphic 7">
            <a:extLst>
              <a:ext uri="{FF2B5EF4-FFF2-40B4-BE49-F238E27FC236}">
                <a16:creationId xmlns:a16="http://schemas.microsoft.com/office/drawing/2014/main" id="{921E36DD-3FDD-E44B-8242-ECD49E2F91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43600" y="6378047"/>
            <a:ext cx="321733" cy="321733"/>
          </a:xfrm>
          <a:prstGeom prst="rect">
            <a:avLst/>
          </a:prstGeom>
        </p:spPr>
      </p:pic>
      <p:sp>
        <p:nvSpPr>
          <p:cNvPr id="7" name="Title 2">
            <a:extLst>
              <a:ext uri="{FF2B5EF4-FFF2-40B4-BE49-F238E27FC236}">
                <a16:creationId xmlns:a16="http://schemas.microsoft.com/office/drawing/2014/main" id="{7FF2C8AD-F83F-704B-860E-AB211814B778}"/>
              </a:ext>
            </a:extLst>
          </p:cNvPr>
          <p:cNvSpPr>
            <a:spLocks noGrp="1"/>
          </p:cNvSpPr>
          <p:nvPr>
            <p:ph type="title" hasCustomPrompt="1"/>
          </p:nvPr>
        </p:nvSpPr>
        <p:spPr>
          <a:xfrm>
            <a:off x="1824217" y="2591105"/>
            <a:ext cx="7615359" cy="992419"/>
          </a:xfrm>
        </p:spPr>
        <p:txBody>
          <a:bodyPr lIns="0" tIns="0" rIns="0" bIns="0" rtlCol="0" anchor="b" anchorCtr="0">
            <a:noAutofit/>
          </a:bodyPr>
          <a:lstStyle>
            <a:lvl1pPr algn="l">
              <a:defRPr lang="en-US" sz="3733" b="1" i="0" cap="none" baseline="0">
                <a:solidFill>
                  <a:schemeClr val="bg1"/>
                </a:solidFill>
                <a:latin typeface="Source Sans Pro" panose="020B0503030403020204" pitchFamily="34" charset="0"/>
                <a:ea typeface="Source Sans Pro" panose="020B0503030403020204" pitchFamily="34" charset="0"/>
                <a:cs typeface="Calibri" charset="0"/>
              </a:defRPr>
            </a:lvl1pPr>
          </a:lstStyle>
          <a:p>
            <a:pPr lvl="0"/>
            <a:r>
              <a:rPr lang="en-US" dirty="0"/>
              <a:t>Section slide</a:t>
            </a:r>
          </a:p>
        </p:txBody>
      </p:sp>
      <p:sp>
        <p:nvSpPr>
          <p:cNvPr id="9" name="Subtitle 2">
            <a:extLst>
              <a:ext uri="{FF2B5EF4-FFF2-40B4-BE49-F238E27FC236}">
                <a16:creationId xmlns:a16="http://schemas.microsoft.com/office/drawing/2014/main" id="{1F6E3133-BF85-5C44-B03E-8C5CFC3220B9}"/>
              </a:ext>
            </a:extLst>
          </p:cNvPr>
          <p:cNvSpPr>
            <a:spLocks noGrp="1"/>
          </p:cNvSpPr>
          <p:nvPr>
            <p:ph type="subTitle" idx="1" hasCustomPrompt="1"/>
          </p:nvPr>
        </p:nvSpPr>
        <p:spPr>
          <a:xfrm>
            <a:off x="1824216" y="3605229"/>
            <a:ext cx="7615360" cy="332399"/>
          </a:xfrm>
          <a:prstGeom prst="rect">
            <a:avLst/>
          </a:prstGeom>
          <a:ln>
            <a:noFill/>
          </a:ln>
        </p:spPr>
        <p:txBody>
          <a:bodyPr wrap="square" tIns="0" bIns="0" anchor="t" anchorCtr="0">
            <a:normAutofit/>
          </a:bodyPr>
          <a:lstStyle>
            <a:lvl1pPr marL="0" indent="0" algn="l">
              <a:buNone/>
              <a:defRPr sz="2400" b="0" i="0" cap="none" baseline="0">
                <a:solidFill>
                  <a:schemeClr val="tx2"/>
                </a:solidFill>
                <a:latin typeface="+mn-lt"/>
                <a:ea typeface="Source Sans Pro" panose="020B0503030403020204" pitchFamily="34" charset="0"/>
                <a:cs typeface="Calibri" charset="0"/>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5809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Product">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316503-A161-5147-8B45-78DF01687921}"/>
              </a:ext>
            </a:extLst>
          </p:cNvPr>
          <p:cNvSpPr>
            <a:spLocks noGrp="1"/>
          </p:cNvSpPr>
          <p:nvPr>
            <p:ph type="dt" sz="half" idx="10"/>
          </p:nvPr>
        </p:nvSpPr>
        <p:spPr/>
        <p:txBody>
          <a:bodyPr/>
          <a:lstStyle/>
          <a:p>
            <a:fld id="{B01F1F41-2107-2B4A-AFD3-0A9C893A5C18}" type="datetimeFigureOut">
              <a:rPr lang="en-US" smtClean="0"/>
              <a:pPr/>
              <a:t>7/16/2021</a:t>
            </a:fld>
            <a:endParaRPr lang="en-US"/>
          </a:p>
        </p:txBody>
      </p:sp>
      <p:sp>
        <p:nvSpPr>
          <p:cNvPr id="4" name="Footer Placeholder 3">
            <a:extLst>
              <a:ext uri="{FF2B5EF4-FFF2-40B4-BE49-F238E27FC236}">
                <a16:creationId xmlns:a16="http://schemas.microsoft.com/office/drawing/2014/main" id="{C257ABA9-F3BA-1F4A-B98E-56BCF10A8916}"/>
              </a:ext>
            </a:extLst>
          </p:cNvPr>
          <p:cNvSpPr>
            <a:spLocks noGrp="1"/>
          </p:cNvSpPr>
          <p:nvPr>
            <p:ph type="ftr" sz="quarter" idx="11"/>
          </p:nvPr>
        </p:nvSpPr>
        <p:spPr/>
        <p:txBody>
          <a:bodyPr/>
          <a:lstStyle/>
          <a:p>
            <a:r>
              <a:rPr lang="en-US">
                <a:solidFill>
                  <a:schemeClr val="tx2"/>
                </a:solidFill>
              </a:rPr>
              <a:t>|</a:t>
            </a:r>
            <a:r>
              <a:rPr lang="en-US"/>
              <a:t>  Footer</a:t>
            </a:r>
          </a:p>
        </p:txBody>
      </p:sp>
      <p:sp>
        <p:nvSpPr>
          <p:cNvPr id="5" name="Slide Number Placeholder 4">
            <a:extLst>
              <a:ext uri="{FF2B5EF4-FFF2-40B4-BE49-F238E27FC236}">
                <a16:creationId xmlns:a16="http://schemas.microsoft.com/office/drawing/2014/main" id="{63A21C34-E675-7148-A7D0-8CBAE9B8C9F1}"/>
              </a:ext>
            </a:extLst>
          </p:cNvPr>
          <p:cNvSpPr>
            <a:spLocks noGrp="1"/>
          </p:cNvSpPr>
          <p:nvPr>
            <p:ph type="sldNum" sz="quarter" idx="12"/>
          </p:nvPr>
        </p:nvSpPr>
        <p:spPr/>
        <p:txBody>
          <a:bodyPr/>
          <a:lstStyle/>
          <a:p>
            <a:fld id="{47F042C8-DDB5-0141-B946-4F962685D46A}" type="slidenum">
              <a:rPr lang="en-US" smtClean="0"/>
              <a:pPr/>
              <a:t>‹#›</a:t>
            </a:fld>
            <a:endParaRPr lang="en-US"/>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6"/>
            <a:ext cx="5709920" cy="1034001"/>
          </a:xfrm>
        </p:spPr>
        <p:txBody>
          <a:body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9DB19048-B503-8646-AFB8-50C0B50715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25464"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dirty="0"/>
              <a:t>Click icon to add picture</a:t>
            </a:r>
          </a:p>
        </p:txBody>
      </p:sp>
    </p:spTree>
    <p:extLst>
      <p:ext uri="{BB962C8B-B14F-4D97-AF65-F5344CB8AC3E}">
        <p14:creationId xmlns:p14="http://schemas.microsoft.com/office/powerpoint/2010/main" val="260778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Slide With Picture">
    <p:bg>
      <p:bgPr>
        <a:solidFill>
          <a:schemeClr val="accent5"/>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5874542-2663-4892-90C2-92A4C0B8E5DE}"/>
              </a:ext>
            </a:extLst>
          </p:cNvPr>
          <p:cNvSpPr>
            <a:spLocks noGrp="1"/>
          </p:cNvSpPr>
          <p:nvPr>
            <p:ph type="ctrTitle" hasCustomPrompt="1"/>
          </p:nvPr>
        </p:nvSpPr>
        <p:spPr>
          <a:xfrm>
            <a:off x="5195456" y="1122363"/>
            <a:ext cx="6488544" cy="2387600"/>
          </a:xfrm>
        </p:spPr>
        <p:txBody>
          <a:bodyPr anchor="b">
            <a:normAutofit/>
          </a:bodyPr>
          <a:lstStyle>
            <a:lvl1pPr algn="l">
              <a:defRPr sz="3733" b="1" i="0">
                <a:latin typeface="Source Sans Pro" panose="020B0503030403020204" pitchFamily="34" charset="0"/>
              </a:defRPr>
            </a:lvl1pPr>
          </a:lstStyle>
          <a:p>
            <a:r>
              <a:rPr lang="en-US" dirty="0"/>
              <a:t>Title slide with picture</a:t>
            </a:r>
            <a:endParaRPr lang="en-ID" dirty="0"/>
          </a:p>
        </p:txBody>
      </p:sp>
      <p:sp>
        <p:nvSpPr>
          <p:cNvPr id="10" name="Subtitle 2">
            <a:extLst>
              <a:ext uri="{FF2B5EF4-FFF2-40B4-BE49-F238E27FC236}">
                <a16:creationId xmlns:a16="http://schemas.microsoft.com/office/drawing/2014/main" id="{8A567B3B-9E58-4A6B-BCE5-9CD5B1264987}"/>
              </a:ext>
            </a:extLst>
          </p:cNvPr>
          <p:cNvSpPr>
            <a:spLocks noGrp="1"/>
          </p:cNvSpPr>
          <p:nvPr>
            <p:ph type="subTitle" idx="1" hasCustomPrompt="1"/>
          </p:nvPr>
        </p:nvSpPr>
        <p:spPr>
          <a:xfrm>
            <a:off x="5195456" y="3602037"/>
            <a:ext cx="6488544" cy="1655763"/>
          </a:xfrm>
          <a:prstGeom prst="rect">
            <a:avLst/>
          </a:prstGeom>
        </p:spPr>
        <p:txBody>
          <a:bodyPr/>
          <a:lstStyle>
            <a:lvl1pPr marL="0" indent="0" algn="l">
              <a:buNone/>
              <a:defRPr sz="2400" b="0" i="0">
                <a:solidFill>
                  <a:schemeClr val="tx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ID" dirty="0"/>
          </a:p>
        </p:txBody>
      </p:sp>
      <p:sp>
        <p:nvSpPr>
          <p:cNvPr id="6" name="Picture Placeholder 5">
            <a:extLst>
              <a:ext uri="{FF2B5EF4-FFF2-40B4-BE49-F238E27FC236}">
                <a16:creationId xmlns:a16="http://schemas.microsoft.com/office/drawing/2014/main" id="{6E05BEAC-C1DD-43E1-A339-67C947C61DDE}"/>
              </a:ext>
            </a:extLst>
          </p:cNvPr>
          <p:cNvSpPr>
            <a:spLocks noGrp="1"/>
          </p:cNvSpPr>
          <p:nvPr>
            <p:ph type="pic" sz="quarter" idx="13"/>
          </p:nvPr>
        </p:nvSpPr>
        <p:spPr>
          <a:xfrm>
            <a:off x="2" y="0"/>
            <a:ext cx="4804756" cy="6858000"/>
          </a:xfrm>
          <a:prstGeom prst="rect">
            <a:avLst/>
          </a:prstGeom>
        </p:spPr>
        <p:txBody>
          <a:bodyPr/>
          <a:lstStyle/>
          <a:p>
            <a:r>
              <a:rPr lang="en-US" dirty="0"/>
              <a:t>Click icon to add picture</a:t>
            </a:r>
            <a:endParaRPr lang="en-ID" dirty="0"/>
          </a:p>
        </p:txBody>
      </p:sp>
      <p:pic>
        <p:nvPicPr>
          <p:cNvPr id="5" name="Graphic 4">
            <a:extLst>
              <a:ext uri="{FF2B5EF4-FFF2-40B4-BE49-F238E27FC236}">
                <a16:creationId xmlns:a16="http://schemas.microsoft.com/office/drawing/2014/main" id="{97503836-1E64-4842-9A26-FE9E3077A6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183555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Only Seashell">
    <p:bg>
      <p:bgPr>
        <a:gradFill>
          <a:gsLst>
            <a:gs pos="0">
              <a:srgbClr val="3C4857"/>
            </a:gs>
            <a:gs pos="100000">
              <a:srgbClr val="1D2024"/>
            </a:gs>
          </a:gsLst>
          <a:lin ang="2700000" scaled="1"/>
        </a:gradFill>
        <a:effectLst/>
      </p:bgPr>
    </p:bg>
    <p:spTree>
      <p:nvGrpSpPr>
        <p:cNvPr id="1" name=""/>
        <p:cNvGrpSpPr/>
        <p:nvPr/>
      </p:nvGrpSpPr>
      <p:grpSpPr>
        <a:xfrm>
          <a:off x="0" y="0"/>
          <a:ext cx="0" cy="0"/>
          <a:chOff x="0" y="0"/>
          <a:chExt cx="0" cy="0"/>
        </a:xfrm>
      </p:grpSpPr>
      <p:sp>
        <p:nvSpPr>
          <p:cNvPr id="8" name="Graphic 5">
            <a:extLst>
              <a:ext uri="{FF2B5EF4-FFF2-40B4-BE49-F238E27FC236}">
                <a16:creationId xmlns:a16="http://schemas.microsoft.com/office/drawing/2014/main" id="{4426409D-282C-CA41-BFFD-ADE2A84D2310}"/>
              </a:ext>
            </a:extLst>
          </p:cNvPr>
          <p:cNvSpPr/>
          <p:nvPr userDrawn="1"/>
        </p:nvSpPr>
        <p:spPr>
          <a:xfrm>
            <a:off x="7973182" y="-1891675"/>
            <a:ext cx="13459527" cy="15023667"/>
          </a:xfrm>
          <a:custGeom>
            <a:avLst/>
            <a:gdLst>
              <a:gd name="connsiteX0" fmla="*/ 8138639 w 8149731"/>
              <a:gd name="connsiteY0" fmla="*/ 3007983 h 9096817"/>
              <a:gd name="connsiteX1" fmla="*/ 4605491 w 8149731"/>
              <a:gd name="connsiteY1" fmla="*/ 11294 h 9096817"/>
              <a:gd name="connsiteX2" fmla="*/ 3352793 w 8149731"/>
              <a:gd name="connsiteY2" fmla="*/ 375758 h 9096817"/>
              <a:gd name="connsiteX3" fmla="*/ 2930116 w 8149731"/>
              <a:gd name="connsiteY3" fmla="*/ 639448 h 9096817"/>
              <a:gd name="connsiteX4" fmla="*/ 2033409 w 8149731"/>
              <a:gd name="connsiteY4" fmla="*/ 1317023 h 9096817"/>
              <a:gd name="connsiteX5" fmla="*/ 1295095 w 8149731"/>
              <a:gd name="connsiteY5" fmla="*/ 2119401 h 9096817"/>
              <a:gd name="connsiteX6" fmla="*/ 692914 w 8149731"/>
              <a:gd name="connsiteY6" fmla="*/ 3064662 h 9096817"/>
              <a:gd name="connsiteX7" fmla="*/ 271862 w 8149731"/>
              <a:gd name="connsiteY7" fmla="*/ 4121045 h 9096817"/>
              <a:gd name="connsiteX8" fmla="*/ 55077 w 8149731"/>
              <a:gd name="connsiteY8" fmla="*/ 5216163 h 9096817"/>
              <a:gd name="connsiteX9" fmla="*/ 1 w 8149731"/>
              <a:gd name="connsiteY9" fmla="*/ 5818844 h 9096817"/>
              <a:gd name="connsiteX10" fmla="*/ 3279449 w 8149731"/>
              <a:gd name="connsiteY10" fmla="*/ 9096817 h 9096817"/>
              <a:gd name="connsiteX11" fmla="*/ 6295493 w 8149731"/>
              <a:gd name="connsiteY11" fmla="*/ 7095240 h 9096817"/>
              <a:gd name="connsiteX12" fmla="*/ 6541034 w 8149731"/>
              <a:gd name="connsiteY12" fmla="*/ 6101697 h 9096817"/>
              <a:gd name="connsiteX13" fmla="*/ 8138639 w 8149731"/>
              <a:gd name="connsiteY13" fmla="*/ 3007983 h 9096817"/>
              <a:gd name="connsiteX14" fmla="*/ 2931943 w 8149731"/>
              <a:gd name="connsiteY14" fmla="*/ 642360 h 9096817"/>
              <a:gd name="connsiteX15" fmla="*/ 7339227 w 8149731"/>
              <a:gd name="connsiteY15" fmla="*/ 2066257 h 9096817"/>
              <a:gd name="connsiteX16" fmla="*/ 7288549 w 8149731"/>
              <a:gd name="connsiteY16" fmla="*/ 5148514 h 9096817"/>
              <a:gd name="connsiteX17" fmla="*/ 6544688 w 8149731"/>
              <a:gd name="connsiteY17" fmla="*/ 6054770 h 9096817"/>
              <a:gd name="connsiteX18" fmla="*/ 6546785 w 8149731"/>
              <a:gd name="connsiteY18" fmla="*/ 6022266 h 9096817"/>
              <a:gd name="connsiteX19" fmla="*/ 6148588 w 8149731"/>
              <a:gd name="connsiteY19" fmla="*/ 1400600 h 9096817"/>
              <a:gd name="connsiteX20" fmla="*/ 2628282 w 8149731"/>
              <a:gd name="connsiteY20" fmla="*/ 949862 h 9096817"/>
              <a:gd name="connsiteX21" fmla="*/ 2516845 w 8149731"/>
              <a:gd name="connsiteY21" fmla="*/ 1005729 h 9096817"/>
              <a:gd name="connsiteX22" fmla="*/ 2931943 w 8149731"/>
              <a:gd name="connsiteY22" fmla="*/ 642360 h 9096817"/>
              <a:gd name="connsiteX23" fmla="*/ 6470599 w 8149731"/>
              <a:gd name="connsiteY23" fmla="*/ 6104609 h 9096817"/>
              <a:gd name="connsiteX24" fmla="*/ 6489138 w 8149731"/>
              <a:gd name="connsiteY24" fmla="*/ 6075423 h 9096817"/>
              <a:gd name="connsiteX25" fmla="*/ 6482372 w 8149731"/>
              <a:gd name="connsiteY25" fmla="*/ 6091743 h 9096817"/>
              <a:gd name="connsiteX26" fmla="*/ 6477906 w 8149731"/>
              <a:gd name="connsiteY26" fmla="*/ 6101562 h 9096817"/>
              <a:gd name="connsiteX27" fmla="*/ 6472155 w 8149731"/>
              <a:gd name="connsiteY27" fmla="*/ 6114564 h 9096817"/>
              <a:gd name="connsiteX28" fmla="*/ 6455578 w 8149731"/>
              <a:gd name="connsiteY28" fmla="*/ 6128107 h 9096817"/>
              <a:gd name="connsiteX29" fmla="*/ 6459232 w 8149731"/>
              <a:gd name="connsiteY29" fmla="*/ 6122419 h 9096817"/>
              <a:gd name="connsiteX30" fmla="*/ 6456593 w 8149731"/>
              <a:gd name="connsiteY30" fmla="*/ 6120049 h 9096817"/>
              <a:gd name="connsiteX31" fmla="*/ 6433453 w 8149731"/>
              <a:gd name="connsiteY31" fmla="*/ 6145104 h 9096817"/>
              <a:gd name="connsiteX32" fmla="*/ 6374318 w 8149731"/>
              <a:gd name="connsiteY32" fmla="*/ 6190000 h 9096817"/>
              <a:gd name="connsiteX33" fmla="*/ 1965159 w 8149731"/>
              <a:gd name="connsiteY33" fmla="*/ 4783520 h 9096817"/>
              <a:gd name="connsiteX34" fmla="*/ 1612356 w 8149731"/>
              <a:gd name="connsiteY34" fmla="*/ 2997419 h 9096817"/>
              <a:gd name="connsiteX35" fmla="*/ 6094392 w 8149731"/>
              <a:gd name="connsiteY35" fmla="*/ 4150692 h 9096817"/>
              <a:gd name="connsiteX36" fmla="*/ 6549559 w 8149731"/>
              <a:gd name="connsiteY36" fmla="*/ 5819115 h 9096817"/>
              <a:gd name="connsiteX37" fmla="*/ 6548747 w 8149731"/>
              <a:gd name="connsiteY37" fmla="*/ 5892114 h 9096817"/>
              <a:gd name="connsiteX38" fmla="*/ 6535215 w 8149731"/>
              <a:gd name="connsiteY38" fmla="*/ 5960575 h 9096817"/>
              <a:gd name="connsiteX39" fmla="*/ 6497190 w 8149731"/>
              <a:gd name="connsiteY39" fmla="*/ 6055718 h 9096817"/>
              <a:gd name="connsiteX40" fmla="*/ 6456526 w 8149731"/>
              <a:gd name="connsiteY40" fmla="*/ 6120049 h 9096817"/>
              <a:gd name="connsiteX41" fmla="*/ 2621516 w 8149731"/>
              <a:gd name="connsiteY41" fmla="*/ 2099628 h 9096817"/>
              <a:gd name="connsiteX42" fmla="*/ 6525486 w 8149731"/>
              <a:gd name="connsiteY42" fmla="*/ 4584602 h 9096817"/>
              <a:gd name="connsiteX43" fmla="*/ 6552604 w 8149731"/>
              <a:gd name="connsiteY43" fmla="*/ 5871460 h 9096817"/>
              <a:gd name="connsiteX44" fmla="*/ 6553010 w 8149731"/>
              <a:gd name="connsiteY44" fmla="*/ 5819250 h 9096817"/>
              <a:gd name="connsiteX45" fmla="*/ 3278129 w 8149731"/>
              <a:gd name="connsiteY45" fmla="*/ 2539009 h 9096817"/>
              <a:gd name="connsiteX46" fmla="*/ 1612694 w 8149731"/>
              <a:gd name="connsiteY46" fmla="*/ 2993491 h 9096817"/>
              <a:gd name="connsiteX47" fmla="*/ 1706472 w 8149731"/>
              <a:gd name="connsiteY47" fmla="*/ 2454261 h 9096817"/>
              <a:gd name="connsiteX48" fmla="*/ 2621516 w 8149731"/>
              <a:gd name="connsiteY48" fmla="*/ 2099628 h 9096817"/>
              <a:gd name="connsiteX49" fmla="*/ 1707690 w 8149731"/>
              <a:gd name="connsiteY49" fmla="*/ 2449453 h 9096817"/>
              <a:gd name="connsiteX50" fmla="*/ 1749640 w 8149731"/>
              <a:gd name="connsiteY50" fmla="*/ 2303320 h 9096817"/>
              <a:gd name="connsiteX51" fmla="*/ 1893486 w 8149731"/>
              <a:gd name="connsiteY51" fmla="*/ 1925054 h 9096817"/>
              <a:gd name="connsiteX52" fmla="*/ 2137065 w 8149731"/>
              <a:gd name="connsiteY52" fmla="*/ 1803163 h 9096817"/>
              <a:gd name="connsiteX53" fmla="*/ 6463522 w 8149731"/>
              <a:gd name="connsiteY53" fmla="*/ 3442827 h 9096817"/>
              <a:gd name="connsiteX54" fmla="*/ 6551521 w 8149731"/>
              <a:gd name="connsiteY54" fmla="*/ 5917643 h 9096817"/>
              <a:gd name="connsiteX55" fmla="*/ 6552130 w 8149731"/>
              <a:gd name="connsiteY55" fmla="*/ 5892452 h 9096817"/>
              <a:gd name="connsiteX56" fmla="*/ 6552807 w 8149731"/>
              <a:gd name="connsiteY56" fmla="*/ 5888999 h 9096817"/>
              <a:gd name="connsiteX57" fmla="*/ 3925473 w 8149731"/>
              <a:gd name="connsiteY57" fmla="*/ 2071979 h 9096817"/>
              <a:gd name="connsiteX58" fmla="*/ 1707690 w 8149731"/>
              <a:gd name="connsiteY58" fmla="*/ 2449453 h 9096817"/>
              <a:gd name="connsiteX59" fmla="*/ 1609108 w 8149731"/>
              <a:gd name="connsiteY59" fmla="*/ 2995387 h 9096817"/>
              <a:gd name="connsiteX60" fmla="*/ 1162548 w 8149731"/>
              <a:gd name="connsiteY60" fmla="*/ 3313250 h 9096817"/>
              <a:gd name="connsiteX61" fmla="*/ 1177636 w 8149731"/>
              <a:gd name="connsiteY61" fmla="*/ 3160752 h 9096817"/>
              <a:gd name="connsiteX62" fmla="*/ 1249356 w 8149731"/>
              <a:gd name="connsiteY62" fmla="*/ 2770025 h 9096817"/>
              <a:gd name="connsiteX63" fmla="*/ 1471892 w 8149731"/>
              <a:gd name="connsiteY63" fmla="*/ 2602155 h 9096817"/>
              <a:gd name="connsiteX64" fmla="*/ 1702345 w 8149731"/>
              <a:gd name="connsiteY64" fmla="*/ 2456564 h 9096817"/>
              <a:gd name="connsiteX65" fmla="*/ 1609108 w 8149731"/>
              <a:gd name="connsiteY65" fmla="*/ 2995387 h 9096817"/>
              <a:gd name="connsiteX66" fmla="*/ 1609108 w 8149731"/>
              <a:gd name="connsiteY66" fmla="*/ 2999518 h 9096817"/>
              <a:gd name="connsiteX67" fmla="*/ 4589597 w 8149731"/>
              <a:gd name="connsiteY67" fmla="*/ 6547180 h 9096817"/>
              <a:gd name="connsiteX68" fmla="*/ 6357673 w 8149731"/>
              <a:gd name="connsiteY68" fmla="*/ 6202528 h 9096817"/>
              <a:gd name="connsiteX69" fmla="*/ 1785121 w 8149731"/>
              <a:gd name="connsiteY69" fmla="*/ 5493390 h 9096817"/>
              <a:gd name="connsiteX70" fmla="*/ 1162751 w 8149731"/>
              <a:gd name="connsiteY70" fmla="*/ 3317787 h 9096817"/>
              <a:gd name="connsiteX71" fmla="*/ 1608770 w 8149731"/>
              <a:gd name="connsiteY71" fmla="*/ 2999518 h 9096817"/>
              <a:gd name="connsiteX72" fmla="*/ 1263362 w 8149731"/>
              <a:gd name="connsiteY72" fmla="*/ 4414260 h 9096817"/>
              <a:gd name="connsiteX73" fmla="*/ 5279324 w 8149731"/>
              <a:gd name="connsiteY73" fmla="*/ 6724314 h 9096817"/>
              <a:gd name="connsiteX74" fmla="*/ 6376077 w 8149731"/>
              <a:gd name="connsiteY74" fmla="*/ 6192912 h 9096817"/>
              <a:gd name="connsiteX75" fmla="*/ 6393736 w 8149731"/>
              <a:gd name="connsiteY75" fmla="*/ 6183703 h 9096817"/>
              <a:gd name="connsiteX76" fmla="*/ 6400096 w 8149731"/>
              <a:gd name="connsiteY76" fmla="*/ 6180384 h 9096817"/>
              <a:gd name="connsiteX77" fmla="*/ 1773727 w 8149731"/>
              <a:gd name="connsiteY77" fmla="*/ 6273942 h 9096817"/>
              <a:gd name="connsiteX78" fmla="*/ 773904 w 8149731"/>
              <a:gd name="connsiteY78" fmla="*/ 4105877 h 9096817"/>
              <a:gd name="connsiteX79" fmla="*/ 773904 w 8149731"/>
              <a:gd name="connsiteY79" fmla="*/ 3707566 h 9096817"/>
              <a:gd name="connsiteX80" fmla="*/ 962136 w 8149731"/>
              <a:gd name="connsiteY80" fmla="*/ 3502790 h 9096817"/>
              <a:gd name="connsiteX81" fmla="*/ 1158894 w 8149731"/>
              <a:gd name="connsiteY81" fmla="*/ 3321038 h 9096817"/>
              <a:gd name="connsiteX82" fmla="*/ 1263362 w 8149731"/>
              <a:gd name="connsiteY82" fmla="*/ 4414260 h 9096817"/>
              <a:gd name="connsiteX83" fmla="*/ 6392924 w 8149731"/>
              <a:gd name="connsiteY83" fmla="*/ 6180317 h 9096817"/>
              <a:gd name="connsiteX84" fmla="*/ 6418906 w 8149731"/>
              <a:gd name="connsiteY84" fmla="*/ 6160611 h 9096817"/>
              <a:gd name="connsiteX85" fmla="*/ 6407472 w 8149731"/>
              <a:gd name="connsiteY85" fmla="*/ 6172597 h 9096817"/>
              <a:gd name="connsiteX86" fmla="*/ 6435686 w 8149731"/>
              <a:gd name="connsiteY86" fmla="*/ 6147610 h 9096817"/>
              <a:gd name="connsiteX87" fmla="*/ 6441234 w 8149731"/>
              <a:gd name="connsiteY87" fmla="*/ 6143276 h 9096817"/>
              <a:gd name="connsiteX88" fmla="*/ 6429529 w 8149731"/>
              <a:gd name="connsiteY88" fmla="*/ 6160814 h 9096817"/>
              <a:gd name="connsiteX89" fmla="*/ 6416944 w 8149731"/>
              <a:gd name="connsiteY89" fmla="*/ 6167586 h 9096817"/>
              <a:gd name="connsiteX90" fmla="*/ 6435686 w 8149731"/>
              <a:gd name="connsiteY90" fmla="*/ 6147610 h 9096817"/>
              <a:gd name="connsiteX91" fmla="*/ 6548274 w 8149731"/>
              <a:gd name="connsiteY91" fmla="*/ 5913241 h 9096817"/>
              <a:gd name="connsiteX92" fmla="*/ 6547800 w 8149731"/>
              <a:gd name="connsiteY92" fmla="*/ 5927597 h 9096817"/>
              <a:gd name="connsiteX93" fmla="*/ 6542861 w 8149731"/>
              <a:gd name="connsiteY93" fmla="*/ 5941141 h 9096817"/>
              <a:gd name="connsiteX94" fmla="*/ 6548274 w 8149731"/>
              <a:gd name="connsiteY94" fmla="*/ 5913241 h 9096817"/>
              <a:gd name="connsiteX95" fmla="*/ 6531156 w 8149731"/>
              <a:gd name="connsiteY95" fmla="*/ 5980958 h 9096817"/>
              <a:gd name="connsiteX96" fmla="*/ 6524389 w 8149731"/>
              <a:gd name="connsiteY96" fmla="*/ 6010686 h 9096817"/>
              <a:gd name="connsiteX97" fmla="*/ 6516067 w 8149731"/>
              <a:gd name="connsiteY97" fmla="*/ 6024229 h 9096817"/>
              <a:gd name="connsiteX98" fmla="*/ 6508286 w 8149731"/>
              <a:gd name="connsiteY98" fmla="*/ 6037028 h 9096817"/>
              <a:gd name="connsiteX99" fmla="*/ 6531156 w 8149731"/>
              <a:gd name="connsiteY99" fmla="*/ 5981094 h 9096817"/>
              <a:gd name="connsiteX100" fmla="*/ 6538666 w 8149731"/>
              <a:gd name="connsiteY100" fmla="*/ 5961388 h 9096817"/>
              <a:gd name="connsiteX101" fmla="*/ 6541913 w 8149731"/>
              <a:gd name="connsiteY101" fmla="*/ 5952856 h 9096817"/>
              <a:gd name="connsiteX102" fmla="*/ 6547462 w 8149731"/>
              <a:gd name="connsiteY102" fmla="*/ 5938161 h 9096817"/>
              <a:gd name="connsiteX103" fmla="*/ 6545973 w 8149731"/>
              <a:gd name="connsiteY103" fmla="*/ 5974593 h 9096817"/>
              <a:gd name="connsiteX104" fmla="*/ 6530140 w 8149731"/>
              <a:gd name="connsiteY104" fmla="*/ 6001679 h 9096817"/>
              <a:gd name="connsiteX105" fmla="*/ 6538666 w 8149731"/>
              <a:gd name="connsiteY105" fmla="*/ 5961523 h 9096817"/>
              <a:gd name="connsiteX106" fmla="*/ 6549289 w 8149731"/>
              <a:gd name="connsiteY106" fmla="*/ 5975609 h 9096817"/>
              <a:gd name="connsiteX107" fmla="*/ 5356965 w 8149731"/>
              <a:gd name="connsiteY107" fmla="*/ 1493203 h 9096817"/>
              <a:gd name="connsiteX108" fmla="*/ 2164197 w 8149731"/>
              <a:gd name="connsiteY108" fmla="*/ 1440945 h 9096817"/>
              <a:gd name="connsiteX109" fmla="*/ 2345460 w 8149731"/>
              <a:gd name="connsiteY109" fmla="*/ 1198316 h 9096817"/>
              <a:gd name="connsiteX110" fmla="*/ 2509470 w 8149731"/>
              <a:gd name="connsiteY110" fmla="*/ 1013313 h 9096817"/>
              <a:gd name="connsiteX111" fmla="*/ 2629770 w 8149731"/>
              <a:gd name="connsiteY111" fmla="*/ 952774 h 9096817"/>
              <a:gd name="connsiteX112" fmla="*/ 6995105 w 8149731"/>
              <a:gd name="connsiteY112" fmla="*/ 2493219 h 9096817"/>
              <a:gd name="connsiteX113" fmla="*/ 6547326 w 8149731"/>
              <a:gd name="connsiteY113" fmla="*/ 6016442 h 9096817"/>
              <a:gd name="connsiteX114" fmla="*/ 6549559 w 8149731"/>
              <a:gd name="connsiteY114" fmla="*/ 5975744 h 9096817"/>
              <a:gd name="connsiteX115" fmla="*/ 2934108 w 8149731"/>
              <a:gd name="connsiteY115" fmla="*/ 1148950 h 9096817"/>
              <a:gd name="connsiteX116" fmla="*/ 6894493 w 8149731"/>
              <a:gd name="connsiteY116" fmla="*/ 3542831 h 9096817"/>
              <a:gd name="connsiteX117" fmla="*/ 6549559 w 8149731"/>
              <a:gd name="connsiteY117" fmla="*/ 5968363 h 9096817"/>
              <a:gd name="connsiteX118" fmla="*/ 6551115 w 8149731"/>
              <a:gd name="connsiteY118" fmla="*/ 5928275 h 9096817"/>
              <a:gd name="connsiteX119" fmla="*/ 4619767 w 8149731"/>
              <a:gd name="connsiteY119" fmla="*/ 1715470 h 9096817"/>
              <a:gd name="connsiteX120" fmla="*/ 2135779 w 8149731"/>
              <a:gd name="connsiteY120" fmla="*/ 1800048 h 9096817"/>
              <a:gd name="connsiteX121" fmla="*/ 1895855 w 8149731"/>
              <a:gd name="connsiteY121" fmla="*/ 1919839 h 9096817"/>
              <a:gd name="connsiteX122" fmla="*/ 2160137 w 8149731"/>
              <a:gd name="connsiteY122" fmla="*/ 1447108 h 9096817"/>
              <a:gd name="connsiteX123" fmla="*/ 2934108 w 8149731"/>
              <a:gd name="connsiteY123" fmla="*/ 1148950 h 9096817"/>
              <a:gd name="connsiteX124" fmla="*/ 1890847 w 8149731"/>
              <a:gd name="connsiteY124" fmla="*/ 1922616 h 9096817"/>
              <a:gd name="connsiteX125" fmla="*/ 1434408 w 8149731"/>
              <a:gd name="connsiteY125" fmla="*/ 2227748 h 9096817"/>
              <a:gd name="connsiteX126" fmla="*/ 1564655 w 8149731"/>
              <a:gd name="connsiteY126" fmla="*/ 1966225 h 9096817"/>
              <a:gd name="connsiteX127" fmla="*/ 1693549 w 8149731"/>
              <a:gd name="connsiteY127" fmla="*/ 1753256 h 9096817"/>
              <a:gd name="connsiteX128" fmla="*/ 1795040 w 8149731"/>
              <a:gd name="connsiteY128" fmla="*/ 1676397 h 9096817"/>
              <a:gd name="connsiteX129" fmla="*/ 2153168 w 8149731"/>
              <a:gd name="connsiteY129" fmla="*/ 1450629 h 9096817"/>
              <a:gd name="connsiteX130" fmla="*/ 1890847 w 8149731"/>
              <a:gd name="connsiteY130" fmla="*/ 1922616 h 9096817"/>
              <a:gd name="connsiteX131" fmla="*/ 1888547 w 8149731"/>
              <a:gd name="connsiteY131" fmla="*/ 1927762 h 9096817"/>
              <a:gd name="connsiteX132" fmla="*/ 1746460 w 8149731"/>
              <a:gd name="connsiteY132" fmla="*/ 2302305 h 9096817"/>
              <a:gd name="connsiteX133" fmla="*/ 1703630 w 8149731"/>
              <a:gd name="connsiteY133" fmla="*/ 2451824 h 9096817"/>
              <a:gd name="connsiteX134" fmla="*/ 1470066 w 8149731"/>
              <a:gd name="connsiteY134" fmla="*/ 2599243 h 9096817"/>
              <a:gd name="connsiteX135" fmla="*/ 1250777 w 8149731"/>
              <a:gd name="connsiteY135" fmla="*/ 2764405 h 9096817"/>
              <a:gd name="connsiteX136" fmla="*/ 1431702 w 8149731"/>
              <a:gd name="connsiteY136" fmla="*/ 2234520 h 9096817"/>
              <a:gd name="connsiteX137" fmla="*/ 1888547 w 8149731"/>
              <a:gd name="connsiteY137" fmla="*/ 1927762 h 9096817"/>
              <a:gd name="connsiteX138" fmla="*/ 1246379 w 8149731"/>
              <a:gd name="connsiteY138" fmla="*/ 2767994 h 9096817"/>
              <a:gd name="connsiteX139" fmla="*/ 857127 w 8149731"/>
              <a:gd name="connsiteY139" fmla="*/ 3146870 h 9096817"/>
              <a:gd name="connsiteX140" fmla="*/ 939267 w 8149731"/>
              <a:gd name="connsiteY140" fmla="*/ 2861037 h 9096817"/>
              <a:gd name="connsiteX141" fmla="*/ 1034804 w 8149731"/>
              <a:gd name="connsiteY141" fmla="*/ 2611568 h 9096817"/>
              <a:gd name="connsiteX142" fmla="*/ 1112479 w 8149731"/>
              <a:gd name="connsiteY142" fmla="*/ 2527328 h 9096817"/>
              <a:gd name="connsiteX143" fmla="*/ 1425951 w 8149731"/>
              <a:gd name="connsiteY143" fmla="*/ 2239057 h 9096817"/>
              <a:gd name="connsiteX144" fmla="*/ 1246379 w 8149731"/>
              <a:gd name="connsiteY144" fmla="*/ 2767994 h 9096817"/>
              <a:gd name="connsiteX145" fmla="*/ 1245026 w 8149731"/>
              <a:gd name="connsiteY145" fmla="*/ 2773479 h 9096817"/>
              <a:gd name="connsiteX146" fmla="*/ 1174456 w 8149731"/>
              <a:gd name="connsiteY146" fmla="*/ 3160346 h 9096817"/>
              <a:gd name="connsiteX147" fmla="*/ 1159165 w 8149731"/>
              <a:gd name="connsiteY147" fmla="*/ 3316095 h 9096817"/>
              <a:gd name="connsiteX148" fmla="*/ 959633 w 8149731"/>
              <a:gd name="connsiteY148" fmla="*/ 3500149 h 9096817"/>
              <a:gd name="connsiteX149" fmla="*/ 774175 w 8149731"/>
              <a:gd name="connsiteY149" fmla="*/ 3701675 h 9096817"/>
              <a:gd name="connsiteX150" fmla="*/ 855368 w 8149731"/>
              <a:gd name="connsiteY150" fmla="*/ 3153777 h 9096817"/>
              <a:gd name="connsiteX151" fmla="*/ 1244958 w 8149731"/>
              <a:gd name="connsiteY151" fmla="*/ 2773479 h 9096817"/>
              <a:gd name="connsiteX152" fmla="*/ 770521 w 8149731"/>
              <a:gd name="connsiteY152" fmla="*/ 3706212 h 9096817"/>
              <a:gd name="connsiteX153" fmla="*/ 447035 w 8149731"/>
              <a:gd name="connsiteY153" fmla="*/ 4164113 h 9096817"/>
              <a:gd name="connsiteX154" fmla="*/ 476874 w 8149731"/>
              <a:gd name="connsiteY154" fmla="*/ 3858033 h 9096817"/>
              <a:gd name="connsiteX155" fmla="*/ 521191 w 8149731"/>
              <a:gd name="connsiteY155" fmla="*/ 3616283 h 9096817"/>
              <a:gd name="connsiteX156" fmla="*/ 594468 w 8149731"/>
              <a:gd name="connsiteY156" fmla="*/ 3499404 h 9096817"/>
              <a:gd name="connsiteX157" fmla="*/ 850632 w 8149731"/>
              <a:gd name="connsiteY157" fmla="*/ 3159533 h 9096817"/>
              <a:gd name="connsiteX158" fmla="*/ 770521 w 8149731"/>
              <a:gd name="connsiteY158" fmla="*/ 3706212 h 9096817"/>
              <a:gd name="connsiteX159" fmla="*/ 770521 w 8149731"/>
              <a:gd name="connsiteY159" fmla="*/ 3711832 h 9096817"/>
              <a:gd name="connsiteX160" fmla="*/ 770521 w 8149731"/>
              <a:gd name="connsiteY160" fmla="*/ 4106080 h 9096817"/>
              <a:gd name="connsiteX161" fmla="*/ 4234027 w 8149731"/>
              <a:gd name="connsiteY161" fmla="*/ 7184423 h 9096817"/>
              <a:gd name="connsiteX162" fmla="*/ 6409569 w 8149731"/>
              <a:gd name="connsiteY162" fmla="*/ 6175374 h 9096817"/>
              <a:gd name="connsiteX163" fmla="*/ 6425469 w 8149731"/>
              <a:gd name="connsiteY163" fmla="*/ 6166841 h 9096817"/>
              <a:gd name="connsiteX164" fmla="*/ 1878215 w 8149731"/>
              <a:gd name="connsiteY164" fmla="*/ 7037952 h 9096817"/>
              <a:gd name="connsiteX165" fmla="*/ 446562 w 8149731"/>
              <a:gd name="connsiteY165" fmla="*/ 4171765 h 9096817"/>
              <a:gd name="connsiteX166" fmla="*/ 770183 w 8149731"/>
              <a:gd name="connsiteY166" fmla="*/ 3711832 h 9096817"/>
              <a:gd name="connsiteX167" fmla="*/ 535197 w 8149731"/>
              <a:gd name="connsiteY167" fmla="*/ 5113031 h 9096817"/>
              <a:gd name="connsiteX168" fmla="*/ 4495664 w 8149731"/>
              <a:gd name="connsiteY168" fmla="*/ 7515627 h 9096817"/>
              <a:gd name="connsiteX169" fmla="*/ 6431897 w 8149731"/>
              <a:gd name="connsiteY169" fmla="*/ 6163387 h 9096817"/>
              <a:gd name="connsiteX170" fmla="*/ 6456255 w 8149731"/>
              <a:gd name="connsiteY170" fmla="*/ 6149844 h 9096817"/>
              <a:gd name="connsiteX171" fmla="*/ 2318463 w 8149731"/>
              <a:gd name="connsiteY171" fmla="*/ 7851367 h 9096817"/>
              <a:gd name="connsiteX172" fmla="*/ 208667 w 8149731"/>
              <a:gd name="connsiteY172" fmla="*/ 4910963 h 9096817"/>
              <a:gd name="connsiteX173" fmla="*/ 208261 w 8149731"/>
              <a:gd name="connsiteY173" fmla="*/ 4675647 h 9096817"/>
              <a:gd name="connsiteX174" fmla="*/ 260630 w 8149731"/>
              <a:gd name="connsiteY174" fmla="*/ 4544005 h 9096817"/>
              <a:gd name="connsiteX175" fmla="*/ 442976 w 8149731"/>
              <a:gd name="connsiteY175" fmla="*/ 4177792 h 9096817"/>
              <a:gd name="connsiteX176" fmla="*/ 535197 w 8149731"/>
              <a:gd name="connsiteY176" fmla="*/ 5113031 h 9096817"/>
              <a:gd name="connsiteX177" fmla="*/ 6435957 w 8149731"/>
              <a:gd name="connsiteY177" fmla="*/ 6157293 h 9096817"/>
              <a:gd name="connsiteX178" fmla="*/ 6449489 w 8149731"/>
              <a:gd name="connsiteY178" fmla="*/ 6136978 h 9096817"/>
              <a:gd name="connsiteX179" fmla="*/ 6469043 w 8149731"/>
              <a:gd name="connsiteY179" fmla="*/ 6121538 h 9096817"/>
              <a:gd name="connsiteX180" fmla="*/ 6458420 w 8149731"/>
              <a:gd name="connsiteY180" fmla="*/ 6145172 h 9096817"/>
              <a:gd name="connsiteX181" fmla="*/ 6435957 w 8149731"/>
              <a:gd name="connsiteY181" fmla="*/ 6157293 h 9096817"/>
              <a:gd name="connsiteX182" fmla="*/ 6474862 w 8149731"/>
              <a:gd name="connsiteY182" fmla="*/ 6116663 h 9096817"/>
              <a:gd name="connsiteX183" fmla="*/ 6505647 w 8149731"/>
              <a:gd name="connsiteY183" fmla="*/ 6091676 h 9096817"/>
              <a:gd name="connsiteX184" fmla="*/ 6497798 w 8149731"/>
              <a:gd name="connsiteY184" fmla="*/ 6122825 h 9096817"/>
              <a:gd name="connsiteX185" fmla="*/ 6463495 w 8149731"/>
              <a:gd name="connsiteY185" fmla="*/ 6142124 h 9096817"/>
              <a:gd name="connsiteX186" fmla="*/ 6475132 w 8149731"/>
              <a:gd name="connsiteY186" fmla="*/ 6116730 h 9096817"/>
              <a:gd name="connsiteX187" fmla="*/ 6477839 w 8149731"/>
              <a:gd name="connsiteY187" fmla="*/ 6109891 h 9096817"/>
              <a:gd name="connsiteX188" fmla="*/ 6484943 w 8149731"/>
              <a:gd name="connsiteY188" fmla="*/ 6093436 h 9096817"/>
              <a:gd name="connsiteX189" fmla="*/ 6492521 w 8149731"/>
              <a:gd name="connsiteY189" fmla="*/ 6084904 h 9096817"/>
              <a:gd name="connsiteX190" fmla="*/ 6512819 w 8149731"/>
              <a:gd name="connsiteY190" fmla="*/ 6061677 h 9096817"/>
              <a:gd name="connsiteX191" fmla="*/ 6506865 w 8149731"/>
              <a:gd name="connsiteY191" fmla="*/ 6086123 h 9096817"/>
              <a:gd name="connsiteX192" fmla="*/ 6477839 w 8149731"/>
              <a:gd name="connsiteY192" fmla="*/ 6110027 h 9096817"/>
              <a:gd name="connsiteX193" fmla="*/ 6490018 w 8149731"/>
              <a:gd name="connsiteY193" fmla="*/ 6082805 h 9096817"/>
              <a:gd name="connsiteX194" fmla="*/ 6489206 w 8149731"/>
              <a:gd name="connsiteY194" fmla="*/ 6083685 h 9096817"/>
              <a:gd name="connsiteX195" fmla="*/ 6500370 w 8149731"/>
              <a:gd name="connsiteY195" fmla="*/ 6057275 h 9096817"/>
              <a:gd name="connsiteX196" fmla="*/ 6519247 w 8149731"/>
              <a:gd name="connsiteY196" fmla="*/ 6026464 h 9096817"/>
              <a:gd name="connsiteX197" fmla="*/ 6522292 w 8149731"/>
              <a:gd name="connsiteY197" fmla="*/ 6021318 h 9096817"/>
              <a:gd name="connsiteX198" fmla="*/ 6514646 w 8149731"/>
              <a:gd name="connsiteY198" fmla="*/ 6054702 h 9096817"/>
              <a:gd name="connsiteX199" fmla="*/ 6490018 w 8149731"/>
              <a:gd name="connsiteY199" fmla="*/ 6082805 h 9096817"/>
              <a:gd name="connsiteX200" fmla="*/ 6527840 w 8149731"/>
              <a:gd name="connsiteY200" fmla="*/ 6012108 h 9096817"/>
              <a:gd name="connsiteX201" fmla="*/ 6545635 w 8149731"/>
              <a:gd name="connsiteY201" fmla="*/ 5982042 h 9096817"/>
              <a:gd name="connsiteX202" fmla="*/ 6543469 w 8149731"/>
              <a:gd name="connsiteY202" fmla="*/ 6020911 h 9096817"/>
              <a:gd name="connsiteX203" fmla="*/ 6519382 w 8149731"/>
              <a:gd name="connsiteY203" fmla="*/ 6049217 h 9096817"/>
              <a:gd name="connsiteX204" fmla="*/ 6527840 w 8149731"/>
              <a:gd name="connsiteY204" fmla="*/ 6012108 h 9096817"/>
              <a:gd name="connsiteX205" fmla="*/ 2409602 w 8149731"/>
              <a:gd name="connsiteY205" fmla="*/ 977694 h 9096817"/>
              <a:gd name="connsiteX206" fmla="*/ 2912863 w 8149731"/>
              <a:gd name="connsiteY206" fmla="*/ 652653 h 9096817"/>
              <a:gd name="connsiteX207" fmla="*/ 2507372 w 8149731"/>
              <a:gd name="connsiteY207" fmla="*/ 1011078 h 9096817"/>
              <a:gd name="connsiteX208" fmla="*/ 2050595 w 8149731"/>
              <a:gd name="connsiteY208" fmla="*/ 1304157 h 9096817"/>
              <a:gd name="connsiteX209" fmla="*/ 2409602 w 8149731"/>
              <a:gd name="connsiteY209" fmla="*/ 977694 h 9096817"/>
              <a:gd name="connsiteX210" fmla="*/ 2035709 w 8149731"/>
              <a:gd name="connsiteY210" fmla="*/ 1319529 h 9096817"/>
              <a:gd name="connsiteX211" fmla="*/ 2499997 w 8149731"/>
              <a:gd name="connsiteY211" fmla="*/ 1018527 h 9096817"/>
              <a:gd name="connsiteX212" fmla="*/ 2342889 w 8149731"/>
              <a:gd name="connsiteY212" fmla="*/ 1196284 h 9096817"/>
              <a:gd name="connsiteX213" fmla="*/ 2157769 w 8149731"/>
              <a:gd name="connsiteY213" fmla="*/ 1444534 h 9096817"/>
              <a:gd name="connsiteX214" fmla="*/ 1793619 w 8149731"/>
              <a:gd name="connsiteY214" fmla="*/ 1673621 h 9096817"/>
              <a:gd name="connsiteX215" fmla="*/ 1699638 w 8149731"/>
              <a:gd name="connsiteY215" fmla="*/ 1744317 h 9096817"/>
              <a:gd name="connsiteX216" fmla="*/ 2035709 w 8149731"/>
              <a:gd name="connsiteY216" fmla="*/ 1319529 h 9096817"/>
              <a:gd name="connsiteX217" fmla="*/ 1592058 w 8149731"/>
              <a:gd name="connsiteY217" fmla="*/ 1736191 h 9096817"/>
              <a:gd name="connsiteX218" fmla="*/ 2018659 w 8149731"/>
              <a:gd name="connsiteY218" fmla="*/ 1332937 h 9096817"/>
              <a:gd name="connsiteX219" fmla="*/ 1691519 w 8149731"/>
              <a:gd name="connsiteY219" fmla="*/ 1750886 h 9096817"/>
              <a:gd name="connsiteX220" fmla="*/ 1309777 w 8149731"/>
              <a:gd name="connsiteY220" fmla="*/ 2103691 h 9096817"/>
              <a:gd name="connsiteX221" fmla="*/ 1592058 w 8149731"/>
              <a:gd name="connsiteY221" fmla="*/ 1736191 h 9096817"/>
              <a:gd name="connsiteX222" fmla="*/ 1297801 w 8149731"/>
              <a:gd name="connsiteY222" fmla="*/ 2121500 h 9096817"/>
              <a:gd name="connsiteX223" fmla="*/ 1685362 w 8149731"/>
              <a:gd name="connsiteY223" fmla="*/ 1759824 h 9096817"/>
              <a:gd name="connsiteX224" fmla="*/ 1561881 w 8149731"/>
              <a:gd name="connsiteY224" fmla="*/ 1964600 h 9096817"/>
              <a:gd name="connsiteX225" fmla="*/ 1428928 w 8149731"/>
              <a:gd name="connsiteY225" fmla="*/ 2232353 h 9096817"/>
              <a:gd name="connsiteX226" fmla="*/ 1110043 w 8149731"/>
              <a:gd name="connsiteY226" fmla="*/ 2525026 h 9096817"/>
              <a:gd name="connsiteX227" fmla="*/ 1039067 w 8149731"/>
              <a:gd name="connsiteY227" fmla="*/ 2601681 h 9096817"/>
              <a:gd name="connsiteX228" fmla="*/ 1297801 w 8149731"/>
              <a:gd name="connsiteY228" fmla="*/ 2121500 h 9096817"/>
              <a:gd name="connsiteX229" fmla="*/ 916195 w 8149731"/>
              <a:gd name="connsiteY229" fmla="*/ 2633982 h 9096817"/>
              <a:gd name="connsiteX230" fmla="*/ 1283525 w 8149731"/>
              <a:gd name="connsiteY230" fmla="*/ 2137346 h 9096817"/>
              <a:gd name="connsiteX231" fmla="*/ 1031895 w 8149731"/>
              <a:gd name="connsiteY231" fmla="*/ 2609739 h 9096817"/>
              <a:gd name="connsiteX232" fmla="*/ 704687 w 8149731"/>
              <a:gd name="connsiteY232" fmla="*/ 3046107 h 9096817"/>
              <a:gd name="connsiteX233" fmla="*/ 916195 w 8149731"/>
              <a:gd name="connsiteY233" fmla="*/ 2633982 h 9096817"/>
              <a:gd name="connsiteX234" fmla="*/ 696162 w 8149731"/>
              <a:gd name="connsiteY234" fmla="*/ 3066219 h 9096817"/>
              <a:gd name="connsiteX235" fmla="*/ 1027700 w 8149731"/>
              <a:gd name="connsiteY235" fmla="*/ 2619287 h 9096817"/>
              <a:gd name="connsiteX236" fmla="*/ 936087 w 8149731"/>
              <a:gd name="connsiteY236" fmla="*/ 2859682 h 9096817"/>
              <a:gd name="connsiteX237" fmla="*/ 852323 w 8149731"/>
              <a:gd name="connsiteY237" fmla="*/ 3152152 h 9096817"/>
              <a:gd name="connsiteX238" fmla="*/ 591626 w 8149731"/>
              <a:gd name="connsiteY238" fmla="*/ 3497508 h 9096817"/>
              <a:gd name="connsiteX239" fmla="*/ 523492 w 8149731"/>
              <a:gd name="connsiteY239" fmla="*/ 3605855 h 9096817"/>
              <a:gd name="connsiteX240" fmla="*/ 696162 w 8149731"/>
              <a:gd name="connsiteY240" fmla="*/ 3066219 h 9096817"/>
              <a:gd name="connsiteX241" fmla="*/ 420174 w 8149731"/>
              <a:gd name="connsiteY241" fmla="*/ 3627863 h 9096817"/>
              <a:gd name="connsiteX242" fmla="*/ 684727 w 8149731"/>
              <a:gd name="connsiteY242" fmla="*/ 3084909 h 9096817"/>
              <a:gd name="connsiteX243" fmla="*/ 518011 w 8149731"/>
              <a:gd name="connsiteY243" fmla="*/ 3614997 h 9096817"/>
              <a:gd name="connsiteX244" fmla="*/ 279778 w 8149731"/>
              <a:gd name="connsiteY244" fmla="*/ 4101137 h 9096817"/>
              <a:gd name="connsiteX245" fmla="*/ 420174 w 8149731"/>
              <a:gd name="connsiteY245" fmla="*/ 3627863 h 9096817"/>
              <a:gd name="connsiteX246" fmla="*/ 275312 w 8149731"/>
              <a:gd name="connsiteY246" fmla="*/ 4122197 h 9096817"/>
              <a:gd name="connsiteX247" fmla="*/ 515643 w 8149731"/>
              <a:gd name="connsiteY247" fmla="*/ 3625628 h 9096817"/>
              <a:gd name="connsiteX248" fmla="*/ 473491 w 8149731"/>
              <a:gd name="connsiteY248" fmla="*/ 3857694 h 9096817"/>
              <a:gd name="connsiteX249" fmla="*/ 443314 w 8149731"/>
              <a:gd name="connsiteY249" fmla="*/ 4170546 h 9096817"/>
              <a:gd name="connsiteX250" fmla="*/ 257450 w 8149731"/>
              <a:gd name="connsiteY250" fmla="*/ 4542990 h 9096817"/>
              <a:gd name="connsiteX251" fmla="*/ 208667 w 8149731"/>
              <a:gd name="connsiteY251" fmla="*/ 4665286 h 9096817"/>
              <a:gd name="connsiteX252" fmla="*/ 275312 w 8149731"/>
              <a:gd name="connsiteY252" fmla="*/ 4122061 h 9096817"/>
              <a:gd name="connsiteX253" fmla="*/ 111776 w 8149731"/>
              <a:gd name="connsiteY253" fmla="*/ 4706729 h 9096817"/>
              <a:gd name="connsiteX254" fmla="*/ 267734 w 8149731"/>
              <a:gd name="connsiteY254" fmla="*/ 4141902 h 9096817"/>
              <a:gd name="connsiteX255" fmla="*/ 204878 w 8149731"/>
              <a:gd name="connsiteY255" fmla="*/ 4674834 h 9096817"/>
              <a:gd name="connsiteX256" fmla="*/ 59069 w 8149731"/>
              <a:gd name="connsiteY256" fmla="*/ 5194968 h 9096817"/>
              <a:gd name="connsiteX257" fmla="*/ 111776 w 8149731"/>
              <a:gd name="connsiteY257" fmla="*/ 4706729 h 9096817"/>
              <a:gd name="connsiteX258" fmla="*/ 58460 w 8149731"/>
              <a:gd name="connsiteY258" fmla="*/ 5216570 h 9096817"/>
              <a:gd name="connsiteX259" fmla="*/ 204539 w 8149731"/>
              <a:gd name="connsiteY259" fmla="*/ 4685669 h 9096817"/>
              <a:gd name="connsiteX260" fmla="*/ 205284 w 8149731"/>
              <a:gd name="connsiteY260" fmla="*/ 4911099 h 9096817"/>
              <a:gd name="connsiteX261" fmla="*/ 3603963 w 8149731"/>
              <a:gd name="connsiteY261" fmla="*/ 8065217 h 9096817"/>
              <a:gd name="connsiteX262" fmla="*/ 5848865 w 8149731"/>
              <a:gd name="connsiteY262" fmla="*/ 7054610 h 9096817"/>
              <a:gd name="connsiteX263" fmla="*/ 6461194 w 8149731"/>
              <a:gd name="connsiteY263" fmla="*/ 6147203 h 9096817"/>
              <a:gd name="connsiteX264" fmla="*/ 6496581 w 8149731"/>
              <a:gd name="connsiteY264" fmla="*/ 6127295 h 9096817"/>
              <a:gd name="connsiteX265" fmla="*/ 2740260 w 8149731"/>
              <a:gd name="connsiteY265" fmla="*/ 8519191 h 9096817"/>
              <a:gd name="connsiteX266" fmla="*/ 58460 w 8149731"/>
              <a:gd name="connsiteY266" fmla="*/ 5216570 h 9096817"/>
              <a:gd name="connsiteX267" fmla="*/ 6292448 w 8149731"/>
              <a:gd name="connsiteY267" fmla="*/ 7094224 h 9096817"/>
              <a:gd name="connsiteX268" fmla="*/ 2000329 w 8149731"/>
              <a:gd name="connsiteY268" fmla="*/ 8835226 h 9096817"/>
              <a:gd name="connsiteX269" fmla="*/ 260765 w 8149731"/>
              <a:gd name="connsiteY269" fmla="*/ 7094224 h 9096817"/>
              <a:gd name="connsiteX270" fmla="*/ 3655 w 8149731"/>
              <a:gd name="connsiteY270" fmla="*/ 5819115 h 9096817"/>
              <a:gd name="connsiteX271" fmla="*/ 54806 w 8149731"/>
              <a:gd name="connsiteY271" fmla="*/ 5237765 h 9096817"/>
              <a:gd name="connsiteX272" fmla="*/ 2740057 w 8149731"/>
              <a:gd name="connsiteY272" fmla="*/ 8522509 h 9096817"/>
              <a:gd name="connsiteX273" fmla="*/ 6500979 w 8149731"/>
              <a:gd name="connsiteY273" fmla="*/ 6125331 h 9096817"/>
              <a:gd name="connsiteX274" fmla="*/ 6537718 w 8149731"/>
              <a:gd name="connsiteY274" fmla="*/ 6104000 h 9096817"/>
              <a:gd name="connsiteX275" fmla="*/ 6292448 w 8149731"/>
              <a:gd name="connsiteY275" fmla="*/ 7094224 h 9096817"/>
              <a:gd name="connsiteX276" fmla="*/ 6537786 w 8149731"/>
              <a:gd name="connsiteY276" fmla="*/ 6099666 h 9096817"/>
              <a:gd name="connsiteX277" fmla="*/ 6501858 w 8149731"/>
              <a:gd name="connsiteY277" fmla="*/ 6120523 h 9096817"/>
              <a:gd name="connsiteX278" fmla="*/ 6510045 w 8149731"/>
              <a:gd name="connsiteY278" fmla="*/ 6088154 h 9096817"/>
              <a:gd name="connsiteX279" fmla="*/ 6540763 w 8149731"/>
              <a:gd name="connsiteY279" fmla="*/ 6062557 h 9096817"/>
              <a:gd name="connsiteX280" fmla="*/ 6537786 w 8149731"/>
              <a:gd name="connsiteY280" fmla="*/ 6099666 h 9096817"/>
              <a:gd name="connsiteX281" fmla="*/ 6511398 w 8149731"/>
              <a:gd name="connsiteY281" fmla="*/ 6082669 h 9096817"/>
              <a:gd name="connsiteX282" fmla="*/ 6517691 w 8149731"/>
              <a:gd name="connsiteY282" fmla="*/ 6056327 h 9096817"/>
              <a:gd name="connsiteX283" fmla="*/ 6543131 w 8149731"/>
              <a:gd name="connsiteY283" fmla="*/ 6026599 h 9096817"/>
              <a:gd name="connsiteX284" fmla="*/ 6541101 w 8149731"/>
              <a:gd name="connsiteY284" fmla="*/ 6057885 h 9096817"/>
              <a:gd name="connsiteX285" fmla="*/ 7996890 w 8149731"/>
              <a:gd name="connsiteY285" fmla="*/ 4256141 h 9096817"/>
              <a:gd name="connsiteX286" fmla="*/ 6541372 w 8149731"/>
              <a:gd name="connsiteY286" fmla="*/ 6097567 h 9096817"/>
              <a:gd name="connsiteX287" fmla="*/ 6544349 w 8149731"/>
              <a:gd name="connsiteY287" fmla="*/ 6059510 h 9096817"/>
              <a:gd name="connsiteX288" fmla="*/ 6923588 w 8149731"/>
              <a:gd name="connsiteY288" fmla="*/ 1436530 h 9096817"/>
              <a:gd name="connsiteX289" fmla="*/ 3570525 w 8149731"/>
              <a:gd name="connsiteY289" fmla="*/ 391604 h 9096817"/>
              <a:gd name="connsiteX290" fmla="*/ 2949332 w 8149731"/>
              <a:gd name="connsiteY290" fmla="*/ 629697 h 9096817"/>
              <a:gd name="connsiteX291" fmla="*/ 3354417 w 8149731"/>
              <a:gd name="connsiteY291" fmla="*/ 378738 h 9096817"/>
              <a:gd name="connsiteX292" fmla="*/ 7771512 w 8149731"/>
              <a:gd name="connsiteY292" fmla="*/ 1756080 h 9096817"/>
              <a:gd name="connsiteX293" fmla="*/ 7996890 w 8149731"/>
              <a:gd name="connsiteY293" fmla="*/ 4256141 h 90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8149731" h="9096817">
                <a:moveTo>
                  <a:pt x="8138639" y="3007983"/>
                </a:moveTo>
                <a:cubicBezTo>
                  <a:pt x="7989785" y="1204011"/>
                  <a:pt x="6407972" y="-137654"/>
                  <a:pt x="4605491" y="11294"/>
                </a:cubicBezTo>
                <a:cubicBezTo>
                  <a:pt x="4167732" y="47469"/>
                  <a:pt x="3741713" y="171416"/>
                  <a:pt x="3352793" y="375758"/>
                </a:cubicBezTo>
                <a:cubicBezTo>
                  <a:pt x="3205475" y="452895"/>
                  <a:pt x="3064186" y="541042"/>
                  <a:pt x="2930116" y="639448"/>
                </a:cubicBezTo>
                <a:cubicBezTo>
                  <a:pt x="2594993" y="812790"/>
                  <a:pt x="2291764" y="1041917"/>
                  <a:pt x="2033409" y="1317023"/>
                </a:cubicBezTo>
                <a:cubicBezTo>
                  <a:pt x="1744964" y="1542108"/>
                  <a:pt x="1495519" y="1813192"/>
                  <a:pt x="1295095" y="2119401"/>
                </a:cubicBezTo>
                <a:cubicBezTo>
                  <a:pt x="1042429" y="2398165"/>
                  <a:pt x="838818" y="2717775"/>
                  <a:pt x="692914" y="3064662"/>
                </a:cubicBezTo>
                <a:cubicBezTo>
                  <a:pt x="493053" y="3390007"/>
                  <a:pt x="350624" y="3747350"/>
                  <a:pt x="271862" y="4121045"/>
                </a:cubicBezTo>
                <a:cubicBezTo>
                  <a:pt x="138458" y="4471250"/>
                  <a:pt x="65163" y="4841506"/>
                  <a:pt x="55077" y="5216163"/>
                </a:cubicBezTo>
                <a:cubicBezTo>
                  <a:pt x="18282" y="5414940"/>
                  <a:pt x="-154" y="5616682"/>
                  <a:pt x="1" y="5818844"/>
                </a:cubicBezTo>
                <a:cubicBezTo>
                  <a:pt x="1159" y="7630407"/>
                  <a:pt x="1469416" y="9097967"/>
                  <a:pt x="3279449" y="9096817"/>
                </a:cubicBezTo>
                <a:cubicBezTo>
                  <a:pt x="4595078" y="9096004"/>
                  <a:pt x="5782692" y="8307847"/>
                  <a:pt x="6295493" y="7095240"/>
                </a:cubicBezTo>
                <a:cubicBezTo>
                  <a:pt x="6429279" y="6779137"/>
                  <a:pt x="6512156" y="6443783"/>
                  <a:pt x="6541034" y="6101697"/>
                </a:cubicBezTo>
                <a:cubicBezTo>
                  <a:pt x="7621305" y="5461481"/>
                  <a:pt x="8241618" y="4260251"/>
                  <a:pt x="8138639" y="3007983"/>
                </a:cubicBezTo>
                <a:close/>
                <a:moveTo>
                  <a:pt x="2931943" y="642360"/>
                </a:moveTo>
                <a:cubicBezTo>
                  <a:pt x="4541856" y="-182495"/>
                  <a:pt x="6515065" y="455005"/>
                  <a:pt x="7339227" y="2066257"/>
                </a:cubicBezTo>
                <a:cubicBezTo>
                  <a:pt x="7836331" y="3038001"/>
                  <a:pt x="7817318" y="4193658"/>
                  <a:pt x="7288549" y="5148514"/>
                </a:cubicBezTo>
                <a:cubicBezTo>
                  <a:pt x="7097611" y="5493274"/>
                  <a:pt x="6845507" y="5800364"/>
                  <a:pt x="6544688" y="6054770"/>
                </a:cubicBezTo>
                <a:cubicBezTo>
                  <a:pt x="6545432" y="6043935"/>
                  <a:pt x="6546176" y="6033100"/>
                  <a:pt x="6546785" y="6022266"/>
                </a:cubicBezTo>
                <a:cubicBezTo>
                  <a:pt x="7712038" y="4635978"/>
                  <a:pt x="7533752" y="2566786"/>
                  <a:pt x="6148588" y="1400600"/>
                </a:cubicBezTo>
                <a:cubicBezTo>
                  <a:pt x="5164991" y="572475"/>
                  <a:pt x="3788508" y="396232"/>
                  <a:pt x="2628282" y="949862"/>
                </a:cubicBezTo>
                <a:cubicBezTo>
                  <a:pt x="2590751" y="967922"/>
                  <a:pt x="2553605" y="986545"/>
                  <a:pt x="2516845" y="1005729"/>
                </a:cubicBezTo>
                <a:cubicBezTo>
                  <a:pt x="2644622" y="872997"/>
                  <a:pt x="2783489" y="751431"/>
                  <a:pt x="2931943" y="642360"/>
                </a:cubicBezTo>
                <a:close/>
                <a:moveTo>
                  <a:pt x="6470599" y="6104609"/>
                </a:moveTo>
                <a:cubicBezTo>
                  <a:pt x="6476824" y="6094946"/>
                  <a:pt x="6483001" y="6085222"/>
                  <a:pt x="6489138" y="6075423"/>
                </a:cubicBezTo>
                <a:lnTo>
                  <a:pt x="6482372" y="6091743"/>
                </a:lnTo>
                <a:close/>
                <a:moveTo>
                  <a:pt x="6477906" y="6101562"/>
                </a:moveTo>
                <a:cubicBezTo>
                  <a:pt x="6476012" y="6105896"/>
                  <a:pt x="6474117" y="6110230"/>
                  <a:pt x="6472155" y="6114564"/>
                </a:cubicBezTo>
                <a:cubicBezTo>
                  <a:pt x="6466675" y="6119033"/>
                  <a:pt x="6461126" y="6123435"/>
                  <a:pt x="6455578" y="6128107"/>
                </a:cubicBezTo>
                <a:lnTo>
                  <a:pt x="6459232" y="6122419"/>
                </a:lnTo>
                <a:close/>
                <a:moveTo>
                  <a:pt x="6456593" y="6120049"/>
                </a:moveTo>
                <a:cubicBezTo>
                  <a:pt x="6448880" y="6128446"/>
                  <a:pt x="6441166" y="6136843"/>
                  <a:pt x="6433453" y="6145104"/>
                </a:cubicBezTo>
                <a:cubicBezTo>
                  <a:pt x="6413920" y="6160361"/>
                  <a:pt x="6394210" y="6175326"/>
                  <a:pt x="6374318" y="6190000"/>
                </a:cubicBezTo>
                <a:cubicBezTo>
                  <a:pt x="4768695" y="7020210"/>
                  <a:pt x="2794646" y="6390469"/>
                  <a:pt x="1965159" y="4783520"/>
                </a:cubicBezTo>
                <a:cubicBezTo>
                  <a:pt x="1681248" y="4233489"/>
                  <a:pt x="1558918" y="3614191"/>
                  <a:pt x="1612356" y="2997419"/>
                </a:cubicBezTo>
                <a:cubicBezTo>
                  <a:pt x="3168241" y="2077180"/>
                  <a:pt x="5174917" y="2593514"/>
                  <a:pt x="6094392" y="4150692"/>
                </a:cubicBezTo>
                <a:cubicBezTo>
                  <a:pt x="6392742" y="4655969"/>
                  <a:pt x="6549951" y="5232199"/>
                  <a:pt x="6549559" y="5819115"/>
                </a:cubicBezTo>
                <a:cubicBezTo>
                  <a:pt x="6549559" y="5843493"/>
                  <a:pt x="6549289" y="5867824"/>
                  <a:pt x="6548747" y="5892114"/>
                </a:cubicBezTo>
                <a:cubicBezTo>
                  <a:pt x="6544552" y="5915002"/>
                  <a:pt x="6540039" y="5937822"/>
                  <a:pt x="6535215" y="5960575"/>
                </a:cubicBezTo>
                <a:cubicBezTo>
                  <a:pt x="6522989" y="5992538"/>
                  <a:pt x="6510316" y="6024250"/>
                  <a:pt x="6497190" y="6055718"/>
                </a:cubicBezTo>
                <a:cubicBezTo>
                  <a:pt x="6483928" y="6077340"/>
                  <a:pt x="6470376" y="6098786"/>
                  <a:pt x="6456526" y="6120049"/>
                </a:cubicBezTo>
                <a:close/>
                <a:moveTo>
                  <a:pt x="2621516" y="2099628"/>
                </a:moveTo>
                <a:cubicBezTo>
                  <a:pt x="4385208" y="1706890"/>
                  <a:pt x="6133074" y="2819445"/>
                  <a:pt x="6525486" y="4584602"/>
                </a:cubicBezTo>
                <a:cubicBezTo>
                  <a:pt x="6619513" y="5007535"/>
                  <a:pt x="6628729" y="5444938"/>
                  <a:pt x="6552604" y="5871460"/>
                </a:cubicBezTo>
                <a:cubicBezTo>
                  <a:pt x="6552874" y="5854036"/>
                  <a:pt x="6553010" y="5836633"/>
                  <a:pt x="6553010" y="5819250"/>
                </a:cubicBezTo>
                <a:cubicBezTo>
                  <a:pt x="6553740" y="4008351"/>
                  <a:pt x="5087526" y="2539740"/>
                  <a:pt x="3278129" y="2539009"/>
                </a:cubicBezTo>
                <a:cubicBezTo>
                  <a:pt x="2692370" y="2538772"/>
                  <a:pt x="2117261" y="2695713"/>
                  <a:pt x="1612694" y="2993491"/>
                </a:cubicBezTo>
                <a:cubicBezTo>
                  <a:pt x="1628838" y="2811441"/>
                  <a:pt x="1660206" y="2631063"/>
                  <a:pt x="1706472" y="2454261"/>
                </a:cubicBezTo>
                <a:cubicBezTo>
                  <a:pt x="1991818" y="2290427"/>
                  <a:pt x="2300337" y="2170859"/>
                  <a:pt x="2621516" y="2099628"/>
                </a:cubicBezTo>
                <a:close/>
                <a:moveTo>
                  <a:pt x="1707690" y="2449453"/>
                </a:moveTo>
                <a:cubicBezTo>
                  <a:pt x="1720545" y="2400562"/>
                  <a:pt x="1734531" y="2351853"/>
                  <a:pt x="1749640" y="2303320"/>
                </a:cubicBezTo>
                <a:cubicBezTo>
                  <a:pt x="1789830" y="2174408"/>
                  <a:pt x="1837869" y="2048088"/>
                  <a:pt x="1893486" y="1925054"/>
                </a:cubicBezTo>
                <a:cubicBezTo>
                  <a:pt x="1972649" y="1881220"/>
                  <a:pt x="2053842" y="1840590"/>
                  <a:pt x="2137065" y="1803163"/>
                </a:cubicBezTo>
                <a:cubicBezTo>
                  <a:pt x="3784191" y="1060234"/>
                  <a:pt x="5721209" y="1794333"/>
                  <a:pt x="6463522" y="3442827"/>
                </a:cubicBezTo>
                <a:cubicBezTo>
                  <a:pt x="6815466" y="4224416"/>
                  <a:pt x="6847063" y="5112990"/>
                  <a:pt x="6551521" y="5917643"/>
                </a:cubicBezTo>
                <a:cubicBezTo>
                  <a:pt x="6551521" y="5909246"/>
                  <a:pt x="6551995" y="5900849"/>
                  <a:pt x="6552130" y="5892452"/>
                </a:cubicBezTo>
                <a:cubicBezTo>
                  <a:pt x="6552130" y="5891301"/>
                  <a:pt x="6552536" y="5890150"/>
                  <a:pt x="6552807" y="5888999"/>
                </a:cubicBezTo>
                <a:cubicBezTo>
                  <a:pt x="6880487" y="4108836"/>
                  <a:pt x="5704159" y="2399898"/>
                  <a:pt x="3925473" y="2071979"/>
                </a:cubicBezTo>
                <a:cubicBezTo>
                  <a:pt x="3164872" y="1931751"/>
                  <a:pt x="2379223" y="2065471"/>
                  <a:pt x="1707690" y="2449453"/>
                </a:cubicBezTo>
                <a:close/>
                <a:moveTo>
                  <a:pt x="1609108" y="2995387"/>
                </a:moveTo>
                <a:cubicBezTo>
                  <a:pt x="1451614" y="3088627"/>
                  <a:pt x="1302233" y="3194956"/>
                  <a:pt x="1162548" y="3313250"/>
                </a:cubicBezTo>
                <a:cubicBezTo>
                  <a:pt x="1166384" y="3262463"/>
                  <a:pt x="1171411" y="3211628"/>
                  <a:pt x="1177636" y="3160752"/>
                </a:cubicBezTo>
                <a:cubicBezTo>
                  <a:pt x="1193678" y="3029185"/>
                  <a:pt x="1217630" y="2898708"/>
                  <a:pt x="1249356" y="2770025"/>
                </a:cubicBezTo>
                <a:cubicBezTo>
                  <a:pt x="1320853" y="2711335"/>
                  <a:pt x="1395030" y="2655381"/>
                  <a:pt x="1471892" y="2602155"/>
                </a:cubicBezTo>
                <a:cubicBezTo>
                  <a:pt x="1547084" y="2550284"/>
                  <a:pt x="1623906" y="2501751"/>
                  <a:pt x="1702345" y="2456564"/>
                </a:cubicBezTo>
                <a:cubicBezTo>
                  <a:pt x="1656302" y="2633251"/>
                  <a:pt x="1625110" y="2813493"/>
                  <a:pt x="1609108" y="2995387"/>
                </a:cubicBezTo>
                <a:close/>
                <a:moveTo>
                  <a:pt x="1609108" y="2999518"/>
                </a:moveTo>
                <a:cubicBezTo>
                  <a:pt x="1453299" y="4802901"/>
                  <a:pt x="2787711" y="6391241"/>
                  <a:pt x="4589597" y="6547180"/>
                </a:cubicBezTo>
                <a:cubicBezTo>
                  <a:pt x="5199558" y="6599972"/>
                  <a:pt x="5812091" y="6480567"/>
                  <a:pt x="6357673" y="6202528"/>
                </a:cubicBezTo>
                <a:cubicBezTo>
                  <a:pt x="4899335" y="7270423"/>
                  <a:pt x="2852137" y="6952967"/>
                  <a:pt x="1785121" y="5493390"/>
                </a:cubicBezTo>
                <a:cubicBezTo>
                  <a:pt x="1325921" y="4865261"/>
                  <a:pt x="1105280" y="4093965"/>
                  <a:pt x="1162751" y="3317787"/>
                </a:cubicBezTo>
                <a:cubicBezTo>
                  <a:pt x="1302213" y="3199330"/>
                  <a:pt x="1451418" y="3092866"/>
                  <a:pt x="1608770" y="2999518"/>
                </a:cubicBezTo>
                <a:close/>
                <a:moveTo>
                  <a:pt x="1263362" y="4414260"/>
                </a:moveTo>
                <a:cubicBezTo>
                  <a:pt x="1734964" y="6162060"/>
                  <a:pt x="3532973" y="7196342"/>
                  <a:pt x="5279324" y="6724314"/>
                </a:cubicBezTo>
                <a:cubicBezTo>
                  <a:pt x="5674902" y="6617402"/>
                  <a:pt x="6046921" y="6437147"/>
                  <a:pt x="6376077" y="6192912"/>
                </a:cubicBezTo>
                <a:lnTo>
                  <a:pt x="6393736" y="6183703"/>
                </a:lnTo>
                <a:lnTo>
                  <a:pt x="6400096" y="6180384"/>
                </a:lnTo>
                <a:cubicBezTo>
                  <a:pt x="5148373" y="7484815"/>
                  <a:pt x="3077075" y="7526732"/>
                  <a:pt x="1773727" y="6273942"/>
                </a:cubicBezTo>
                <a:cubicBezTo>
                  <a:pt x="1179686" y="5702953"/>
                  <a:pt x="822654" y="4928746"/>
                  <a:pt x="773904" y="4105877"/>
                </a:cubicBezTo>
                <a:cubicBezTo>
                  <a:pt x="765887" y="3973226"/>
                  <a:pt x="765887" y="3840217"/>
                  <a:pt x="773904" y="3707566"/>
                </a:cubicBezTo>
                <a:cubicBezTo>
                  <a:pt x="833534" y="3636917"/>
                  <a:pt x="896282" y="3568658"/>
                  <a:pt x="962136" y="3502790"/>
                </a:cubicBezTo>
                <a:cubicBezTo>
                  <a:pt x="1025555" y="3439271"/>
                  <a:pt x="1091145" y="3378685"/>
                  <a:pt x="1158894" y="3321038"/>
                </a:cubicBezTo>
                <a:cubicBezTo>
                  <a:pt x="1131748" y="3688734"/>
                  <a:pt x="1167067" y="4058380"/>
                  <a:pt x="1263362" y="4414260"/>
                </a:cubicBezTo>
                <a:close/>
                <a:moveTo>
                  <a:pt x="6392924" y="6180317"/>
                </a:moveTo>
                <a:lnTo>
                  <a:pt x="6418906" y="6160611"/>
                </a:lnTo>
                <a:lnTo>
                  <a:pt x="6407472" y="6172597"/>
                </a:lnTo>
                <a:close/>
                <a:moveTo>
                  <a:pt x="6435686" y="6147610"/>
                </a:moveTo>
                <a:lnTo>
                  <a:pt x="6441234" y="6143276"/>
                </a:lnTo>
                <a:cubicBezTo>
                  <a:pt x="6437377" y="6149167"/>
                  <a:pt x="6433453" y="6154991"/>
                  <a:pt x="6429529" y="6160814"/>
                </a:cubicBezTo>
                <a:lnTo>
                  <a:pt x="6416944" y="6167586"/>
                </a:lnTo>
                <a:cubicBezTo>
                  <a:pt x="6423237" y="6160950"/>
                  <a:pt x="6429461" y="6154314"/>
                  <a:pt x="6435686" y="6147610"/>
                </a:cubicBezTo>
                <a:close/>
                <a:moveTo>
                  <a:pt x="6548274" y="5913241"/>
                </a:moveTo>
                <a:cubicBezTo>
                  <a:pt x="6548274" y="5918049"/>
                  <a:pt x="6548274" y="5922857"/>
                  <a:pt x="6547800" y="5927597"/>
                </a:cubicBezTo>
                <a:cubicBezTo>
                  <a:pt x="6546176" y="5932067"/>
                  <a:pt x="6544485" y="5936536"/>
                  <a:pt x="6542861" y="5941141"/>
                </a:cubicBezTo>
                <a:cubicBezTo>
                  <a:pt x="6544688" y="5931728"/>
                  <a:pt x="6546447" y="5922518"/>
                  <a:pt x="6548274" y="5913241"/>
                </a:cubicBezTo>
                <a:close/>
                <a:moveTo>
                  <a:pt x="6531156" y="5980958"/>
                </a:moveTo>
                <a:cubicBezTo>
                  <a:pt x="6528990" y="5990845"/>
                  <a:pt x="6526893" y="6000799"/>
                  <a:pt x="6524389" y="6010686"/>
                </a:cubicBezTo>
                <a:lnTo>
                  <a:pt x="6516067" y="6024229"/>
                </a:lnTo>
                <a:cubicBezTo>
                  <a:pt x="6513496" y="6028496"/>
                  <a:pt x="6510925" y="6032762"/>
                  <a:pt x="6508286" y="6037028"/>
                </a:cubicBezTo>
                <a:cubicBezTo>
                  <a:pt x="6516270" y="6018812"/>
                  <a:pt x="6523780" y="6000122"/>
                  <a:pt x="6531156" y="5981094"/>
                </a:cubicBezTo>
                <a:close/>
                <a:moveTo>
                  <a:pt x="6538666" y="5961388"/>
                </a:moveTo>
                <a:lnTo>
                  <a:pt x="6541913" y="5952856"/>
                </a:lnTo>
                <a:cubicBezTo>
                  <a:pt x="6543808" y="5947980"/>
                  <a:pt x="6545635" y="5943037"/>
                  <a:pt x="6547462" y="5938161"/>
                </a:cubicBezTo>
                <a:cubicBezTo>
                  <a:pt x="6546988" y="5950283"/>
                  <a:pt x="6546514" y="5962472"/>
                  <a:pt x="6545973" y="5974593"/>
                </a:cubicBezTo>
                <a:cubicBezTo>
                  <a:pt x="6540784" y="5983619"/>
                  <a:pt x="6535506" y="5992653"/>
                  <a:pt x="6530140" y="6001679"/>
                </a:cubicBezTo>
                <a:cubicBezTo>
                  <a:pt x="6533030" y="5988319"/>
                  <a:pt x="6535871" y="5974932"/>
                  <a:pt x="6538666" y="5961523"/>
                </a:cubicBezTo>
                <a:close/>
                <a:moveTo>
                  <a:pt x="6549289" y="5975609"/>
                </a:moveTo>
                <a:cubicBezTo>
                  <a:pt x="7456821" y="4408301"/>
                  <a:pt x="6922979" y="2401462"/>
                  <a:pt x="5356965" y="1493203"/>
                </a:cubicBezTo>
                <a:cubicBezTo>
                  <a:pt x="4373739" y="922952"/>
                  <a:pt x="3165528" y="903171"/>
                  <a:pt x="2164197" y="1440945"/>
                </a:cubicBezTo>
                <a:cubicBezTo>
                  <a:pt x="2220673" y="1357566"/>
                  <a:pt x="2281094" y="1276685"/>
                  <a:pt x="2345460" y="1198316"/>
                </a:cubicBezTo>
                <a:cubicBezTo>
                  <a:pt x="2397965" y="1134391"/>
                  <a:pt x="2452635" y="1072721"/>
                  <a:pt x="2509470" y="1013313"/>
                </a:cubicBezTo>
                <a:cubicBezTo>
                  <a:pt x="2549071" y="992368"/>
                  <a:pt x="2589174" y="972189"/>
                  <a:pt x="2629770" y="952774"/>
                </a:cubicBezTo>
                <a:cubicBezTo>
                  <a:pt x="4260259" y="171696"/>
                  <a:pt x="6214693" y="861377"/>
                  <a:pt x="6995105" y="2493219"/>
                </a:cubicBezTo>
                <a:cubicBezTo>
                  <a:pt x="7550126" y="3653731"/>
                  <a:pt x="7374952" y="5031953"/>
                  <a:pt x="6547326" y="6016442"/>
                </a:cubicBezTo>
                <a:cubicBezTo>
                  <a:pt x="6548003" y="6002946"/>
                  <a:pt x="6548747" y="5989376"/>
                  <a:pt x="6549559" y="5975744"/>
                </a:cubicBezTo>
                <a:close/>
                <a:moveTo>
                  <a:pt x="2934108" y="1148950"/>
                </a:moveTo>
                <a:cubicBezTo>
                  <a:pt x="4688240" y="715460"/>
                  <a:pt x="6461370" y="1787236"/>
                  <a:pt x="6894493" y="3542831"/>
                </a:cubicBezTo>
                <a:cubicBezTo>
                  <a:pt x="7097475" y="4365551"/>
                  <a:pt x="6973859" y="5234989"/>
                  <a:pt x="6549559" y="5968363"/>
                </a:cubicBezTo>
                <a:cubicBezTo>
                  <a:pt x="6550168" y="5954819"/>
                  <a:pt x="6550641" y="5941682"/>
                  <a:pt x="6551115" y="5928275"/>
                </a:cubicBezTo>
                <a:cubicBezTo>
                  <a:pt x="7180157" y="4231174"/>
                  <a:pt x="6315460" y="2345034"/>
                  <a:pt x="4619767" y="1715470"/>
                </a:cubicBezTo>
                <a:cubicBezTo>
                  <a:pt x="3812838" y="1415883"/>
                  <a:pt x="2920502" y="1446268"/>
                  <a:pt x="2135779" y="1800048"/>
                </a:cubicBezTo>
                <a:cubicBezTo>
                  <a:pt x="2053822" y="1836886"/>
                  <a:pt x="1973847" y="1876819"/>
                  <a:pt x="1895855" y="1919839"/>
                </a:cubicBezTo>
                <a:cubicBezTo>
                  <a:pt x="1970653" y="1755179"/>
                  <a:pt x="2059059" y="1597053"/>
                  <a:pt x="2160137" y="1447108"/>
                </a:cubicBezTo>
                <a:cubicBezTo>
                  <a:pt x="2404453" y="1315283"/>
                  <a:pt x="2664535" y="1215096"/>
                  <a:pt x="2934108" y="1148950"/>
                </a:cubicBezTo>
                <a:close/>
                <a:moveTo>
                  <a:pt x="1890847" y="1922616"/>
                </a:moveTo>
                <a:cubicBezTo>
                  <a:pt x="1730410" y="2011318"/>
                  <a:pt x="1577720" y="2113388"/>
                  <a:pt x="1434408" y="2227748"/>
                </a:cubicBezTo>
                <a:cubicBezTo>
                  <a:pt x="1473787" y="2138951"/>
                  <a:pt x="1517205" y="2051772"/>
                  <a:pt x="1564655" y="1966225"/>
                </a:cubicBezTo>
                <a:cubicBezTo>
                  <a:pt x="1605252" y="1893362"/>
                  <a:pt x="1648216" y="1822374"/>
                  <a:pt x="1693549" y="1753256"/>
                </a:cubicBezTo>
                <a:cubicBezTo>
                  <a:pt x="1726885" y="1726982"/>
                  <a:pt x="1760716" y="1701364"/>
                  <a:pt x="1795040" y="1676397"/>
                </a:cubicBezTo>
                <a:cubicBezTo>
                  <a:pt x="1909414" y="1593471"/>
                  <a:pt x="2029038" y="1518055"/>
                  <a:pt x="2153168" y="1450629"/>
                </a:cubicBezTo>
                <a:cubicBezTo>
                  <a:pt x="2052787" y="1600398"/>
                  <a:pt x="1965044" y="1758274"/>
                  <a:pt x="1890847" y="1922616"/>
                </a:cubicBezTo>
                <a:close/>
                <a:moveTo>
                  <a:pt x="1888547" y="1927762"/>
                </a:moveTo>
                <a:cubicBezTo>
                  <a:pt x="1833708" y="2049639"/>
                  <a:pt x="1786264" y="2174712"/>
                  <a:pt x="1746460" y="2302305"/>
                </a:cubicBezTo>
                <a:cubicBezTo>
                  <a:pt x="1730945" y="2351961"/>
                  <a:pt x="1716669" y="2401801"/>
                  <a:pt x="1703630" y="2451824"/>
                </a:cubicBezTo>
                <a:cubicBezTo>
                  <a:pt x="1624061" y="2497465"/>
                  <a:pt x="1546204" y="2546607"/>
                  <a:pt x="1470066" y="2599243"/>
                </a:cubicBezTo>
                <a:cubicBezTo>
                  <a:pt x="1393927" y="2651880"/>
                  <a:pt x="1320826" y="2706934"/>
                  <a:pt x="1250777" y="2764405"/>
                </a:cubicBezTo>
                <a:cubicBezTo>
                  <a:pt x="1295758" y="2582903"/>
                  <a:pt x="1356287" y="2405614"/>
                  <a:pt x="1431702" y="2234520"/>
                </a:cubicBezTo>
                <a:cubicBezTo>
                  <a:pt x="1575048" y="2119530"/>
                  <a:pt x="1727880" y="2016912"/>
                  <a:pt x="1888547" y="1927762"/>
                </a:cubicBezTo>
                <a:close/>
                <a:moveTo>
                  <a:pt x="1246379" y="2767994"/>
                </a:moveTo>
                <a:cubicBezTo>
                  <a:pt x="1106315" y="2883221"/>
                  <a:pt x="976115" y="3009953"/>
                  <a:pt x="857127" y="3146870"/>
                </a:cubicBezTo>
                <a:cubicBezTo>
                  <a:pt x="880044" y="3050712"/>
                  <a:pt x="907419" y="2955434"/>
                  <a:pt x="939267" y="2861037"/>
                </a:cubicBezTo>
                <a:cubicBezTo>
                  <a:pt x="967820" y="2776343"/>
                  <a:pt x="999668" y="2693187"/>
                  <a:pt x="1034804" y="2611568"/>
                </a:cubicBezTo>
                <a:cubicBezTo>
                  <a:pt x="1060197" y="2583039"/>
                  <a:pt x="1086091" y="2554956"/>
                  <a:pt x="1112479" y="2527328"/>
                </a:cubicBezTo>
                <a:cubicBezTo>
                  <a:pt x="1210620" y="2424547"/>
                  <a:pt x="1315332" y="2328254"/>
                  <a:pt x="1425951" y="2239057"/>
                </a:cubicBezTo>
                <a:cubicBezTo>
                  <a:pt x="1351044" y="2409886"/>
                  <a:pt x="1290961" y="2586851"/>
                  <a:pt x="1246379" y="2767994"/>
                </a:cubicBezTo>
                <a:close/>
                <a:moveTo>
                  <a:pt x="1245026" y="2773479"/>
                </a:moveTo>
                <a:cubicBezTo>
                  <a:pt x="1213848" y="2900915"/>
                  <a:pt x="1190282" y="3030099"/>
                  <a:pt x="1174456" y="3160346"/>
                </a:cubicBezTo>
                <a:cubicBezTo>
                  <a:pt x="1168143" y="3212352"/>
                  <a:pt x="1163041" y="3264271"/>
                  <a:pt x="1159165" y="3316095"/>
                </a:cubicBezTo>
                <a:cubicBezTo>
                  <a:pt x="1090469" y="3374466"/>
                  <a:pt x="1023958" y="3435818"/>
                  <a:pt x="959633" y="3500149"/>
                </a:cubicBezTo>
                <a:cubicBezTo>
                  <a:pt x="895308" y="3564480"/>
                  <a:pt x="833493" y="3631655"/>
                  <a:pt x="774175" y="3701675"/>
                </a:cubicBezTo>
                <a:cubicBezTo>
                  <a:pt x="785623" y="3517065"/>
                  <a:pt x="812789" y="3333769"/>
                  <a:pt x="855368" y="3153777"/>
                </a:cubicBezTo>
                <a:cubicBezTo>
                  <a:pt x="974390" y="3016339"/>
                  <a:pt x="1104711" y="2889132"/>
                  <a:pt x="1244958" y="2773479"/>
                </a:cubicBezTo>
                <a:close/>
                <a:moveTo>
                  <a:pt x="770521" y="3706212"/>
                </a:moveTo>
                <a:cubicBezTo>
                  <a:pt x="649757" y="3849270"/>
                  <a:pt x="541529" y="4002466"/>
                  <a:pt x="447035" y="4164113"/>
                </a:cubicBezTo>
                <a:cubicBezTo>
                  <a:pt x="452178" y="4061996"/>
                  <a:pt x="462124" y="3959967"/>
                  <a:pt x="476874" y="3858033"/>
                </a:cubicBezTo>
                <a:cubicBezTo>
                  <a:pt x="488647" y="3776772"/>
                  <a:pt x="503419" y="3696190"/>
                  <a:pt x="521191" y="3616283"/>
                </a:cubicBezTo>
                <a:cubicBezTo>
                  <a:pt x="544737" y="3576872"/>
                  <a:pt x="569163" y="3537915"/>
                  <a:pt x="594468" y="3499404"/>
                </a:cubicBezTo>
                <a:cubicBezTo>
                  <a:pt x="672390" y="3380669"/>
                  <a:pt x="757957" y="3267135"/>
                  <a:pt x="850632" y="3159533"/>
                </a:cubicBezTo>
                <a:cubicBezTo>
                  <a:pt x="808506" y="3339159"/>
                  <a:pt x="781706" y="3522042"/>
                  <a:pt x="770521" y="3706212"/>
                </a:cubicBezTo>
                <a:close/>
                <a:moveTo>
                  <a:pt x="770521" y="3711832"/>
                </a:moveTo>
                <a:cubicBezTo>
                  <a:pt x="762706" y="3843128"/>
                  <a:pt x="762706" y="3974784"/>
                  <a:pt x="770521" y="4106080"/>
                </a:cubicBezTo>
                <a:cubicBezTo>
                  <a:pt x="877588" y="5913357"/>
                  <a:pt x="2428256" y="7291551"/>
                  <a:pt x="4234027" y="7184423"/>
                </a:cubicBezTo>
                <a:cubicBezTo>
                  <a:pt x="5060577" y="7135396"/>
                  <a:pt x="5837890" y="6774871"/>
                  <a:pt x="6409569" y="6175374"/>
                </a:cubicBezTo>
                <a:lnTo>
                  <a:pt x="6425469" y="6166841"/>
                </a:lnTo>
                <a:cubicBezTo>
                  <a:pt x="5410126" y="7664130"/>
                  <a:pt x="3374255" y="8054111"/>
                  <a:pt x="1878215" y="7037952"/>
                </a:cubicBezTo>
                <a:cubicBezTo>
                  <a:pt x="934917" y="6397201"/>
                  <a:pt x="392592" y="5311468"/>
                  <a:pt x="446562" y="4171765"/>
                </a:cubicBezTo>
                <a:cubicBezTo>
                  <a:pt x="540996" y="4009407"/>
                  <a:pt x="649273" y="3855527"/>
                  <a:pt x="770183" y="3711832"/>
                </a:cubicBezTo>
                <a:close/>
                <a:moveTo>
                  <a:pt x="535197" y="5113031"/>
                </a:moveTo>
                <a:cubicBezTo>
                  <a:pt x="965932" y="6871029"/>
                  <a:pt x="2739097" y="7946780"/>
                  <a:pt x="4495664" y="7515627"/>
                </a:cubicBezTo>
                <a:cubicBezTo>
                  <a:pt x="5286631" y="7321550"/>
                  <a:pt x="5976946" y="6839406"/>
                  <a:pt x="6431897" y="6163387"/>
                </a:cubicBezTo>
                <a:lnTo>
                  <a:pt x="6456255" y="6149844"/>
                </a:lnTo>
                <a:cubicBezTo>
                  <a:pt x="5741189" y="7720403"/>
                  <a:pt x="3930250" y="8465085"/>
                  <a:pt x="2318463" y="7851367"/>
                </a:cubicBezTo>
                <a:cubicBezTo>
                  <a:pt x="1089224" y="7383917"/>
                  <a:pt x="258446" y="6226087"/>
                  <a:pt x="208667" y="4910963"/>
                </a:cubicBezTo>
                <a:cubicBezTo>
                  <a:pt x="205690" y="4832276"/>
                  <a:pt x="205554" y="4753840"/>
                  <a:pt x="208261" y="4675647"/>
                </a:cubicBezTo>
                <a:cubicBezTo>
                  <a:pt x="224680" y="4631496"/>
                  <a:pt x="242136" y="4587615"/>
                  <a:pt x="260630" y="4544005"/>
                </a:cubicBezTo>
                <a:cubicBezTo>
                  <a:pt x="313716" y="4418242"/>
                  <a:pt x="374617" y="4295931"/>
                  <a:pt x="442976" y="4177792"/>
                </a:cubicBezTo>
                <a:cubicBezTo>
                  <a:pt x="428611" y="4492358"/>
                  <a:pt x="459671" y="4807350"/>
                  <a:pt x="535197" y="5113031"/>
                </a:cubicBezTo>
                <a:close/>
                <a:moveTo>
                  <a:pt x="6435957" y="6157293"/>
                </a:moveTo>
                <a:cubicBezTo>
                  <a:pt x="6440558" y="6150522"/>
                  <a:pt x="6445091" y="6143750"/>
                  <a:pt x="6449489" y="6136978"/>
                </a:cubicBezTo>
                <a:cubicBezTo>
                  <a:pt x="6456255" y="6131832"/>
                  <a:pt x="6462547" y="6126753"/>
                  <a:pt x="6469043" y="6121538"/>
                </a:cubicBezTo>
                <a:cubicBezTo>
                  <a:pt x="6465525" y="6129461"/>
                  <a:pt x="6462277" y="6137317"/>
                  <a:pt x="6458420" y="6145172"/>
                </a:cubicBezTo>
                <a:cubicBezTo>
                  <a:pt x="6451045" y="6149099"/>
                  <a:pt x="6443535" y="6153230"/>
                  <a:pt x="6435957" y="6157293"/>
                </a:cubicBezTo>
                <a:close/>
                <a:moveTo>
                  <a:pt x="6474862" y="6116663"/>
                </a:moveTo>
                <a:cubicBezTo>
                  <a:pt x="6485214" y="6108401"/>
                  <a:pt x="6495160" y="6100072"/>
                  <a:pt x="6505647" y="6091676"/>
                </a:cubicBezTo>
                <a:cubicBezTo>
                  <a:pt x="6503076" y="6102104"/>
                  <a:pt x="6500437" y="6112465"/>
                  <a:pt x="6497798" y="6122825"/>
                </a:cubicBezTo>
                <a:cubicBezTo>
                  <a:pt x="6486432" y="6129326"/>
                  <a:pt x="6474997" y="6135759"/>
                  <a:pt x="6463495" y="6142124"/>
                </a:cubicBezTo>
                <a:cubicBezTo>
                  <a:pt x="6467351" y="6133727"/>
                  <a:pt x="6471140" y="6125195"/>
                  <a:pt x="6475132" y="6116730"/>
                </a:cubicBezTo>
                <a:close/>
                <a:moveTo>
                  <a:pt x="6477839" y="6109891"/>
                </a:moveTo>
                <a:lnTo>
                  <a:pt x="6484943" y="6093436"/>
                </a:lnTo>
                <a:lnTo>
                  <a:pt x="6492521" y="6084904"/>
                </a:lnTo>
                <a:cubicBezTo>
                  <a:pt x="6499335" y="6077184"/>
                  <a:pt x="6506101" y="6069444"/>
                  <a:pt x="6512819" y="6061677"/>
                </a:cubicBezTo>
                <a:cubicBezTo>
                  <a:pt x="6510857" y="6069870"/>
                  <a:pt x="6508895" y="6077997"/>
                  <a:pt x="6506865" y="6086123"/>
                </a:cubicBezTo>
                <a:cubicBezTo>
                  <a:pt x="6497325" y="6094249"/>
                  <a:pt x="6487649" y="6102104"/>
                  <a:pt x="6477839" y="6110027"/>
                </a:cubicBezTo>
                <a:close/>
                <a:moveTo>
                  <a:pt x="6490018" y="6082805"/>
                </a:moveTo>
                <a:lnTo>
                  <a:pt x="6489206" y="6083685"/>
                </a:lnTo>
                <a:cubicBezTo>
                  <a:pt x="6492995" y="6074949"/>
                  <a:pt x="6496716" y="6066078"/>
                  <a:pt x="6500370" y="6057275"/>
                </a:cubicBezTo>
                <a:cubicBezTo>
                  <a:pt x="6506730" y="6047030"/>
                  <a:pt x="6513022" y="6036757"/>
                  <a:pt x="6519247" y="6026464"/>
                </a:cubicBezTo>
                <a:lnTo>
                  <a:pt x="6522292" y="6021318"/>
                </a:lnTo>
                <a:cubicBezTo>
                  <a:pt x="6519768" y="6032511"/>
                  <a:pt x="6517217" y="6043644"/>
                  <a:pt x="6514646" y="6054702"/>
                </a:cubicBezTo>
                <a:cubicBezTo>
                  <a:pt x="6506344" y="6064135"/>
                  <a:pt x="6498137" y="6073507"/>
                  <a:pt x="6490018" y="6082805"/>
                </a:cubicBezTo>
                <a:close/>
                <a:moveTo>
                  <a:pt x="6527840" y="6012108"/>
                </a:moveTo>
                <a:cubicBezTo>
                  <a:pt x="6533794" y="6002086"/>
                  <a:pt x="6539748" y="5992132"/>
                  <a:pt x="6545635" y="5982042"/>
                </a:cubicBezTo>
                <a:cubicBezTo>
                  <a:pt x="6544958" y="5994976"/>
                  <a:pt x="6544281" y="6007977"/>
                  <a:pt x="6543469" y="6020911"/>
                </a:cubicBezTo>
                <a:cubicBezTo>
                  <a:pt x="6535533" y="6030391"/>
                  <a:pt x="6527502" y="6039824"/>
                  <a:pt x="6519382" y="6049217"/>
                </a:cubicBezTo>
                <a:cubicBezTo>
                  <a:pt x="6522495" y="6036825"/>
                  <a:pt x="6525066" y="6024500"/>
                  <a:pt x="6527840" y="6012108"/>
                </a:cubicBezTo>
                <a:close/>
                <a:moveTo>
                  <a:pt x="2409602" y="977694"/>
                </a:moveTo>
                <a:cubicBezTo>
                  <a:pt x="2567144" y="854273"/>
                  <a:pt x="2735592" y="745479"/>
                  <a:pt x="2912863" y="652653"/>
                </a:cubicBezTo>
                <a:cubicBezTo>
                  <a:pt x="2767940" y="760587"/>
                  <a:pt x="2632301" y="880480"/>
                  <a:pt x="2507372" y="1011078"/>
                </a:cubicBezTo>
                <a:cubicBezTo>
                  <a:pt x="2347185" y="1095806"/>
                  <a:pt x="2194387" y="1193840"/>
                  <a:pt x="2050595" y="1304157"/>
                </a:cubicBezTo>
                <a:cubicBezTo>
                  <a:pt x="2162113" y="1186682"/>
                  <a:pt x="2282109" y="1077570"/>
                  <a:pt x="2409602" y="977694"/>
                </a:cubicBezTo>
                <a:close/>
                <a:moveTo>
                  <a:pt x="2035709" y="1319529"/>
                </a:moveTo>
                <a:cubicBezTo>
                  <a:pt x="2181586" y="1206096"/>
                  <a:pt x="2336921" y="1105394"/>
                  <a:pt x="2499997" y="1018527"/>
                </a:cubicBezTo>
                <a:cubicBezTo>
                  <a:pt x="2445868" y="1075680"/>
                  <a:pt x="2393499" y="1134933"/>
                  <a:pt x="2342889" y="1196284"/>
                </a:cubicBezTo>
                <a:cubicBezTo>
                  <a:pt x="2277075" y="1276414"/>
                  <a:pt x="2215369" y="1359164"/>
                  <a:pt x="2157769" y="1444534"/>
                </a:cubicBezTo>
                <a:cubicBezTo>
                  <a:pt x="2031501" y="1512827"/>
                  <a:pt x="1909860" y="1589354"/>
                  <a:pt x="1793619" y="1673621"/>
                </a:cubicBezTo>
                <a:cubicBezTo>
                  <a:pt x="1761819" y="1696692"/>
                  <a:pt x="1730492" y="1720257"/>
                  <a:pt x="1699638" y="1744317"/>
                </a:cubicBezTo>
                <a:cubicBezTo>
                  <a:pt x="1799593" y="1593566"/>
                  <a:pt x="1912012" y="1451469"/>
                  <a:pt x="2035709" y="1319529"/>
                </a:cubicBezTo>
                <a:close/>
                <a:moveTo>
                  <a:pt x="1592058" y="1736191"/>
                </a:moveTo>
                <a:cubicBezTo>
                  <a:pt x="1721980" y="1589333"/>
                  <a:pt x="1864744" y="1454374"/>
                  <a:pt x="2018659" y="1332937"/>
                </a:cubicBezTo>
                <a:cubicBezTo>
                  <a:pt x="1898351" y="1463048"/>
                  <a:pt x="1788937" y="1602836"/>
                  <a:pt x="1691519" y="1750886"/>
                </a:cubicBezTo>
                <a:cubicBezTo>
                  <a:pt x="1555034" y="1858068"/>
                  <a:pt x="1427378" y="1976044"/>
                  <a:pt x="1309777" y="2103691"/>
                </a:cubicBezTo>
                <a:cubicBezTo>
                  <a:pt x="1395192" y="1974751"/>
                  <a:pt x="1489511" y="1851953"/>
                  <a:pt x="1592058" y="1736191"/>
                </a:cubicBezTo>
                <a:close/>
                <a:moveTo>
                  <a:pt x="1297801" y="2121500"/>
                </a:moveTo>
                <a:cubicBezTo>
                  <a:pt x="1416925" y="1990570"/>
                  <a:pt x="1546542" y="1869607"/>
                  <a:pt x="1685362" y="1759824"/>
                </a:cubicBezTo>
                <a:cubicBezTo>
                  <a:pt x="1641836" y="1826370"/>
                  <a:pt x="1600671" y="1894628"/>
                  <a:pt x="1561881" y="1964600"/>
                </a:cubicBezTo>
                <a:cubicBezTo>
                  <a:pt x="1513348" y="2052179"/>
                  <a:pt x="1469030" y="2141430"/>
                  <a:pt x="1428928" y="2232353"/>
                </a:cubicBezTo>
                <a:cubicBezTo>
                  <a:pt x="1316307" y="2322775"/>
                  <a:pt x="1209781" y="2420545"/>
                  <a:pt x="1110043" y="2525026"/>
                </a:cubicBezTo>
                <a:cubicBezTo>
                  <a:pt x="1085956" y="2550216"/>
                  <a:pt x="1062295" y="2575766"/>
                  <a:pt x="1039067" y="2601681"/>
                </a:cubicBezTo>
                <a:cubicBezTo>
                  <a:pt x="1111673" y="2434630"/>
                  <a:pt x="1198225" y="2273999"/>
                  <a:pt x="1297801" y="2121500"/>
                </a:cubicBezTo>
                <a:close/>
                <a:moveTo>
                  <a:pt x="916195" y="2633982"/>
                </a:moveTo>
                <a:cubicBezTo>
                  <a:pt x="1022794" y="2457268"/>
                  <a:pt x="1145781" y="2290989"/>
                  <a:pt x="1283525" y="2137346"/>
                </a:cubicBezTo>
                <a:cubicBezTo>
                  <a:pt x="1186770" y="2287590"/>
                  <a:pt x="1102607" y="2445594"/>
                  <a:pt x="1031895" y="2609739"/>
                </a:cubicBezTo>
                <a:cubicBezTo>
                  <a:pt x="910768" y="2745735"/>
                  <a:pt x="801314" y="2891706"/>
                  <a:pt x="704687" y="3046107"/>
                </a:cubicBezTo>
                <a:cubicBezTo>
                  <a:pt x="765467" y="2903949"/>
                  <a:pt x="836139" y="2766233"/>
                  <a:pt x="916195" y="2633982"/>
                </a:cubicBezTo>
                <a:close/>
                <a:moveTo>
                  <a:pt x="696162" y="3066219"/>
                </a:moveTo>
                <a:cubicBezTo>
                  <a:pt x="793648" y="2907992"/>
                  <a:pt x="904571" y="2758459"/>
                  <a:pt x="1027700" y="2619287"/>
                </a:cubicBezTo>
                <a:cubicBezTo>
                  <a:pt x="994140" y="2697974"/>
                  <a:pt x="963605" y="2778104"/>
                  <a:pt x="936087" y="2859682"/>
                </a:cubicBezTo>
                <a:cubicBezTo>
                  <a:pt x="903522" y="2956199"/>
                  <a:pt x="875598" y="3053692"/>
                  <a:pt x="852323" y="3152152"/>
                </a:cubicBezTo>
                <a:cubicBezTo>
                  <a:pt x="757916" y="3261393"/>
                  <a:pt x="670827" y="3376769"/>
                  <a:pt x="591626" y="3497508"/>
                </a:cubicBezTo>
                <a:cubicBezTo>
                  <a:pt x="568170" y="3533175"/>
                  <a:pt x="545459" y="3569288"/>
                  <a:pt x="523492" y="3605855"/>
                </a:cubicBezTo>
                <a:cubicBezTo>
                  <a:pt x="565172" y="3421272"/>
                  <a:pt x="622950" y="3240699"/>
                  <a:pt x="696162" y="3066219"/>
                </a:cubicBezTo>
                <a:close/>
                <a:moveTo>
                  <a:pt x="420174" y="3627863"/>
                </a:moveTo>
                <a:cubicBezTo>
                  <a:pt x="491528" y="3439136"/>
                  <a:pt x="580085" y="3257384"/>
                  <a:pt x="684727" y="3084909"/>
                </a:cubicBezTo>
                <a:cubicBezTo>
                  <a:pt x="614052" y="3256490"/>
                  <a:pt x="558274" y="3433841"/>
                  <a:pt x="518011" y="3614997"/>
                </a:cubicBezTo>
                <a:cubicBezTo>
                  <a:pt x="425193" y="3770109"/>
                  <a:pt x="345504" y="3932725"/>
                  <a:pt x="279778" y="4101137"/>
                </a:cubicBezTo>
                <a:cubicBezTo>
                  <a:pt x="314722" y="3940099"/>
                  <a:pt x="361652" y="3781899"/>
                  <a:pt x="420174" y="3627863"/>
                </a:cubicBezTo>
                <a:close/>
                <a:moveTo>
                  <a:pt x="275312" y="4122197"/>
                </a:moveTo>
                <a:cubicBezTo>
                  <a:pt x="341179" y="3950141"/>
                  <a:pt x="421580" y="3784018"/>
                  <a:pt x="515643" y="3625628"/>
                </a:cubicBezTo>
                <a:cubicBezTo>
                  <a:pt x="498863" y="3702372"/>
                  <a:pt x="484812" y="3779732"/>
                  <a:pt x="473491" y="3857694"/>
                </a:cubicBezTo>
                <a:cubicBezTo>
                  <a:pt x="458380" y="3961843"/>
                  <a:pt x="448321" y="4066127"/>
                  <a:pt x="443314" y="4170546"/>
                </a:cubicBezTo>
                <a:cubicBezTo>
                  <a:pt x="373567" y="4290642"/>
                  <a:pt x="311488" y="4415038"/>
                  <a:pt x="257450" y="4542990"/>
                </a:cubicBezTo>
                <a:cubicBezTo>
                  <a:pt x="240354" y="4583620"/>
                  <a:pt x="224093" y="4624385"/>
                  <a:pt x="208667" y="4665286"/>
                </a:cubicBezTo>
                <a:cubicBezTo>
                  <a:pt x="215525" y="4482654"/>
                  <a:pt x="237820" y="4300929"/>
                  <a:pt x="275312" y="4122061"/>
                </a:cubicBezTo>
                <a:close/>
                <a:moveTo>
                  <a:pt x="111776" y="4706729"/>
                </a:moveTo>
                <a:cubicBezTo>
                  <a:pt x="146889" y="4514190"/>
                  <a:pt x="199081" y="4325165"/>
                  <a:pt x="267734" y="4141902"/>
                </a:cubicBezTo>
                <a:cubicBezTo>
                  <a:pt x="232084" y="4317499"/>
                  <a:pt x="211059" y="4495757"/>
                  <a:pt x="204878" y="4674834"/>
                </a:cubicBezTo>
                <a:cubicBezTo>
                  <a:pt x="141904" y="4843849"/>
                  <a:pt x="93132" y="5017834"/>
                  <a:pt x="59069" y="5194968"/>
                </a:cubicBezTo>
                <a:cubicBezTo>
                  <a:pt x="64525" y="5031140"/>
                  <a:pt x="82142" y="4867943"/>
                  <a:pt x="111776" y="4706729"/>
                </a:cubicBezTo>
                <a:close/>
                <a:moveTo>
                  <a:pt x="58460" y="5216570"/>
                </a:moveTo>
                <a:cubicBezTo>
                  <a:pt x="91999" y="5035772"/>
                  <a:pt x="140869" y="4858164"/>
                  <a:pt x="204539" y="4685669"/>
                </a:cubicBezTo>
                <a:cubicBezTo>
                  <a:pt x="202239" y="4760564"/>
                  <a:pt x="202487" y="4835709"/>
                  <a:pt x="205284" y="4911099"/>
                </a:cubicBezTo>
                <a:cubicBezTo>
                  <a:pt x="273542" y="6721382"/>
                  <a:pt x="1795182" y="8133544"/>
                  <a:pt x="3603963" y="8065217"/>
                </a:cubicBezTo>
                <a:cubicBezTo>
                  <a:pt x="4455040" y="8033051"/>
                  <a:pt x="5260189" y="7670630"/>
                  <a:pt x="5848865" y="7054610"/>
                </a:cubicBezTo>
                <a:cubicBezTo>
                  <a:pt x="6102836" y="6789024"/>
                  <a:pt x="6309885" y="6482185"/>
                  <a:pt x="6461194" y="6147203"/>
                </a:cubicBezTo>
                <a:cubicBezTo>
                  <a:pt x="6473055" y="6140614"/>
                  <a:pt x="6484855" y="6133978"/>
                  <a:pt x="6496581" y="6127295"/>
                </a:cubicBezTo>
                <a:cubicBezTo>
                  <a:pt x="6063938" y="7786359"/>
                  <a:pt x="4425121" y="8829876"/>
                  <a:pt x="2740260" y="8519191"/>
                </a:cubicBezTo>
                <a:cubicBezTo>
                  <a:pt x="1155809" y="8229295"/>
                  <a:pt x="18037" y="6828097"/>
                  <a:pt x="58460" y="5216570"/>
                </a:cubicBezTo>
                <a:close/>
                <a:moveTo>
                  <a:pt x="6292448" y="7094224"/>
                </a:moveTo>
                <a:cubicBezTo>
                  <a:pt x="5587579" y="8761211"/>
                  <a:pt x="3665933" y="9540700"/>
                  <a:pt x="2000329" y="8835226"/>
                </a:cubicBezTo>
                <a:cubicBezTo>
                  <a:pt x="1216433" y="8503210"/>
                  <a:pt x="592504" y="7878793"/>
                  <a:pt x="260765" y="7094224"/>
                </a:cubicBezTo>
                <a:cubicBezTo>
                  <a:pt x="90204" y="6690835"/>
                  <a:pt x="2754" y="6257135"/>
                  <a:pt x="3655" y="5819115"/>
                </a:cubicBezTo>
                <a:cubicBezTo>
                  <a:pt x="3514" y="5624199"/>
                  <a:pt x="20631" y="5429655"/>
                  <a:pt x="54806" y="5237765"/>
                </a:cubicBezTo>
                <a:cubicBezTo>
                  <a:pt x="24589" y="6843333"/>
                  <a:pt x="1161594" y="8234171"/>
                  <a:pt x="2740057" y="8522509"/>
                </a:cubicBezTo>
                <a:cubicBezTo>
                  <a:pt x="4427739" y="8833668"/>
                  <a:pt x="6069019" y="7787510"/>
                  <a:pt x="6500979" y="6125331"/>
                </a:cubicBezTo>
                <a:cubicBezTo>
                  <a:pt x="6513293" y="6118288"/>
                  <a:pt x="6525540" y="6111178"/>
                  <a:pt x="6537718" y="6104000"/>
                </a:cubicBezTo>
                <a:cubicBezTo>
                  <a:pt x="6508665" y="6444955"/>
                  <a:pt x="6425882" y="6779137"/>
                  <a:pt x="6292448" y="7094224"/>
                </a:cubicBezTo>
                <a:close/>
                <a:moveTo>
                  <a:pt x="6537786" y="6099666"/>
                </a:moveTo>
                <a:cubicBezTo>
                  <a:pt x="6525878" y="6106438"/>
                  <a:pt x="6513902" y="6113616"/>
                  <a:pt x="6501858" y="6120523"/>
                </a:cubicBezTo>
                <a:cubicBezTo>
                  <a:pt x="6504632" y="6109756"/>
                  <a:pt x="6507339" y="6098989"/>
                  <a:pt x="6510045" y="6088154"/>
                </a:cubicBezTo>
                <a:cubicBezTo>
                  <a:pt x="6520330" y="6079710"/>
                  <a:pt x="6530567" y="6071177"/>
                  <a:pt x="6540763" y="6062557"/>
                </a:cubicBezTo>
                <a:cubicBezTo>
                  <a:pt x="6539816" y="6074949"/>
                  <a:pt x="6538869" y="6087274"/>
                  <a:pt x="6537786" y="6099666"/>
                </a:cubicBezTo>
                <a:close/>
                <a:moveTo>
                  <a:pt x="6511398" y="6082669"/>
                </a:moveTo>
                <a:cubicBezTo>
                  <a:pt x="6513564" y="6073866"/>
                  <a:pt x="6515661" y="6065130"/>
                  <a:pt x="6517691" y="6056327"/>
                </a:cubicBezTo>
                <a:cubicBezTo>
                  <a:pt x="6526264" y="6046441"/>
                  <a:pt x="6534741" y="6036534"/>
                  <a:pt x="6543131" y="6026599"/>
                </a:cubicBezTo>
                <a:cubicBezTo>
                  <a:pt x="6542543" y="6037028"/>
                  <a:pt x="6541866" y="6047456"/>
                  <a:pt x="6541101" y="6057885"/>
                </a:cubicBezTo>
                <a:close/>
                <a:moveTo>
                  <a:pt x="7996890" y="4256141"/>
                </a:moveTo>
                <a:cubicBezTo>
                  <a:pt x="7756762" y="5029400"/>
                  <a:pt x="7238007" y="5685706"/>
                  <a:pt x="6541372" y="6097567"/>
                </a:cubicBezTo>
                <a:cubicBezTo>
                  <a:pt x="6542455" y="6084904"/>
                  <a:pt x="6543402" y="6072173"/>
                  <a:pt x="6544349" y="6059510"/>
                </a:cubicBezTo>
                <a:cubicBezTo>
                  <a:pt x="7924628" y="4887716"/>
                  <a:pt x="8094388" y="2817935"/>
                  <a:pt x="6923588" y="1436530"/>
                </a:cubicBezTo>
                <a:cubicBezTo>
                  <a:pt x="6102410" y="467695"/>
                  <a:pt x="4796084" y="60595"/>
                  <a:pt x="3570525" y="391604"/>
                </a:cubicBezTo>
                <a:cubicBezTo>
                  <a:pt x="3355858" y="449455"/>
                  <a:pt x="3147700" y="529238"/>
                  <a:pt x="2949332" y="629697"/>
                </a:cubicBezTo>
                <a:cubicBezTo>
                  <a:pt x="3078151" y="536401"/>
                  <a:pt x="3213534" y="452530"/>
                  <a:pt x="3354417" y="378738"/>
                </a:cubicBezTo>
                <a:cubicBezTo>
                  <a:pt x="4954200" y="-461690"/>
                  <a:pt x="6931842" y="154966"/>
                  <a:pt x="7771512" y="1756080"/>
                </a:cubicBezTo>
                <a:cubicBezTo>
                  <a:pt x="8175514" y="2526373"/>
                  <a:pt x="8256639" y="3425918"/>
                  <a:pt x="7996890" y="4256141"/>
                </a:cubicBezTo>
                <a:close/>
              </a:path>
            </a:pathLst>
          </a:custGeom>
          <a:gradFill flip="none" rotWithShape="1">
            <a:gsLst>
              <a:gs pos="0">
                <a:srgbClr val="FF6D70"/>
              </a:gs>
              <a:gs pos="66000">
                <a:srgbClr val="2C1F56"/>
              </a:gs>
              <a:gs pos="26000">
                <a:schemeClr val="accent1">
                  <a:lumMod val="45000"/>
                  <a:lumOff val="55000"/>
                </a:schemeClr>
              </a:gs>
            </a:gsLst>
            <a:lin ang="0" scaled="0"/>
            <a:tileRect/>
          </a:gradFill>
          <a:ln w="6758" cap="flat">
            <a:noFill/>
            <a:prstDash val="solid"/>
            <a:miter/>
          </a:ln>
        </p:spPr>
        <p:txBody>
          <a:bodyPr rtlCol="0" anchor="ctr"/>
          <a:lstStyle/>
          <a:p>
            <a:endParaRPr lang="en-US" sz="2400"/>
          </a:p>
        </p:txBody>
      </p:sp>
      <p:sp>
        <p:nvSpPr>
          <p:cNvPr id="2" name="Title 1">
            <a:extLst>
              <a:ext uri="{FF2B5EF4-FFF2-40B4-BE49-F238E27FC236}">
                <a16:creationId xmlns:a16="http://schemas.microsoft.com/office/drawing/2014/main" id="{1731944A-0D3C-514A-A98E-4FD741224354}"/>
              </a:ext>
            </a:extLst>
          </p:cNvPr>
          <p:cNvSpPr>
            <a:spLocks noGrp="1"/>
          </p:cNvSpPr>
          <p:nvPr>
            <p:ph type="title" hasCustomPrompt="1"/>
          </p:nvPr>
        </p:nvSpPr>
        <p:spPr>
          <a:xfrm>
            <a:off x="508000" y="365677"/>
            <a:ext cx="11176000" cy="517001"/>
          </a:xfrm>
        </p:spPr>
        <p:txBody>
          <a:bodyPr/>
          <a:lstStyle>
            <a:lvl1pPr>
              <a:defRPr>
                <a:solidFill>
                  <a:schemeClr val="bg1"/>
                </a:solidFill>
              </a:defRPr>
            </a:lvl1pPr>
          </a:lstStyle>
          <a:p>
            <a:r>
              <a:rPr lang="en-US" dirty="0"/>
              <a:t>Click to edit master title style</a:t>
            </a:r>
          </a:p>
        </p:txBody>
      </p:sp>
      <p:sp>
        <p:nvSpPr>
          <p:cNvPr id="7" name="Date Placeholder 2">
            <a:extLst>
              <a:ext uri="{FF2B5EF4-FFF2-40B4-BE49-F238E27FC236}">
                <a16:creationId xmlns:a16="http://schemas.microsoft.com/office/drawing/2014/main" id="{B1BE08C3-486D-4D29-A4CC-55058E6CAD49}"/>
              </a:ext>
            </a:extLst>
          </p:cNvPr>
          <p:cNvSpPr>
            <a:spLocks noGrp="1"/>
          </p:cNvSpPr>
          <p:nvPr>
            <p:ph type="dt" sz="half" idx="10"/>
          </p:nvPr>
        </p:nvSpPr>
        <p:spPr>
          <a:xfrm>
            <a:off x="508000" y="6356351"/>
            <a:ext cx="814269" cy="365125"/>
          </a:xfrm>
        </p:spPr>
        <p:txBody>
          <a:bodyPr/>
          <a:lstStyle>
            <a:lvl1pPr>
              <a:defRPr>
                <a:solidFill>
                  <a:schemeClr val="bg1"/>
                </a:solidFill>
              </a:defRPr>
            </a:lvl1pPr>
          </a:lstStyle>
          <a:p>
            <a:fld id="{B01F1F41-2107-2B4A-AFD3-0A9C893A5C18}" type="datetimeFigureOut">
              <a:rPr lang="en-US" smtClean="0"/>
              <a:pPr/>
              <a:t>7/16/2021</a:t>
            </a:fld>
            <a:endParaRPr lang="en-US"/>
          </a:p>
        </p:txBody>
      </p:sp>
      <p:sp>
        <p:nvSpPr>
          <p:cNvPr id="9" name="Footer Placeholder 3">
            <a:extLst>
              <a:ext uri="{FF2B5EF4-FFF2-40B4-BE49-F238E27FC236}">
                <a16:creationId xmlns:a16="http://schemas.microsoft.com/office/drawing/2014/main" id="{4FD8289E-60DA-49A2-ACD5-817042829A10}"/>
              </a:ext>
            </a:extLst>
          </p:cNvPr>
          <p:cNvSpPr>
            <a:spLocks noGrp="1"/>
          </p:cNvSpPr>
          <p:nvPr>
            <p:ph type="ftr" sz="quarter" idx="11"/>
          </p:nvPr>
        </p:nvSpPr>
        <p:spPr>
          <a:xfrm>
            <a:off x="1340532" y="6356351"/>
            <a:ext cx="2823179" cy="365125"/>
          </a:xfrm>
        </p:spPr>
        <p:txBody>
          <a:bodyPr/>
          <a:lstStyle/>
          <a:p>
            <a:r>
              <a:rPr lang="en-US">
                <a:solidFill>
                  <a:schemeClr val="tx2"/>
                </a:solidFill>
              </a:rPr>
              <a:t>|</a:t>
            </a:r>
            <a:r>
              <a:rPr lang="en-US"/>
              <a:t>  </a:t>
            </a:r>
            <a:r>
              <a:rPr lang="en-US">
                <a:solidFill>
                  <a:schemeClr val="bg1"/>
                </a:solidFill>
              </a:rPr>
              <a:t>Footer</a:t>
            </a:r>
          </a:p>
        </p:txBody>
      </p:sp>
      <p:pic>
        <p:nvPicPr>
          <p:cNvPr id="11" name="Graphic 10">
            <a:extLst>
              <a:ext uri="{FF2B5EF4-FFF2-40B4-BE49-F238E27FC236}">
                <a16:creationId xmlns:a16="http://schemas.microsoft.com/office/drawing/2014/main" id="{B1B20BC1-BF3E-48DF-8D38-782E26BEB7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392397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Engage CTA">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10" name="Text Placeholder 9">
            <a:extLst>
              <a:ext uri="{FF2B5EF4-FFF2-40B4-BE49-F238E27FC236}">
                <a16:creationId xmlns:a16="http://schemas.microsoft.com/office/drawing/2014/main" id="{DB6FC22D-6295-4A49-BC29-503E7C2A5F37}"/>
              </a:ext>
            </a:extLst>
          </p:cNvPr>
          <p:cNvSpPr>
            <a:spLocks noGrp="1"/>
          </p:cNvSpPr>
          <p:nvPr>
            <p:ph type="body" sz="quarter" idx="10"/>
          </p:nvPr>
        </p:nvSpPr>
        <p:spPr>
          <a:xfrm>
            <a:off x="5723348" y="736600"/>
            <a:ext cx="5960653" cy="4150784"/>
          </a:xfrm>
        </p:spPr>
        <p:txBody>
          <a:bodyPr>
            <a:normAutofit/>
          </a:bodyPr>
          <a:lstStyle>
            <a:lvl1pPr marL="0" indent="383108">
              <a:spcAft>
                <a:spcPts val="2400"/>
              </a:spcAft>
              <a:buFontTx/>
              <a:buBlip>
                <a:blip r:embed="rId3"/>
              </a:buBlip>
              <a:tabLst/>
              <a:defRPr sz="2133">
                <a:solidFill>
                  <a:schemeClr val="accent5"/>
                </a:solidFill>
                <a:latin typeface="+mn-lt"/>
              </a:defRPr>
            </a:lvl1pPr>
            <a:lvl2pPr marL="0" indent="383108">
              <a:spcAft>
                <a:spcPts val="2400"/>
              </a:spcAft>
              <a:buFontTx/>
              <a:buBlip>
                <a:blip r:embed="rId3"/>
              </a:buBlip>
              <a:tabLst/>
              <a:defRPr sz="2133">
                <a:solidFill>
                  <a:schemeClr val="accent5"/>
                </a:solidFill>
                <a:latin typeface="+mn-lt"/>
              </a:defRPr>
            </a:lvl2pPr>
            <a:lvl3pPr marL="0" indent="383108">
              <a:spcAft>
                <a:spcPts val="2400"/>
              </a:spcAft>
              <a:buFontTx/>
              <a:buBlip>
                <a:blip r:embed="rId3"/>
              </a:buBlip>
              <a:tabLst/>
              <a:defRPr sz="2133">
                <a:solidFill>
                  <a:schemeClr val="accent5"/>
                </a:solidFill>
                <a:latin typeface="+mn-lt"/>
              </a:defRPr>
            </a:lvl3pPr>
            <a:lvl4pPr marL="0" indent="383108">
              <a:spcAft>
                <a:spcPts val="2400"/>
              </a:spcAft>
              <a:buFontTx/>
              <a:buBlip>
                <a:blip r:embed="rId3"/>
              </a:buBlip>
              <a:tabLst/>
              <a:defRPr sz="2133">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175773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7531181"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6016579" y="2019357"/>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5551891" y="5442395"/>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5551891" y="5367695"/>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spTree>
    <p:extLst>
      <p:ext uri="{BB962C8B-B14F-4D97-AF65-F5344CB8AC3E}">
        <p14:creationId xmlns:p14="http://schemas.microsoft.com/office/powerpoint/2010/main" val="3767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65" name="Group 64">
            <a:extLst>
              <a:ext uri="{FF2B5EF4-FFF2-40B4-BE49-F238E27FC236}">
                <a16:creationId xmlns:a16="http://schemas.microsoft.com/office/drawing/2014/main" id="{CC0EE77F-062F-7044-B649-E334A4557711}"/>
              </a:ext>
            </a:extLst>
          </p:cNvPr>
          <p:cNvGrpSpPr/>
          <p:nvPr userDrawn="1"/>
        </p:nvGrpSpPr>
        <p:grpSpPr>
          <a:xfrm>
            <a:off x="5551891" y="1"/>
            <a:ext cx="7959877" cy="7591636"/>
            <a:chOff x="7994577" y="0"/>
            <a:chExt cx="11462017" cy="10932307"/>
          </a:xfrm>
        </p:grpSpPr>
        <p:grpSp>
          <p:nvGrpSpPr>
            <p:cNvPr id="8" name="Circle">
              <a:extLst>
                <a:ext uri="{FF2B5EF4-FFF2-40B4-BE49-F238E27FC236}">
                  <a16:creationId xmlns:a16="http://schemas.microsoft.com/office/drawing/2014/main" id="{4970906B-47AF-9543-A23B-58EC8065A7D2}"/>
                </a:ext>
              </a:extLst>
            </p:cNvPr>
            <p:cNvGrpSpPr/>
            <p:nvPr userDrawn="1"/>
          </p:nvGrpSpPr>
          <p:grpSpPr>
            <a:xfrm>
              <a:off x="9956627" y="1432340"/>
              <a:ext cx="9499967" cy="9499967"/>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14" name="one lump">
              <a:extLst>
                <a:ext uri="{FF2B5EF4-FFF2-40B4-BE49-F238E27FC236}">
                  <a16:creationId xmlns:a16="http://schemas.microsoft.com/office/drawing/2014/main" id="{4CA3D591-3B0F-8948-88A0-ACCBF374FB5D}"/>
                </a:ext>
              </a:extLst>
            </p:cNvPr>
            <p:cNvGrpSpPr/>
            <p:nvPr userDrawn="1"/>
          </p:nvGrpSpPr>
          <p:grpSpPr>
            <a:xfrm rot="10800000">
              <a:off x="14016662" y="0"/>
              <a:ext cx="3562164" cy="4398387"/>
              <a:chOff x="2328672" y="2862072"/>
              <a:chExt cx="1847682" cy="2281428"/>
            </a:xfrm>
          </p:grpSpPr>
          <p:sp>
            <p:nvSpPr>
              <p:cNvPr id="15" name="Graphic 6" hidden="1">
                <a:extLst>
                  <a:ext uri="{FF2B5EF4-FFF2-40B4-BE49-F238E27FC236}">
                    <a16:creationId xmlns:a16="http://schemas.microsoft.com/office/drawing/2014/main" id="{918EB62E-DBF3-B948-B499-9E979886B8C6}"/>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16" name="Graphic 6">
                <a:extLst>
                  <a:ext uri="{FF2B5EF4-FFF2-40B4-BE49-F238E27FC236}">
                    <a16:creationId xmlns:a16="http://schemas.microsoft.com/office/drawing/2014/main" id="{216FA2DA-94DF-9540-9EB3-655F51D1AC9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37" name="4 Xs">
              <a:extLst>
                <a:ext uri="{FF2B5EF4-FFF2-40B4-BE49-F238E27FC236}">
                  <a16:creationId xmlns:a16="http://schemas.microsoft.com/office/drawing/2014/main" id="{2428E0FC-1648-9543-BAF3-57967B99CAF3}"/>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38" name="Graphic 37">
                <a:extLst>
                  <a:ext uri="{FF2B5EF4-FFF2-40B4-BE49-F238E27FC236}">
                    <a16:creationId xmlns:a16="http://schemas.microsoft.com/office/drawing/2014/main" id="{890E5B45-35A6-E24C-892F-F944E2F1576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39" name="Graphic 37">
                <a:extLst>
                  <a:ext uri="{FF2B5EF4-FFF2-40B4-BE49-F238E27FC236}">
                    <a16:creationId xmlns:a16="http://schemas.microsoft.com/office/drawing/2014/main" id="{4C913FCA-D8CF-0544-8BEA-D9483D1026D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0" name="Graphic 37">
                <a:extLst>
                  <a:ext uri="{FF2B5EF4-FFF2-40B4-BE49-F238E27FC236}">
                    <a16:creationId xmlns:a16="http://schemas.microsoft.com/office/drawing/2014/main" id="{FE4A9092-A59B-2B4B-992A-B70F0727CE4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1" name="Graphic 37">
                <a:extLst>
                  <a:ext uri="{FF2B5EF4-FFF2-40B4-BE49-F238E27FC236}">
                    <a16:creationId xmlns:a16="http://schemas.microsoft.com/office/drawing/2014/main" id="{8885AE4E-A2DB-B34B-9080-690ED54CEB4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3434782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reserve="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35" name="4 Xs">
            <a:extLst>
              <a:ext uri="{FF2B5EF4-FFF2-40B4-BE49-F238E27FC236}">
                <a16:creationId xmlns:a16="http://schemas.microsoft.com/office/drawing/2014/main" id="{6B49B282-FF20-8449-BA31-484C4E7A5229}"/>
              </a:ext>
            </a:extLst>
          </p:cNvPr>
          <p:cNvGrpSpPr/>
          <p:nvPr userDrawn="1"/>
        </p:nvGrpSpPr>
        <p:grpSpPr>
          <a:xfrm>
            <a:off x="10281533" y="2246882"/>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3" y="5548188"/>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grpSp>
      <p:grpSp>
        <p:nvGrpSpPr>
          <p:cNvPr id="44" name="waves">
            <a:extLst>
              <a:ext uri="{FF2B5EF4-FFF2-40B4-BE49-F238E27FC236}">
                <a16:creationId xmlns:a16="http://schemas.microsoft.com/office/drawing/2014/main" id="{3E36DA55-C2AD-DB4B-B056-C8D8A465ACBC}"/>
              </a:ext>
            </a:extLst>
          </p:cNvPr>
          <p:cNvGrpSpPr/>
          <p:nvPr userDrawn="1"/>
        </p:nvGrpSpPr>
        <p:grpSpPr>
          <a:xfrm>
            <a:off x="6096001" y="4542732"/>
            <a:ext cx="7779727" cy="2330729"/>
            <a:chOff x="4253152" y="151074"/>
            <a:chExt cx="6930220" cy="2076330"/>
          </a:xfrm>
        </p:grpSpPr>
        <p:sp>
          <p:nvSpPr>
            <p:cNvPr id="45" name="coral">
              <a:extLst>
                <a:ext uri="{FF2B5EF4-FFF2-40B4-BE49-F238E27FC236}">
                  <a16:creationId xmlns:a16="http://schemas.microsoft.com/office/drawing/2014/main" id="{2D6DBFE9-65EF-3D48-B26A-C68DFA974FD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Source Sans Pro" panose="020B0503030403020204" pitchFamily="34" charset="0"/>
              </a:endParaRPr>
            </a:p>
          </p:txBody>
        </p:sp>
        <p:sp>
          <p:nvSpPr>
            <p:cNvPr id="46" name="green">
              <a:extLst>
                <a:ext uri="{FF2B5EF4-FFF2-40B4-BE49-F238E27FC236}">
                  <a16:creationId xmlns:a16="http://schemas.microsoft.com/office/drawing/2014/main" id="{2C2D7C0F-291B-4C40-BA4D-FEDF4CBE20C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latin typeface="Source Sans Pro" panose="020B0503030403020204" pitchFamily="34" charset="0"/>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0"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gr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66"/>
            <a:ext cx="6980716" cy="1111535"/>
          </a:xfrm>
          <a:prstGeom prst="rect">
            <a:avLst/>
          </a:prstGeom>
        </p:spPr>
        <p:txBody>
          <a:bodyPr anchor="ctr" anchorCtr="0">
            <a:normAutofit/>
          </a:bodyPr>
          <a:lstStyle>
            <a:lvl1pPr algn="l">
              <a:defRPr sz="4583">
                <a:solidFill>
                  <a:schemeClr val="accent5"/>
                </a:solidFill>
                <a:latin typeface="Source Sans Pro" panose="020B0503030403020204" pitchFamily="34" charset="0"/>
              </a:defRPr>
            </a:lvl1pPr>
          </a:lstStyle>
          <a:p>
            <a:r>
              <a:rPr lang="en-US" dirty="0"/>
              <a:t>First Last</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5" y="3826100"/>
            <a:ext cx="6875983" cy="532587"/>
          </a:xfrm>
          <a:prstGeom prst="rect">
            <a:avLst/>
          </a:prstGeom>
        </p:spPr>
        <p:txBody>
          <a:bodyPr/>
          <a:lstStyle>
            <a:lvl1pPr marL="0" indent="0" algn="l">
              <a:buNone/>
              <a:defRPr sz="2400">
                <a:solidFill>
                  <a:schemeClr val="bg2"/>
                </a:solidFill>
                <a:latin typeface="Source Sans Pro" panose="020B0503030403020204" pitchFamily="34" charset="0"/>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Title, Company</a:t>
            </a:r>
          </a:p>
        </p:txBody>
      </p:sp>
      <p:pic>
        <p:nvPicPr>
          <p:cNvPr id="6" name="Picture 5">
            <a:extLst>
              <a:ext uri="{FF2B5EF4-FFF2-40B4-BE49-F238E27FC236}">
                <a16:creationId xmlns:a16="http://schemas.microsoft.com/office/drawing/2014/main" id="{513E09BB-3A34-7645-AFFB-D25C8E2D5F72}"/>
              </a:ext>
            </a:extLst>
          </p:cNvPr>
          <p:cNvPicPr>
            <a:picLocks noChangeAspect="1"/>
          </p:cNvPicPr>
          <p:nvPr userDrawn="1"/>
        </p:nvPicPr>
        <p:blipFill>
          <a:blip r:embed="rId2"/>
          <a:stretch>
            <a:fillRect/>
          </a:stretch>
        </p:blipFill>
        <p:spPr>
          <a:xfrm>
            <a:off x="508229" y="563421"/>
            <a:ext cx="927403" cy="927401"/>
          </a:xfrm>
          <a:prstGeom prst="rect">
            <a:avLst/>
          </a:prstGeom>
        </p:spPr>
      </p:pic>
      <p:grpSp>
        <p:nvGrpSpPr>
          <p:cNvPr id="7" name="Photo">
            <a:extLst>
              <a:ext uri="{FF2B5EF4-FFF2-40B4-BE49-F238E27FC236}">
                <a16:creationId xmlns:a16="http://schemas.microsoft.com/office/drawing/2014/main" id="{2199EC45-4F3B-724E-97CC-7FC956B4B86B}"/>
              </a:ext>
            </a:extLst>
          </p:cNvPr>
          <p:cNvGrpSpPr/>
          <p:nvPr userDrawn="1"/>
        </p:nvGrpSpPr>
        <p:grpSpPr>
          <a:xfrm>
            <a:off x="1209262" y="1953610"/>
            <a:ext cx="2952036" cy="2951885"/>
            <a:chOff x="2925896" y="913502"/>
            <a:chExt cx="3630630" cy="3630630"/>
          </a:xfrm>
        </p:grpSpPr>
        <p:sp>
          <p:nvSpPr>
            <p:cNvPr id="8" name="Oval 7">
              <a:extLst>
                <a:ext uri="{FF2B5EF4-FFF2-40B4-BE49-F238E27FC236}">
                  <a16:creationId xmlns:a16="http://schemas.microsoft.com/office/drawing/2014/main" id="{3F3B23D8-7258-B541-90BD-1AD09EC73516}"/>
                </a:ext>
              </a:extLst>
            </p:cNvPr>
            <p:cNvSpPr/>
            <p:nvPr/>
          </p:nvSpPr>
          <p:spPr>
            <a:xfrm>
              <a:off x="2925896" y="913502"/>
              <a:ext cx="3630630" cy="3630630"/>
            </a:xfrm>
            <a:prstGeom prst="ellipse">
              <a:avLst/>
            </a:prstGeom>
            <a:gradFill flip="none" rotWithShape="1">
              <a:gsLst>
                <a:gs pos="0">
                  <a:srgbClr val="4D80A4"/>
                </a:gs>
                <a:gs pos="72000">
                  <a:srgbClr val="22415F"/>
                </a:gs>
                <a:gs pos="99000">
                  <a:schemeClr val="tx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8070" rtl="0" eaLnBrk="1" fontAlgn="auto" latinLnBrk="0" hangingPunct="1">
                <a:lnSpc>
                  <a:spcPct val="100000"/>
                </a:lnSpc>
                <a:spcBef>
                  <a:spcPts val="0"/>
                </a:spcBef>
                <a:spcAft>
                  <a:spcPts val="0"/>
                </a:spcAft>
                <a:buClrTx/>
                <a:buSzTx/>
                <a:buFontTx/>
                <a:buNone/>
                <a:tabLst/>
                <a:defRPr/>
              </a:pPr>
              <a:endParaRPr kumimoji="0" lang="en-US" sz="740" u="none" strike="noStrike" kern="1200" cap="none" spc="0" normalizeH="0" baseline="0" noProof="0" dirty="0">
                <a:ln>
                  <a:noFill/>
                </a:ln>
                <a:solidFill>
                  <a:srgbClr val="F8F3EF"/>
                </a:solidFill>
                <a:effectLst/>
                <a:uLnTx/>
                <a:uFillTx/>
                <a:latin typeface="Source Sans Pro" panose="020B0503030403020204" pitchFamily="34" charset="0"/>
                <a:ea typeface="+mn-ea"/>
                <a:cs typeface="+mn-cs"/>
              </a:endParaRPr>
            </a:p>
          </p:txBody>
        </p:sp>
        <p:pic>
          <p:nvPicPr>
            <p:cNvPr id="9" name="Picture 8">
              <a:extLst>
                <a:ext uri="{FF2B5EF4-FFF2-40B4-BE49-F238E27FC236}">
                  <a16:creationId xmlns:a16="http://schemas.microsoft.com/office/drawing/2014/main" id="{309D3969-35AE-BA42-959F-89CC45BB343C}"/>
                </a:ext>
              </a:extLst>
            </p:cNvPr>
            <p:cNvPicPr>
              <a:picLocks noChangeAspect="1"/>
            </p:cNvPicPr>
            <p:nvPr/>
          </p:nvPicPr>
          <p:blipFill rotWithShape="1">
            <a:blip r:embed="rId3"/>
            <a:srcRect l="5686" t="25971" r="24859" b="20353"/>
            <a:stretch/>
          </p:blipFill>
          <p:spPr>
            <a:xfrm>
              <a:off x="2925896" y="913502"/>
              <a:ext cx="3630630" cy="3630630"/>
            </a:xfrm>
            <a:prstGeom prst="ellipse">
              <a:avLst/>
            </a:prstGeom>
          </p:spPr>
        </p:pic>
      </p:grpSp>
    </p:spTree>
    <p:extLst>
      <p:ext uri="{BB962C8B-B14F-4D97-AF65-F5344CB8AC3E}">
        <p14:creationId xmlns:p14="http://schemas.microsoft.com/office/powerpoint/2010/main" val="313705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decel="50000" fill="hold" nodeType="withEffect">
                                  <p:stCondLst>
                                    <p:cond delay="0"/>
                                  </p:stCondLst>
                                  <p:childTnLst>
                                    <p:animScale>
                                      <p:cBhvr>
                                        <p:cTn id="9" dur="5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 preserve="1">
  <p:cSld name="2_Divid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86279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Divider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07672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6273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3624536740"/>
      </p:ext>
    </p:extLst>
  </p:cSld>
  <p:clrMapOvr>
    <a:masterClrMapping/>
  </p:clrMapOvr>
  <p:transition spd="slow">
    <p:wipe dir="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1_Divider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tx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1">
                  <a:lumMod val="60000"/>
                  <a:lumOff val="40000"/>
                </a:schemeClr>
              </a:gs>
              <a:gs pos="100000">
                <a:schemeClr val="accent3">
                  <a:lumMod val="40000"/>
                  <a:lumOff val="60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44" name="Group 43">
            <a:extLst>
              <a:ext uri="{FF2B5EF4-FFF2-40B4-BE49-F238E27FC236}">
                <a16:creationId xmlns:a16="http://schemas.microsoft.com/office/drawing/2014/main" id="{9F385DED-ED43-A743-AE64-BC03522DC7DC}"/>
              </a:ext>
            </a:extLst>
          </p:cNvPr>
          <p:cNvGrpSpPr/>
          <p:nvPr userDrawn="1"/>
        </p:nvGrpSpPr>
        <p:grpSpPr>
          <a:xfrm>
            <a:off x="-733314" y="5049600"/>
            <a:ext cx="19125951" cy="1808401"/>
            <a:chOff x="7994577" y="7729729"/>
            <a:chExt cx="9753466" cy="2185140"/>
          </a:xfrm>
        </p:grpSpPr>
        <p:sp>
          <p:nvSpPr>
            <p:cNvPr id="45" name="Graphic 56">
              <a:extLst>
                <a:ext uri="{FF2B5EF4-FFF2-40B4-BE49-F238E27FC236}">
                  <a16:creationId xmlns:a16="http://schemas.microsoft.com/office/drawing/2014/main" id="{3FA4DCE2-42D3-F848-9A47-7D27C5A6AF7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46" name="Graphic 61">
              <a:extLst>
                <a:ext uri="{FF2B5EF4-FFF2-40B4-BE49-F238E27FC236}">
                  <a16:creationId xmlns:a16="http://schemas.microsoft.com/office/drawing/2014/main" id="{329069BE-19D3-3845-8A43-23C29D6BB37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097481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grpSp>
        <p:nvGrpSpPr>
          <p:cNvPr id="56" name="dot and strokes">
            <a:extLst>
              <a:ext uri="{FF2B5EF4-FFF2-40B4-BE49-F238E27FC236}">
                <a16:creationId xmlns:a16="http://schemas.microsoft.com/office/drawing/2014/main" id="{777B85B1-2E82-5D42-B38D-7114B297ECC0}"/>
              </a:ext>
            </a:extLst>
          </p:cNvPr>
          <p:cNvGrpSpPr/>
          <p:nvPr userDrawn="1"/>
        </p:nvGrpSpPr>
        <p:grpSpPr>
          <a:xfrm>
            <a:off x="389550" y="4724217"/>
            <a:ext cx="1015173" cy="2143992"/>
            <a:chOff x="8220065" y="840135"/>
            <a:chExt cx="539621" cy="1139708"/>
          </a:xfrm>
          <a:gradFill>
            <a:gsLst>
              <a:gs pos="100000">
                <a:srgbClr val="F9F8F6">
                  <a:alpha val="0"/>
                </a:srgbClr>
              </a:gs>
              <a:gs pos="0">
                <a:srgbClr val="F9F8F6">
                  <a:alpha val="14955"/>
                </a:srgbClr>
              </a:gs>
            </a:gsLst>
            <a:lin ang="16200000" scaled="1"/>
          </a:gradFill>
        </p:grpSpPr>
        <p:sp>
          <p:nvSpPr>
            <p:cNvPr id="57" name="Graphic 43">
              <a:extLst>
                <a:ext uri="{FF2B5EF4-FFF2-40B4-BE49-F238E27FC236}">
                  <a16:creationId xmlns:a16="http://schemas.microsoft.com/office/drawing/2014/main" id="{0F90D69D-036E-9E44-8CA4-05F80CD58109}"/>
                </a:ext>
              </a:extLst>
            </p:cNvPr>
            <p:cNvSpPr/>
            <p:nvPr/>
          </p:nvSpPr>
          <p:spPr>
            <a:xfrm>
              <a:off x="8220065" y="840135"/>
              <a:ext cx="117197" cy="1139708"/>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pFill/>
            <a:ln w="6872" cap="flat">
              <a:noFill/>
              <a:prstDash val="solid"/>
              <a:miter/>
            </a:ln>
          </p:spPr>
          <p:txBody>
            <a:bodyPr rtlCol="0" anchor="ctr"/>
            <a:lstStyle/>
            <a:p>
              <a:endParaRPr lang="en-US" sz="1249"/>
            </a:p>
          </p:txBody>
        </p:sp>
        <p:sp>
          <p:nvSpPr>
            <p:cNvPr id="58" name="Graphic 43">
              <a:extLst>
                <a:ext uri="{FF2B5EF4-FFF2-40B4-BE49-F238E27FC236}">
                  <a16:creationId xmlns:a16="http://schemas.microsoft.com/office/drawing/2014/main" id="{262D4C59-3E26-F149-B57B-1CA347E5F237}"/>
                </a:ext>
              </a:extLst>
            </p:cNvPr>
            <p:cNvSpPr/>
            <p:nvPr/>
          </p:nvSpPr>
          <p:spPr>
            <a:xfrm>
              <a:off x="8431277" y="904252"/>
              <a:ext cx="117197" cy="1075591"/>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pFill/>
            <a:ln w="6872" cap="flat">
              <a:noFill/>
              <a:prstDash val="solid"/>
              <a:miter/>
            </a:ln>
          </p:spPr>
          <p:txBody>
            <a:bodyPr rtlCol="0" anchor="ctr"/>
            <a:lstStyle/>
            <a:p>
              <a:endParaRPr lang="en-US" sz="1249"/>
            </a:p>
          </p:txBody>
        </p:sp>
        <p:sp>
          <p:nvSpPr>
            <p:cNvPr id="59" name="Graphic 43">
              <a:extLst>
                <a:ext uri="{FF2B5EF4-FFF2-40B4-BE49-F238E27FC236}">
                  <a16:creationId xmlns:a16="http://schemas.microsoft.com/office/drawing/2014/main" id="{3BA89126-75DF-AF40-AEB6-F04F1BC8C6CC}"/>
                </a:ext>
              </a:extLst>
            </p:cNvPr>
            <p:cNvSpPr/>
            <p:nvPr/>
          </p:nvSpPr>
          <p:spPr>
            <a:xfrm>
              <a:off x="8642488" y="988262"/>
              <a:ext cx="117198" cy="99158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pFill/>
            <a:ln w="6872" cap="flat">
              <a:noFill/>
              <a:prstDash val="solid"/>
              <a:miter/>
            </a:ln>
          </p:spPr>
          <p:txBody>
            <a:bodyPr rtlCol="0" anchor="ctr"/>
            <a:lstStyle/>
            <a:p>
              <a:endParaRPr lang="en-US" sz="1249"/>
            </a:p>
          </p:txBody>
        </p:sp>
      </p:grpSp>
      <p:sp>
        <p:nvSpPr>
          <p:cNvPr id="41" name="!!Title 1">
            <a:extLst>
              <a:ext uri="{FF2B5EF4-FFF2-40B4-BE49-F238E27FC236}">
                <a16:creationId xmlns:a16="http://schemas.microsoft.com/office/drawing/2014/main" id="{20CCBE6A-1302-704E-9371-712B8AF5B5B1}"/>
              </a:ext>
            </a:extLst>
          </p:cNvPr>
          <p:cNvSpPr txBox="1">
            <a:spLocks/>
          </p:cNvSpPr>
          <p:nvPr userDrawn="1"/>
        </p:nvSpPr>
        <p:spPr>
          <a:xfrm>
            <a:off x="542903" y="538142"/>
            <a:ext cx="2771799" cy="854849"/>
          </a:xfrm>
          <a:prstGeom prst="rect">
            <a:avLst/>
          </a:prstGeom>
        </p:spPr>
        <p:txBody>
          <a:bodyPr vert="horz" wrap="square" lIns="0" tIns="0" rIns="0" bIns="0" rtlCol="0" anchor="t" anchorCtr="0">
            <a:spAutoFit/>
          </a:bodyPr>
          <a:lstStyle>
            <a:lvl1pPr algn="l" defTabSz="685800" rtl="0" eaLnBrk="1" latinLnBrk="0" hangingPunct="1">
              <a:lnSpc>
                <a:spcPct val="90000"/>
              </a:lnSpc>
              <a:spcBef>
                <a:spcPct val="0"/>
              </a:spcBef>
              <a:buNone/>
              <a:defRPr sz="2800" b="1" i="0" kern="1200">
                <a:solidFill>
                  <a:schemeClr val="tx1"/>
                </a:solidFill>
                <a:latin typeface="+mj-lt"/>
                <a:ea typeface="+mj-ea"/>
                <a:cs typeface="+mj-cs"/>
              </a:defRPr>
            </a:lvl1pPr>
          </a:lstStyle>
          <a:p>
            <a:pPr marL="0" marR="0" lvl="0" indent="0" algn="l" defTabSz="914318" rtl="0" eaLnBrk="1" fontAlgn="auto" latinLnBrk="0" hangingPunct="1">
              <a:lnSpc>
                <a:spcPct val="100000"/>
              </a:lnSpc>
              <a:spcBef>
                <a:spcPct val="0"/>
              </a:spcBef>
              <a:spcAft>
                <a:spcPts val="0"/>
              </a:spcAft>
              <a:buClrTx/>
              <a:buSzTx/>
              <a:buFontTx/>
              <a:buNone/>
              <a:tabLst/>
              <a:defRPr/>
            </a:pPr>
            <a:r>
              <a:rPr kumimoji="0" lang="en-US" sz="5555" b="1" i="0" u="none" strike="noStrike" kern="1200" cap="none" spc="0" normalizeH="0" baseline="0" noProof="0" dirty="0">
                <a:ln>
                  <a:noFill/>
                </a:ln>
                <a:solidFill>
                  <a:srgbClr val="F8F3EF"/>
                </a:solidFill>
                <a:effectLst/>
                <a:uLnTx/>
                <a:uFillTx/>
                <a:latin typeface="+mn-lt"/>
                <a:ea typeface="+mj-ea"/>
                <a:cs typeface="+mj-cs"/>
              </a:rPr>
              <a:t>Agenda</a:t>
            </a:r>
          </a:p>
        </p:txBody>
      </p:sp>
      <p:grpSp>
        <p:nvGrpSpPr>
          <p:cNvPr id="4" name="Group 3">
            <a:extLst>
              <a:ext uri="{FF2B5EF4-FFF2-40B4-BE49-F238E27FC236}">
                <a16:creationId xmlns:a16="http://schemas.microsoft.com/office/drawing/2014/main" id="{4BFCADD9-4881-604B-8EB8-6C1A2638D8E7}"/>
              </a:ext>
            </a:extLst>
          </p:cNvPr>
          <p:cNvGrpSpPr/>
          <p:nvPr userDrawn="1"/>
        </p:nvGrpSpPr>
        <p:grpSpPr>
          <a:xfrm>
            <a:off x="4172707" y="807293"/>
            <a:ext cx="7511064" cy="5370624"/>
            <a:chOff x="3147293" y="773464"/>
            <a:chExt cx="5029200" cy="3596201"/>
          </a:xfrm>
        </p:grpSpPr>
        <p:grpSp>
          <p:nvGrpSpPr>
            <p:cNvPr id="16" name="Group 15">
              <a:extLst>
                <a:ext uri="{FF2B5EF4-FFF2-40B4-BE49-F238E27FC236}">
                  <a16:creationId xmlns:a16="http://schemas.microsoft.com/office/drawing/2014/main" id="{70E88F39-C460-2540-9D74-F35CBBFA4E98}"/>
                </a:ext>
              </a:extLst>
            </p:cNvPr>
            <p:cNvGrpSpPr/>
            <p:nvPr userDrawn="1"/>
          </p:nvGrpSpPr>
          <p:grpSpPr>
            <a:xfrm>
              <a:off x="3147293" y="773464"/>
              <a:ext cx="5029200" cy="444441"/>
              <a:chOff x="3289965" y="773464"/>
              <a:chExt cx="5029200" cy="444441"/>
            </a:xfrm>
          </p:grpSpPr>
          <p:sp>
            <p:nvSpPr>
              <p:cNvPr id="17" name="Rectangle 16">
                <a:extLst>
                  <a:ext uri="{FF2B5EF4-FFF2-40B4-BE49-F238E27FC236}">
                    <a16:creationId xmlns:a16="http://schemas.microsoft.com/office/drawing/2014/main" id="{5DF7AB99-02BE-5943-B626-BE44176C382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18" name="Rectangle 17">
                <a:extLst>
                  <a:ext uri="{FF2B5EF4-FFF2-40B4-BE49-F238E27FC236}">
                    <a16:creationId xmlns:a16="http://schemas.microsoft.com/office/drawing/2014/main" id="{FEEA5CC3-760F-3A45-986F-7390E5F15629}"/>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19" name="Straight Connector 18">
                <a:extLst>
                  <a:ext uri="{FF2B5EF4-FFF2-40B4-BE49-F238E27FC236}">
                    <a16:creationId xmlns:a16="http://schemas.microsoft.com/office/drawing/2014/main" id="{ACDE1167-B544-2F44-A630-23A8276B4E38}"/>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5BE498E3-0F9B-D548-8B27-BC6DF4EC9B8B}"/>
                </a:ext>
              </a:extLst>
            </p:cNvPr>
            <p:cNvGrpSpPr/>
            <p:nvPr userDrawn="1"/>
          </p:nvGrpSpPr>
          <p:grpSpPr>
            <a:xfrm>
              <a:off x="3147293" y="1298757"/>
              <a:ext cx="5029200" cy="444441"/>
              <a:chOff x="3289965" y="773464"/>
              <a:chExt cx="5029200" cy="444441"/>
            </a:xfrm>
          </p:grpSpPr>
          <p:sp>
            <p:nvSpPr>
              <p:cNvPr id="21" name="Rectangle 20">
                <a:extLst>
                  <a:ext uri="{FF2B5EF4-FFF2-40B4-BE49-F238E27FC236}">
                    <a16:creationId xmlns:a16="http://schemas.microsoft.com/office/drawing/2014/main" id="{DCDA2227-6D8F-AC43-B17C-0F496F95681F}"/>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2" name="Rectangle 21">
                <a:extLst>
                  <a:ext uri="{FF2B5EF4-FFF2-40B4-BE49-F238E27FC236}">
                    <a16:creationId xmlns:a16="http://schemas.microsoft.com/office/drawing/2014/main" id="{CDBE0476-A6EC-DF44-ABDA-BE99371562B6}"/>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3" name="Straight Connector 22">
                <a:extLst>
                  <a:ext uri="{FF2B5EF4-FFF2-40B4-BE49-F238E27FC236}">
                    <a16:creationId xmlns:a16="http://schemas.microsoft.com/office/drawing/2014/main" id="{2CBE9C63-E0CE-2E43-8C2E-C35ADF208BB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8D8D7322-B958-964E-8B8C-9192588194CA}"/>
                </a:ext>
              </a:extLst>
            </p:cNvPr>
            <p:cNvGrpSpPr/>
            <p:nvPr userDrawn="1"/>
          </p:nvGrpSpPr>
          <p:grpSpPr>
            <a:xfrm>
              <a:off x="3147293" y="1824051"/>
              <a:ext cx="5029200" cy="444441"/>
              <a:chOff x="3289965" y="773464"/>
              <a:chExt cx="5029200" cy="444441"/>
            </a:xfrm>
          </p:grpSpPr>
          <p:sp>
            <p:nvSpPr>
              <p:cNvPr id="25" name="Rectangle 24">
                <a:extLst>
                  <a:ext uri="{FF2B5EF4-FFF2-40B4-BE49-F238E27FC236}">
                    <a16:creationId xmlns:a16="http://schemas.microsoft.com/office/drawing/2014/main" id="{C791330F-BDF6-2E49-85E0-1C48472A201B}"/>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6" name="Rectangle 25">
                <a:extLst>
                  <a:ext uri="{FF2B5EF4-FFF2-40B4-BE49-F238E27FC236}">
                    <a16:creationId xmlns:a16="http://schemas.microsoft.com/office/drawing/2014/main" id="{5B2F4183-33A8-224A-A443-8F2527418F0C}"/>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7" name="Straight Connector 26">
                <a:extLst>
                  <a:ext uri="{FF2B5EF4-FFF2-40B4-BE49-F238E27FC236}">
                    <a16:creationId xmlns:a16="http://schemas.microsoft.com/office/drawing/2014/main" id="{E9E735A5-C4E1-2F4B-BDED-418827467CAD}"/>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A330632E-6C0F-6C4D-B1FE-F7EDC5F4D184}"/>
                </a:ext>
              </a:extLst>
            </p:cNvPr>
            <p:cNvGrpSpPr/>
            <p:nvPr userDrawn="1"/>
          </p:nvGrpSpPr>
          <p:grpSpPr>
            <a:xfrm>
              <a:off x="3147293" y="2349344"/>
              <a:ext cx="5029200" cy="444441"/>
              <a:chOff x="3289965" y="773464"/>
              <a:chExt cx="5029200" cy="444441"/>
            </a:xfrm>
          </p:grpSpPr>
          <p:sp>
            <p:nvSpPr>
              <p:cNvPr id="29" name="Rectangle 28">
                <a:extLst>
                  <a:ext uri="{FF2B5EF4-FFF2-40B4-BE49-F238E27FC236}">
                    <a16:creationId xmlns:a16="http://schemas.microsoft.com/office/drawing/2014/main" id="{50C1BABE-EBEC-9B4E-9E43-DC7585F46A58}"/>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0" name="Rectangle 29">
                <a:extLst>
                  <a:ext uri="{FF2B5EF4-FFF2-40B4-BE49-F238E27FC236}">
                    <a16:creationId xmlns:a16="http://schemas.microsoft.com/office/drawing/2014/main" id="{5B6F25F9-E801-AB42-BE21-F9E1408A4E0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1" name="Straight Connector 30">
                <a:extLst>
                  <a:ext uri="{FF2B5EF4-FFF2-40B4-BE49-F238E27FC236}">
                    <a16:creationId xmlns:a16="http://schemas.microsoft.com/office/drawing/2014/main" id="{C208CCBF-FCE0-6143-9629-AD31C02BB80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01BBE74D-B5EC-9443-9C9A-4BD991427D8F}"/>
                </a:ext>
              </a:extLst>
            </p:cNvPr>
            <p:cNvGrpSpPr/>
            <p:nvPr userDrawn="1"/>
          </p:nvGrpSpPr>
          <p:grpSpPr>
            <a:xfrm>
              <a:off x="3147293" y="2874637"/>
              <a:ext cx="5029200" cy="444441"/>
              <a:chOff x="3289965" y="773464"/>
              <a:chExt cx="5029200" cy="444441"/>
            </a:xfrm>
          </p:grpSpPr>
          <p:sp>
            <p:nvSpPr>
              <p:cNvPr id="33" name="Rectangle 32">
                <a:extLst>
                  <a:ext uri="{FF2B5EF4-FFF2-40B4-BE49-F238E27FC236}">
                    <a16:creationId xmlns:a16="http://schemas.microsoft.com/office/drawing/2014/main" id="{6C145362-781B-0449-8DA6-5B30A6E1ADD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4" name="Rectangle 33">
                <a:extLst>
                  <a:ext uri="{FF2B5EF4-FFF2-40B4-BE49-F238E27FC236}">
                    <a16:creationId xmlns:a16="http://schemas.microsoft.com/office/drawing/2014/main" id="{C17FE23F-751A-2E43-8393-8780EF906E6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5" name="Straight Connector 34">
                <a:extLst>
                  <a:ext uri="{FF2B5EF4-FFF2-40B4-BE49-F238E27FC236}">
                    <a16:creationId xmlns:a16="http://schemas.microsoft.com/office/drawing/2014/main" id="{AC49855D-1F75-7A44-B1AB-4C19DF741BC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2FCC83A-22AF-3441-B243-A44A4B8146E4}"/>
                </a:ext>
              </a:extLst>
            </p:cNvPr>
            <p:cNvGrpSpPr/>
            <p:nvPr userDrawn="1"/>
          </p:nvGrpSpPr>
          <p:grpSpPr>
            <a:xfrm>
              <a:off x="3147293" y="3393446"/>
              <a:ext cx="5029200" cy="444441"/>
              <a:chOff x="3289965" y="773464"/>
              <a:chExt cx="5029200" cy="444441"/>
            </a:xfrm>
          </p:grpSpPr>
          <p:sp>
            <p:nvSpPr>
              <p:cNvPr id="37" name="Rectangle 36">
                <a:extLst>
                  <a:ext uri="{FF2B5EF4-FFF2-40B4-BE49-F238E27FC236}">
                    <a16:creationId xmlns:a16="http://schemas.microsoft.com/office/drawing/2014/main" id="{1E045387-A767-EA44-8486-5E8171EFA239}"/>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8" name="Rectangle 37">
                <a:extLst>
                  <a:ext uri="{FF2B5EF4-FFF2-40B4-BE49-F238E27FC236}">
                    <a16:creationId xmlns:a16="http://schemas.microsoft.com/office/drawing/2014/main" id="{B8D58236-0418-D747-BAD3-43F04C594E1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9" name="Straight Connector 38">
                <a:extLst>
                  <a:ext uri="{FF2B5EF4-FFF2-40B4-BE49-F238E27FC236}">
                    <a16:creationId xmlns:a16="http://schemas.microsoft.com/office/drawing/2014/main" id="{EBF363B8-2878-2044-B1AC-6737706B5FB3}"/>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B022F0C3-B8F9-7543-98A7-F67CA8C3FD38}"/>
                </a:ext>
              </a:extLst>
            </p:cNvPr>
            <p:cNvGrpSpPr/>
            <p:nvPr userDrawn="1"/>
          </p:nvGrpSpPr>
          <p:grpSpPr>
            <a:xfrm>
              <a:off x="3147293" y="3925224"/>
              <a:ext cx="5029200" cy="444441"/>
              <a:chOff x="3289965" y="773464"/>
              <a:chExt cx="5029200" cy="444441"/>
            </a:xfrm>
          </p:grpSpPr>
          <p:sp>
            <p:nvSpPr>
              <p:cNvPr id="42" name="Rectangle 41">
                <a:extLst>
                  <a:ext uri="{FF2B5EF4-FFF2-40B4-BE49-F238E27FC236}">
                    <a16:creationId xmlns:a16="http://schemas.microsoft.com/office/drawing/2014/main" id="{763C5C9A-E187-414D-B0C1-06E6F2FFC731}"/>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43" name="Rectangle 42">
                <a:extLst>
                  <a:ext uri="{FF2B5EF4-FFF2-40B4-BE49-F238E27FC236}">
                    <a16:creationId xmlns:a16="http://schemas.microsoft.com/office/drawing/2014/main" id="{3ABE93C9-68C2-C84D-83F8-CCF17419700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44" name="Straight Connector 43">
                <a:extLst>
                  <a:ext uri="{FF2B5EF4-FFF2-40B4-BE49-F238E27FC236}">
                    <a16:creationId xmlns:a16="http://schemas.microsoft.com/office/drawing/2014/main" id="{D4DCE20A-7D09-E447-9DF9-7502974647F0}"/>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0" name="one hump">
            <a:extLst>
              <a:ext uri="{FF2B5EF4-FFF2-40B4-BE49-F238E27FC236}">
                <a16:creationId xmlns:a16="http://schemas.microsoft.com/office/drawing/2014/main" id="{21E1BD3D-DFAF-6749-B9A7-D4B5A6014991}"/>
              </a:ext>
            </a:extLst>
          </p:cNvPr>
          <p:cNvSpPr/>
          <p:nvPr userDrawn="1"/>
        </p:nvSpPr>
        <p:spPr>
          <a:xfrm>
            <a:off x="1" y="3995061"/>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1249" dirty="0"/>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800547" y="4071512"/>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694642540"/>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41"/>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BE92D8BB-EA7F-DB42-896F-417FCFEA167C}"/>
              </a:ext>
            </a:extLst>
          </p:cNvPr>
          <p:cNvSpPr/>
          <p:nvPr userDrawn="1"/>
        </p:nvSpPr>
        <p:spPr>
          <a:xfrm flipH="1">
            <a:off x="-1194343" y="3423382"/>
            <a:ext cx="4109992" cy="4109785"/>
          </a:xfrm>
          <a:prstGeom prst="ellipse">
            <a:avLst/>
          </a:prstGeom>
          <a:gradFill flip="none" rotWithShape="1">
            <a:gsLst>
              <a:gs pos="50000">
                <a:schemeClr val="accent1">
                  <a:lumMod val="75000"/>
                  <a:alpha val="18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2" y="5394434"/>
            <a:ext cx="5282068" cy="277804"/>
          </a:xfrm>
        </p:spPr>
        <p:txBody>
          <a:bodyPr>
            <a:noAutofit/>
          </a:bodyPr>
          <a:lstStyle>
            <a:lvl1pPr>
              <a:defRPr sz="2223">
                <a:solidFill>
                  <a:schemeClr val="tx2"/>
                </a:solidFill>
              </a:defRPr>
            </a:lvl1pPr>
          </a:lstStyle>
          <a:p>
            <a:r>
              <a:rPr lang="en-US" dirty="0"/>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2" y="1498157"/>
            <a:ext cx="7386348" cy="3444388"/>
          </a:xfrm>
        </p:spPr>
        <p:txBody>
          <a:bodyPr>
            <a:normAutofit/>
          </a:bodyPr>
          <a:lstStyle>
            <a:lvl1pPr>
              <a:defRPr sz="3333"/>
            </a:lvl1pPr>
          </a:lstStyle>
          <a:p>
            <a:endParaRPr lang="en-US" dirty="0"/>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401052"/>
            <a:chOff x="5283035" y="1188441"/>
            <a:chExt cx="1038225" cy="1203159"/>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8"/>
              <a:ext cx="570673" cy="886852"/>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6111" dirty="0">
                  <a:solidFill>
                    <a:srgbClr val="FF6D70"/>
                  </a:solidFill>
                  <a:latin typeface="+mn-lt"/>
                </a:rPr>
                <a:t>“</a:t>
              </a:r>
              <a:endParaRPr lang="en-US" sz="7985" dirty="0">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0" y="825520"/>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4" name="waves">
            <a:extLst>
              <a:ext uri="{FF2B5EF4-FFF2-40B4-BE49-F238E27FC236}">
                <a16:creationId xmlns:a16="http://schemas.microsoft.com/office/drawing/2014/main" id="{90AB9E35-83B3-FE47-AC3F-0AC4CC70C1D3}"/>
              </a:ext>
            </a:extLst>
          </p:cNvPr>
          <p:cNvGrpSpPr/>
          <p:nvPr userDrawn="1"/>
        </p:nvGrpSpPr>
        <p:grpSpPr>
          <a:xfrm rot="5400000">
            <a:off x="-2804257" y="2453977"/>
            <a:ext cx="7120597" cy="1687452"/>
            <a:chOff x="4253152" y="151074"/>
            <a:chExt cx="6930220" cy="2076330"/>
          </a:xfrm>
        </p:grpSpPr>
        <p:sp>
          <p:nvSpPr>
            <p:cNvPr id="35" name="coral">
              <a:extLst>
                <a:ext uri="{FF2B5EF4-FFF2-40B4-BE49-F238E27FC236}">
                  <a16:creationId xmlns:a16="http://schemas.microsoft.com/office/drawing/2014/main" id="{8303D869-46DF-1C40-BBF8-3AED65A75F8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6" name="green">
              <a:extLst>
                <a:ext uri="{FF2B5EF4-FFF2-40B4-BE49-F238E27FC236}">
                  <a16:creationId xmlns:a16="http://schemas.microsoft.com/office/drawing/2014/main" id="{E35618F7-242C-4148-A231-0E9002E01B7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7" name="Text Placeholder 6">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7"/>
            <a:ext cx="2330580" cy="1436420"/>
          </a:xfrm>
        </p:spPr>
        <p:txBody>
          <a:bodyPr>
            <a:noAutofit/>
          </a:bodyPr>
          <a:lstStyle>
            <a:lvl1pPr>
              <a:defRPr sz="5555" b="1">
                <a:solidFill>
                  <a:schemeClr val="accent5"/>
                </a:solidFill>
              </a:defRPr>
            </a:lvl1pPr>
          </a:lstStyle>
          <a:p>
            <a:pPr lvl="0"/>
            <a:r>
              <a:rPr lang="en-US" dirty="0"/>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967131" y="5478273"/>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6793310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1"/>
            <a:ext cx="5427349" cy="2913763"/>
          </a:xfrm>
        </p:spPr>
        <p:txBody>
          <a:bodyPr anchor="ctr" anchorCtr="0">
            <a:noAutofit/>
          </a:bodyPr>
          <a:lstStyle>
            <a:lvl1pPr algn="r">
              <a:defRPr sz="23887" b="1">
                <a:solidFill>
                  <a:schemeClr val="bg1"/>
                </a:solidFill>
                <a:latin typeface="+mn-lt"/>
              </a:defRPr>
            </a:lvl1pPr>
            <a:lvl2pPr algn="r">
              <a:defRPr/>
            </a:lvl2pPr>
            <a:lvl3pPr algn="r">
              <a:defRPr/>
            </a:lvl3pPr>
            <a:lvl4pPr algn="r">
              <a:defRPr/>
            </a:lvl4pPr>
            <a:lvl5pPr algn="r">
              <a:defRPr/>
            </a:lvl5pPr>
          </a:lstStyle>
          <a:p>
            <a:pPr lvl="0"/>
            <a:r>
              <a:rPr lang="en-US" dirty="0"/>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2" y="1972671"/>
            <a:ext cx="1791325" cy="2913763"/>
          </a:xfrm>
        </p:spPr>
        <p:txBody>
          <a:bodyPr anchor="ctr" anchorCtr="0">
            <a:noAutofit/>
          </a:bodyPr>
          <a:lstStyle>
            <a:lvl1pPr algn="l">
              <a:defRPr sz="11944"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dirty="0"/>
              <a:t>it</a:t>
            </a:r>
          </a:p>
        </p:txBody>
      </p:sp>
      <p:grpSp>
        <p:nvGrpSpPr>
          <p:cNvPr id="20" name="waves">
            <a:extLst>
              <a:ext uri="{FF2B5EF4-FFF2-40B4-BE49-F238E27FC236}">
                <a16:creationId xmlns:a16="http://schemas.microsoft.com/office/drawing/2014/main" id="{091EAC0F-F6B6-804E-81C1-DC14DB0CFEB4}"/>
              </a:ext>
            </a:extLst>
          </p:cNvPr>
          <p:cNvGrpSpPr/>
          <p:nvPr userDrawn="1"/>
        </p:nvGrpSpPr>
        <p:grpSpPr>
          <a:xfrm>
            <a:off x="2563907" y="4742329"/>
            <a:ext cx="11311821" cy="2131131"/>
            <a:chOff x="4253152" y="151074"/>
            <a:chExt cx="6930220" cy="2076330"/>
          </a:xfrm>
        </p:grpSpPr>
        <p:sp>
          <p:nvSpPr>
            <p:cNvPr id="21" name="coral">
              <a:extLst>
                <a:ext uri="{FF2B5EF4-FFF2-40B4-BE49-F238E27FC236}">
                  <a16:creationId xmlns:a16="http://schemas.microsoft.com/office/drawing/2014/main" id="{5544ED0D-A342-F44A-8373-4300D2A9FC5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6981805-0618-3A4E-BF33-F709D396003A}"/>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7" y="1490445"/>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7" y="5369819"/>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5" y="5396784"/>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39172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Oval 6">
            <a:extLst>
              <a:ext uri="{FF2B5EF4-FFF2-40B4-BE49-F238E27FC236}">
                <a16:creationId xmlns:a16="http://schemas.microsoft.com/office/drawing/2014/main" id="{26F17582-2F62-A148-8696-1C39223CE799}"/>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96232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9268B40-4CED-5446-BECA-119CE8F3CD72}"/>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8" name="3 Xs">
            <a:extLst>
              <a:ext uri="{FF2B5EF4-FFF2-40B4-BE49-F238E27FC236}">
                <a16:creationId xmlns:a16="http://schemas.microsoft.com/office/drawing/2014/main" id="{41CADA79-152E-724D-8B57-FD7B7338D609}"/>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048E5BB7-1C8E-6C4D-B676-D37BA28DDBD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10" name="Freeform 9">
              <a:extLst>
                <a:ext uri="{FF2B5EF4-FFF2-40B4-BE49-F238E27FC236}">
                  <a16:creationId xmlns:a16="http://schemas.microsoft.com/office/drawing/2014/main" id="{2D574E84-0116-584A-8A38-A4721963F891}"/>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11" name="Freeform 10">
              <a:extLst>
                <a:ext uri="{FF2B5EF4-FFF2-40B4-BE49-F238E27FC236}">
                  <a16:creationId xmlns:a16="http://schemas.microsoft.com/office/drawing/2014/main" id="{BB7A9C06-6BC6-A345-80A2-F3C9B691A533}"/>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83052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tx1">
                    <a:lumMod val="50000"/>
                  </a:schemeClr>
                </a:solidFill>
                <a:latin typeface="+mn-lt"/>
              </a:defRPr>
            </a:lvl1pPr>
          </a:lstStyle>
          <a:p>
            <a:r>
              <a:rPr lang="en-US" dirty="0"/>
              <a:t>Click to edit master title style</a:t>
            </a:r>
            <a:endParaRPr lang="en-ID" dirty="0"/>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tx1"/>
                </a:solidFill>
              </a:defRPr>
            </a:lvl1pPr>
            <a:lvl2pPr marL="320779" indent="-320779">
              <a:buClr>
                <a:schemeClr val="tx2"/>
              </a:buClr>
              <a:buSzPct val="80000"/>
              <a:buFont typeface="System Font Regular"/>
              <a:buChar char="→"/>
              <a:tabLst/>
              <a:defRPr>
                <a:solidFill>
                  <a:schemeClr val="tx1"/>
                </a:solidFill>
              </a:defRPr>
            </a:lvl2pPr>
            <a:lvl3pPr marL="477311" indent="-156531">
              <a:buClr>
                <a:schemeClr val="tx2"/>
              </a:buClr>
              <a:buSzPct val="80000"/>
              <a:tabLst/>
              <a:defRPr>
                <a:solidFill>
                  <a:schemeClr val="tx1"/>
                </a:solidFill>
              </a:defRPr>
            </a:lvl3pPr>
            <a:lvl4pPr marL="642660" indent="-165351">
              <a:buClr>
                <a:schemeClr val="tx2"/>
              </a:buClr>
              <a:buSzPct val="80000"/>
              <a:tabLst/>
              <a:defRPr>
                <a:solidFill>
                  <a:schemeClr val="tx1"/>
                </a:solidFill>
              </a:defRPr>
            </a:lvl4pPr>
            <a:lvl5pPr marL="799192" indent="-156531">
              <a:buClr>
                <a:schemeClr val="tx2"/>
              </a:buClr>
              <a:buSzPct val="80000"/>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51803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w/ Subhead and cont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noFill/>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tx1"/>
                </a:solidFill>
                <a:latin typeface="+mn-lt"/>
                <a:ea typeface="Source Sans Pro" panose="020B0503030403020204" pitchFamily="34" charset="0"/>
                <a:cs typeface="Calibri" charset="0"/>
              </a:defRPr>
            </a:lvl1pPr>
            <a:lvl2pPr>
              <a:buClr>
                <a:schemeClr val="tx2"/>
              </a:buClr>
              <a:defRPr b="0" i="0">
                <a:solidFill>
                  <a:schemeClr val="tx1"/>
                </a:solidFill>
                <a:latin typeface="+mn-lt"/>
                <a:ea typeface="Source Sans Pro" panose="020B0503030403020204" pitchFamily="34" charset="0"/>
                <a:cs typeface="Calibri" charset="0"/>
              </a:defRPr>
            </a:lvl2pPr>
            <a:lvl3pPr>
              <a:buClr>
                <a:schemeClr val="tx2"/>
              </a:buClr>
              <a:defRPr b="0" i="0">
                <a:solidFill>
                  <a:schemeClr val="tx1"/>
                </a:solidFill>
                <a:latin typeface="+mn-lt"/>
                <a:ea typeface="Source Sans Pro" panose="020B0503030403020204" pitchFamily="34" charset="0"/>
                <a:cs typeface="Calibri" charset="0"/>
              </a:defRPr>
            </a:lvl3pPr>
            <a:lvl4pPr>
              <a:buClr>
                <a:schemeClr val="tx2"/>
              </a:buClr>
              <a:defRPr b="0" i="0">
                <a:solidFill>
                  <a:schemeClr val="tx1"/>
                </a:solidFill>
                <a:latin typeface="+mn-lt"/>
                <a:ea typeface="Source Sans Pro" panose="020B0503030403020204" pitchFamily="34" charset="0"/>
                <a:cs typeface="Calibri" charset="0"/>
              </a:defRPr>
            </a:lvl4pPr>
            <a:lvl5pPr marL="634944" indent="-114642">
              <a:buClr>
                <a:schemeClr val="tx2"/>
              </a:buCl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863917353"/>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4" y="5049600"/>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9571003"/>
      </p:ext>
    </p:extLst>
  </p:cSld>
  <p:clrMapOvr>
    <a:masterClrMapping/>
  </p:clrMapOvr>
  <p:transition spd="slow">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293124416"/>
      </p:ext>
    </p:extLst>
  </p:cSld>
  <p:clrMapOvr>
    <a:masterClrMapping/>
  </p:clrMapOvr>
  <p:transition spd="slow">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6" y="5958226"/>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6665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237046"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2pPr>
            <a:lvl3pPr marL="461392"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87856" indent="-226464">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924902" indent="-2370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139541978"/>
      </p:ext>
    </p:extLst>
  </p:cSld>
  <p:clrMapOvr>
    <a:masterClrMapping/>
  </p:clrMapOvr>
  <p:transition spd="slow">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824868521"/>
      </p:ext>
    </p:extLst>
  </p:cSld>
  <p:clrMapOvr>
    <a:masterClrMapping/>
  </p:clrMapOvr>
  <p:transition spd="slow">
    <p:wipe dir="r"/>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2_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678316344"/>
      </p:ext>
    </p:extLst>
  </p:cSld>
  <p:clrMapOvr>
    <a:masterClrMapping/>
  </p:clrMapOvr>
  <p:transition spd="slow">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6" name="Group 5">
            <a:extLst>
              <a:ext uri="{FF2B5EF4-FFF2-40B4-BE49-F238E27FC236}">
                <a16:creationId xmlns:a16="http://schemas.microsoft.com/office/drawing/2014/main" id="{D76051AA-9C2D-8C43-AF09-1E6B18B30A5D}"/>
              </a:ext>
            </a:extLst>
          </p:cNvPr>
          <p:cNvGrpSpPr/>
          <p:nvPr userDrawn="1"/>
        </p:nvGrpSpPr>
        <p:grpSpPr>
          <a:xfrm>
            <a:off x="-733314" y="5049600"/>
            <a:ext cx="19125951" cy="1808401"/>
            <a:chOff x="7994577" y="7729729"/>
            <a:chExt cx="9753466" cy="2185140"/>
          </a:xfrm>
        </p:grpSpPr>
        <p:sp>
          <p:nvSpPr>
            <p:cNvPr id="7" name="Graphic 56">
              <a:extLst>
                <a:ext uri="{FF2B5EF4-FFF2-40B4-BE49-F238E27FC236}">
                  <a16:creationId xmlns:a16="http://schemas.microsoft.com/office/drawing/2014/main" id="{F3C9DC2F-356D-DD47-AD36-0F2AA59DC60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8" name="Graphic 61">
              <a:extLst>
                <a:ext uri="{FF2B5EF4-FFF2-40B4-BE49-F238E27FC236}">
                  <a16:creationId xmlns:a16="http://schemas.microsoft.com/office/drawing/2014/main" id="{5D6171E4-29D4-DB41-B1FB-920130A16DAC}"/>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74940355"/>
      </p:ext>
    </p:extLst>
  </p:cSld>
  <p:clrMapOvr>
    <a:masterClrMapping/>
  </p:clrMapOvr>
  <p:transition spd="slow">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406117388"/>
      </p:ext>
    </p:extLst>
  </p:cSld>
  <p:clrMapOvr>
    <a:masterClrMapping/>
  </p:clrMapOvr>
  <p:transition spd="slow">
    <p:wipe dir="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4">
            <a:extLst>
              <a:ext uri="{FF2B5EF4-FFF2-40B4-BE49-F238E27FC236}">
                <a16:creationId xmlns:a16="http://schemas.microsoft.com/office/drawing/2014/main" id="{6C13FDC1-9BBE-384A-AFA5-8C43E0454C50}"/>
              </a:ext>
            </a:extLst>
          </p:cNvPr>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tabLst>
                <a:tab pos="2259782" algn="l"/>
              </a:tabLst>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7596196"/>
      </p:ext>
    </p:extLst>
  </p:cSld>
  <p:clrMapOvr>
    <a:masterClrMapping/>
  </p:clrMapOvr>
  <p:transition spd="slow">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3_Three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9" name="Text Placeholder 5"/>
          <p:cNvSpPr>
            <a:spLocks noGrp="1"/>
          </p:cNvSpPr>
          <p:nvPr>
            <p:ph type="body" sz="quarter" idx="10" hasCustomPrompt="1"/>
          </p:nvPr>
        </p:nvSpPr>
        <p:spPr>
          <a:xfrm>
            <a:off x="50800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23" name="Text Placeholder 5">
            <a:extLst>
              <a:ext uri="{FF2B5EF4-FFF2-40B4-BE49-F238E27FC236}">
                <a16:creationId xmlns:a16="http://schemas.microsoft.com/office/drawing/2014/main" id="{782F6130-624B-C94C-9345-64A60B72D3C4}"/>
              </a:ext>
            </a:extLst>
          </p:cNvPr>
          <p:cNvSpPr>
            <a:spLocks noGrp="1"/>
          </p:cNvSpPr>
          <p:nvPr>
            <p:ph type="body" sz="quarter" idx="12" hasCustomPrompt="1"/>
          </p:nvPr>
        </p:nvSpPr>
        <p:spPr>
          <a:xfrm>
            <a:off x="4441373"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5" name="Text Placeholder 5">
            <a:extLst>
              <a:ext uri="{FF2B5EF4-FFF2-40B4-BE49-F238E27FC236}">
                <a16:creationId xmlns:a16="http://schemas.microsoft.com/office/drawing/2014/main" id="{59B4166D-BAA9-A841-87DF-92E32A96E696}"/>
              </a:ext>
            </a:extLst>
          </p:cNvPr>
          <p:cNvSpPr>
            <a:spLocks noGrp="1"/>
          </p:cNvSpPr>
          <p:nvPr>
            <p:ph type="body" sz="quarter" idx="14" hasCustomPrompt="1"/>
          </p:nvPr>
        </p:nvSpPr>
        <p:spPr>
          <a:xfrm>
            <a:off x="837051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Tree>
    <p:extLst>
      <p:ext uri="{BB962C8B-B14F-4D97-AF65-F5344CB8AC3E}">
        <p14:creationId xmlns:p14="http://schemas.microsoft.com/office/powerpoint/2010/main" val="2631209911"/>
      </p:ext>
    </p:extLst>
  </p:cSld>
  <p:clrMapOvr>
    <a:masterClrMapping/>
  </p:clrMapOvr>
  <p:transition spd="slow">
    <p:wipe dir="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15" name="Text Placeholder 5">
            <a:extLst>
              <a:ext uri="{FF2B5EF4-FFF2-40B4-BE49-F238E27FC236}">
                <a16:creationId xmlns:a16="http://schemas.microsoft.com/office/drawing/2014/main" id="{1DBEBA93-80C3-964D-AF2C-2D8C9BF3CFE4}"/>
              </a:ext>
            </a:extLst>
          </p:cNvPr>
          <p:cNvSpPr>
            <a:spLocks noGrp="1"/>
          </p:cNvSpPr>
          <p:nvPr>
            <p:ph type="body" sz="quarter" idx="22" hasCustomPrompt="1"/>
          </p:nvPr>
        </p:nvSpPr>
        <p:spPr>
          <a:xfrm>
            <a:off x="617935"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16" name="Text Placeholder 5">
            <a:extLst>
              <a:ext uri="{FF2B5EF4-FFF2-40B4-BE49-F238E27FC236}">
                <a16:creationId xmlns:a16="http://schemas.microsoft.com/office/drawing/2014/main" id="{4CD20D2B-0F2E-4043-9739-90A491FA2E51}"/>
              </a:ext>
            </a:extLst>
          </p:cNvPr>
          <p:cNvSpPr>
            <a:spLocks noGrp="1"/>
          </p:cNvSpPr>
          <p:nvPr>
            <p:ph type="body" sz="quarter" idx="23" hasCustomPrompt="1"/>
          </p:nvPr>
        </p:nvSpPr>
        <p:spPr>
          <a:xfrm>
            <a:off x="3484250"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17" name="Text Placeholder 5">
            <a:extLst>
              <a:ext uri="{FF2B5EF4-FFF2-40B4-BE49-F238E27FC236}">
                <a16:creationId xmlns:a16="http://schemas.microsoft.com/office/drawing/2014/main" id="{A9A47F79-BE94-BA47-A2CB-5FD3DBEA1A1B}"/>
              </a:ext>
            </a:extLst>
          </p:cNvPr>
          <p:cNvSpPr>
            <a:spLocks noGrp="1"/>
          </p:cNvSpPr>
          <p:nvPr>
            <p:ph type="body" sz="quarter" idx="24" hasCustomPrompt="1"/>
          </p:nvPr>
        </p:nvSpPr>
        <p:spPr>
          <a:xfrm>
            <a:off x="6350564"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0" name="Text Placeholder 5">
            <a:extLst>
              <a:ext uri="{FF2B5EF4-FFF2-40B4-BE49-F238E27FC236}">
                <a16:creationId xmlns:a16="http://schemas.microsoft.com/office/drawing/2014/main" id="{525435F3-50E5-4F4F-8287-EC37BD8C5FBA}"/>
              </a:ext>
            </a:extLst>
          </p:cNvPr>
          <p:cNvSpPr>
            <a:spLocks noGrp="1"/>
          </p:cNvSpPr>
          <p:nvPr>
            <p:ph type="body" sz="quarter" idx="25" hasCustomPrompt="1"/>
          </p:nvPr>
        </p:nvSpPr>
        <p:spPr>
          <a:xfrm>
            <a:off x="9216879"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Tree>
    <p:extLst>
      <p:ext uri="{BB962C8B-B14F-4D97-AF65-F5344CB8AC3E}">
        <p14:creationId xmlns:p14="http://schemas.microsoft.com/office/powerpoint/2010/main" val="3697788329"/>
      </p:ext>
    </p:extLst>
  </p:cSld>
  <p:clrMapOvr>
    <a:masterClrMapping/>
  </p:clrMapOvr>
  <p:transition spd="slow">
    <p:wipe dir="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2585704654"/>
      </p:ext>
    </p:extLst>
  </p:cSld>
  <p:clrMapOvr>
    <a:masterClrMapping/>
  </p:clrMapOvr>
  <p:transition spd="slow">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6273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2599768238"/>
      </p:ext>
    </p:extLst>
  </p:cSld>
  <p:clrMapOvr>
    <a:masterClrMapping/>
  </p:clrMapOvr>
  <p:transition spd="slow">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6867526" y="1809749"/>
            <a:ext cx="4816473" cy="3033816"/>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535504" indent="-150280">
              <a:tabLst/>
              <a:defRPr>
                <a:solidFill>
                  <a:schemeClr val="bg1"/>
                </a:solidFill>
              </a:defRPr>
            </a:lvl3pPr>
            <a:lvl4pPr marL="770447" indent="-234945">
              <a:tabLst/>
              <a:defRPr>
                <a:solidFill>
                  <a:schemeClr val="bg1"/>
                </a:solidFill>
              </a:defRPr>
            </a:lvl4pPr>
            <a:lvl5pPr marL="924961" indent="-237061">
              <a:tabLst>
                <a:tab pos="759865" algn="l"/>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0021577"/>
      </p:ext>
    </p:extLst>
  </p:cSld>
  <p:clrMapOvr>
    <a:masterClrMapping/>
  </p:clrMapOvr>
  <p:transition spd="slow">
    <p:wipe dir="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6" y="5958226"/>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07332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6867526" y="1809749"/>
            <a:ext cx="4816473" cy="3033816"/>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535504" indent="-150280">
              <a:tabLst/>
              <a:defRPr>
                <a:solidFill>
                  <a:schemeClr val="bg1"/>
                </a:solidFill>
              </a:defRPr>
            </a:lvl3pPr>
            <a:lvl4pPr marL="770447" indent="-234945">
              <a:tabLst/>
              <a:defRPr>
                <a:solidFill>
                  <a:schemeClr val="bg1"/>
                </a:solidFill>
              </a:defRPr>
            </a:lvl4pPr>
            <a:lvl5pPr marL="924961" indent="-237061">
              <a:tabLst>
                <a:tab pos="759865" algn="l"/>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1138600"/>
      </p:ext>
    </p:extLst>
  </p:cSld>
  <p:clrMapOvr>
    <a:masterClrMapping/>
  </p:clrMapOvr>
  <p:transition spd="slow">
    <p:wipe dir="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defRPr>
            </a:lvl1pPr>
          </a:lstStyle>
          <a:p>
            <a:r>
              <a:rPr lang="en-US" dirty="0"/>
              <a:t>Click icon to add picture</a:t>
            </a:r>
          </a:p>
        </p:txBody>
      </p:sp>
      <p:sp>
        <p:nvSpPr>
          <p:cNvPr id="4" name="Title 1"/>
          <p:cNvSpPr>
            <a:spLocks noGrp="1"/>
          </p:cNvSpPr>
          <p:nvPr>
            <p:ph type="title" hasCustomPrompt="1"/>
          </p:nvPr>
        </p:nvSpPr>
        <p:spPr>
          <a:xfrm>
            <a:off x="508231" y="516468"/>
            <a:ext cx="5194197"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508231" y="2133599"/>
            <a:ext cx="4959120" cy="3396868"/>
          </a:xfrm>
        </p:spPr>
        <p:txBody>
          <a:bodyPr/>
          <a:lstStyle>
            <a:lvl1pPr>
              <a:defRPr>
                <a:solidFill>
                  <a:schemeClr val="tx1"/>
                </a:solidFill>
              </a:defRPr>
            </a:lvl1pPr>
            <a:lvl2pPr marL="385224" indent="-372524">
              <a:buFont typeface="System Font Regular"/>
              <a:buChar char="→"/>
              <a:tabLst/>
              <a:defRPr>
                <a:solidFill>
                  <a:schemeClr val="tx1"/>
                </a:solidFill>
              </a:defRPr>
            </a:lvl2pPr>
            <a:lvl3pPr marL="535504" indent="-150280">
              <a:tabLst/>
              <a:defRPr>
                <a:solidFill>
                  <a:schemeClr val="tx1"/>
                </a:solidFill>
              </a:defRPr>
            </a:lvl3pPr>
            <a:lvl4pPr marL="687900" indent="-152396">
              <a:tabLst/>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5604200"/>
      </p:ext>
    </p:extLst>
  </p:cSld>
  <p:clrMapOvr>
    <a:masterClrMapping/>
  </p:clrMapOvr>
  <p:transition spd="slow">
    <p:wipe dir="r"/>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797549" y="2888193"/>
            <a:ext cx="4886223"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508230" y="1571625"/>
            <a:ext cx="4822913" cy="3648075"/>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618051" indent="-232828">
              <a:tabLst/>
              <a:defRPr>
                <a:solidFill>
                  <a:schemeClr val="bg1"/>
                </a:solidFill>
              </a:defRPr>
            </a:lvl3pPr>
            <a:lvl4pPr marL="840296" indent="-222245">
              <a:tabLst/>
              <a:defRPr>
                <a:solidFill>
                  <a:schemeClr val="bg1"/>
                </a:solidFill>
              </a:defRPr>
            </a:lvl4pPr>
            <a:lvl5pPr marL="992693" indent="-152396">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8966871"/>
      </p:ext>
    </p:extLst>
  </p:cSld>
  <p:clrMapOvr>
    <a:masterClrMapping/>
  </p:clrMapOvr>
  <p:transition spd="slow">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591300" y="423864"/>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6591301" y="1743076"/>
            <a:ext cx="4286249" cy="3648075"/>
          </a:xfrm>
        </p:spPr>
        <p:txBody>
          <a:bodyPr/>
          <a:lstStyle>
            <a:lvl1pPr>
              <a:defRPr>
                <a:solidFill>
                  <a:schemeClr val="tx1"/>
                </a:solidFill>
              </a:defRPr>
            </a:lvl1pPr>
            <a:lvl2pPr marL="313259" indent="-300559">
              <a:buFont typeface="System Font Regular"/>
              <a:buChar char="→"/>
              <a:tabLst/>
              <a:defRPr>
                <a:solidFill>
                  <a:schemeClr val="tx1"/>
                </a:solidFill>
              </a:defRPr>
            </a:lvl2pPr>
            <a:lvl3pPr marL="535504" indent="-232828">
              <a:tabLst/>
              <a:defRPr>
                <a:solidFill>
                  <a:schemeClr val="tx1"/>
                </a:solidFill>
              </a:defRPr>
            </a:lvl3pPr>
            <a:lvl4pPr marL="770447" indent="-224361">
              <a:tabLst/>
              <a:defRPr>
                <a:solidFill>
                  <a:schemeClr val="tx1"/>
                </a:solidFill>
              </a:defRPr>
            </a:lvl4pPr>
            <a:lvl5pPr marL="992693" indent="-241294">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1" y="0"/>
            <a:ext cx="6096551" cy="6858000"/>
          </a:xfrm>
        </p:spPr>
        <p:txBody>
          <a:bodyPr/>
          <a:lstStyle>
            <a:lvl1pPr>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2550127349"/>
      </p:ext>
    </p:extLst>
  </p:cSld>
  <p:clrMapOvr>
    <a:masterClrMapping/>
  </p:clrMapOvr>
  <p:transition spd="slow">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Product">
    <p:bg>
      <p:bgPr>
        <a:solidFill>
          <a:schemeClr val="accent5"/>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394224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bg1"/>
                </a:solidFill>
              </a:defRPr>
            </a:lvl1pPr>
          </a:lstStyle>
          <a:p>
            <a:pPr lvl="0"/>
            <a:r>
              <a:rPr lang="en-US"/>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2642721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bg1"/>
                </a:solidFill>
                <a:latin typeface="+mn-lt"/>
              </a:defRPr>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accent5"/>
                </a:solidFill>
              </a:defRPr>
            </a:lvl1pPr>
            <a:lvl2pPr marL="317472" indent="-317472">
              <a:buClr>
                <a:schemeClr val="tx2"/>
              </a:buClr>
              <a:buSzPct val="80000"/>
              <a:buFont typeface="System Font Regular"/>
              <a:buChar char="→"/>
              <a:tabLst/>
              <a:defRPr>
                <a:solidFill>
                  <a:schemeClr val="accent5"/>
                </a:solidFill>
              </a:defRPr>
            </a:lvl2pPr>
            <a:lvl3pPr marL="511482" indent="-194011">
              <a:buClr>
                <a:schemeClr val="tx2"/>
              </a:buClr>
              <a:buSzPct val="80000"/>
              <a:tabLst/>
              <a:defRPr>
                <a:solidFill>
                  <a:schemeClr val="accent5"/>
                </a:solidFill>
              </a:defRPr>
            </a:lvl3pPr>
            <a:lvl4pPr marL="670218" indent="-158736">
              <a:buClr>
                <a:schemeClr val="tx2"/>
              </a:buClr>
              <a:buSzPct val="80000"/>
              <a:tabLst/>
              <a:defRPr>
                <a:solidFill>
                  <a:schemeClr val="accent5"/>
                </a:solidFill>
              </a:defRPr>
            </a:lvl4pPr>
            <a:lvl5pPr marL="793679" indent="-158736">
              <a:buClr>
                <a:schemeClr val="tx2"/>
              </a:buClr>
              <a:buSzPct val="80000"/>
              <a:tabLst/>
              <a:defRPr>
                <a:solidFill>
                  <a:schemeClr val="accent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62820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bg1"/>
                </a:solidFill>
                <a:latin typeface="+mn-lt"/>
                <a:ea typeface="Source Sans Pro" panose="020B0503030403020204" pitchFamily="34" charset="0"/>
                <a:cs typeface="Calibri" charset="0"/>
              </a:defRPr>
            </a:lvl1pPr>
            <a:lvl2pPr marL="313259" indent="-300559">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535504" indent="-222245">
              <a:buClr>
                <a:schemeClr val="tx2"/>
              </a:buClr>
              <a:tabLst/>
              <a:defRPr b="0" i="0">
                <a:solidFill>
                  <a:schemeClr val="bg1"/>
                </a:solidFill>
                <a:latin typeface="+mn-lt"/>
                <a:ea typeface="Source Sans Pro" panose="020B0503030403020204" pitchFamily="34" charset="0"/>
                <a:cs typeface="Calibri" charset="0"/>
              </a:defRPr>
            </a:lvl3pPr>
            <a:lvl4pPr>
              <a:buClr>
                <a:schemeClr val="tx2"/>
              </a:buClr>
              <a:defRPr b="0" i="0">
                <a:solidFill>
                  <a:schemeClr val="bg1"/>
                </a:solidFill>
                <a:latin typeface="+mn-lt"/>
                <a:ea typeface="Source Sans Pro" panose="020B0503030403020204" pitchFamily="34" charset="0"/>
                <a:cs typeface="Calibri" charset="0"/>
              </a:defRPr>
            </a:lvl4pPr>
            <a:lvl5pPr>
              <a:buClr>
                <a:schemeClr val="tx2"/>
              </a:buClr>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480251681"/>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583507168"/>
      </p:ext>
    </p:extLst>
  </p:cSld>
  <p:clrMapOvr>
    <a:masterClrMapping/>
  </p:clrMapOvr>
  <p:transition spd="slow">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defRPr>
            </a:lvl1pPr>
          </a:lstStyle>
          <a:p>
            <a:r>
              <a:rPr lang="en-US" dirty="0"/>
              <a:t>Click icon to add picture</a:t>
            </a:r>
          </a:p>
        </p:txBody>
      </p:sp>
      <p:sp>
        <p:nvSpPr>
          <p:cNvPr id="4" name="Title 1"/>
          <p:cNvSpPr>
            <a:spLocks noGrp="1"/>
          </p:cNvSpPr>
          <p:nvPr>
            <p:ph type="title" hasCustomPrompt="1"/>
          </p:nvPr>
        </p:nvSpPr>
        <p:spPr>
          <a:xfrm>
            <a:off x="508231" y="516468"/>
            <a:ext cx="5194197"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508231" y="2133599"/>
            <a:ext cx="4959120" cy="3396868"/>
          </a:xfrm>
        </p:spPr>
        <p:txBody>
          <a:bodyPr/>
          <a:lstStyle>
            <a:lvl1pPr>
              <a:defRPr>
                <a:solidFill>
                  <a:schemeClr val="tx1"/>
                </a:solidFill>
              </a:defRPr>
            </a:lvl1pPr>
            <a:lvl2pPr marL="385224" indent="-372524">
              <a:buFont typeface="System Font Regular"/>
              <a:buChar char="→"/>
              <a:tabLst/>
              <a:defRPr>
                <a:solidFill>
                  <a:schemeClr val="tx1"/>
                </a:solidFill>
              </a:defRPr>
            </a:lvl2pPr>
            <a:lvl3pPr marL="535504" indent="-150280">
              <a:tabLst/>
              <a:defRPr>
                <a:solidFill>
                  <a:schemeClr val="tx1"/>
                </a:solidFill>
              </a:defRPr>
            </a:lvl3pPr>
            <a:lvl4pPr marL="687900" indent="-152396">
              <a:tabLst/>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597876"/>
      </p:ext>
    </p:extLst>
  </p:cSld>
  <p:clrMapOvr>
    <a:masterClrMapping/>
  </p:clrMapOvr>
  <p:transition spd="slow">
    <p:wipe dir="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3" name="Text Placeholder 5">
            <a:extLst>
              <a:ext uri="{FF2B5EF4-FFF2-40B4-BE49-F238E27FC236}">
                <a16:creationId xmlns:a16="http://schemas.microsoft.com/office/drawing/2014/main" id="{5D9A68D5-3CBD-2249-BCFA-4DD16FF8F7E0}"/>
              </a:ext>
            </a:extLst>
          </p:cNvPr>
          <p:cNvSpPr>
            <a:spLocks noGrp="1"/>
          </p:cNvSpPr>
          <p:nvPr>
            <p:ph type="body" sz="quarter" idx="10" hasCustomPrompt="1"/>
          </p:nvPr>
        </p:nvSpPr>
        <p:spPr>
          <a:xfrm>
            <a:off x="508002"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5">
            <a:extLst>
              <a:ext uri="{FF2B5EF4-FFF2-40B4-BE49-F238E27FC236}">
                <a16:creationId xmlns:a16="http://schemas.microsoft.com/office/drawing/2014/main" id="{6CD9F73A-A1B4-AF4B-83DA-9FEF1D232838}"/>
              </a:ext>
            </a:extLst>
          </p:cNvPr>
          <p:cNvSpPr>
            <a:spLocks noGrp="1"/>
          </p:cNvSpPr>
          <p:nvPr>
            <p:ph type="body" sz="quarter" idx="12" hasCustomPrompt="1"/>
          </p:nvPr>
        </p:nvSpPr>
        <p:spPr>
          <a:xfrm>
            <a:off x="6293659"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654905047"/>
      </p:ext>
    </p:extLst>
  </p:cSld>
  <p:clrMapOvr>
    <a:masterClrMapping/>
  </p:clrMapOvr>
  <p:transition spd="slow">
    <p:wipe dir="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771965900"/>
      </p:ext>
    </p:extLst>
  </p:cSld>
  <p:clrMapOvr>
    <a:masterClrMapping/>
  </p:clrMapOvr>
  <p:transition spd="slow">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6" y="5958226"/>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147566929"/>
      </p:ext>
    </p:extLst>
  </p:cSld>
  <p:clrMapOvr>
    <a:masterClrMapping/>
  </p:clrMapOvr>
  <p:transition spd="slow">
    <p:wipe dir="r"/>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405548"/>
            <a:ext cx="11175769" cy="1325563"/>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613983117"/>
      </p:ext>
    </p:extLst>
  </p:cSld>
  <p:clrMapOvr>
    <a:masterClrMapping/>
  </p:clrMapOvr>
  <p:transition spd="slow">
    <p:wipe dir="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cxnSp>
        <p:nvCxnSpPr>
          <p:cNvPr id="4" name="Straight Connector 3"/>
          <p:cNvCxnSpPr/>
          <p:nvPr/>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Tree>
    <p:extLst>
      <p:ext uri="{BB962C8B-B14F-4D97-AF65-F5344CB8AC3E}">
        <p14:creationId xmlns:p14="http://schemas.microsoft.com/office/powerpoint/2010/main" val="717503995"/>
      </p:ext>
    </p:extLst>
  </p:cSld>
  <p:clrMapOvr>
    <a:masterClrMapping/>
  </p:clrMapOvr>
  <p:transition spd="slow">
    <p:wipe dir="r"/>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17" name="Text Placeholder 5">
            <a:extLst>
              <a:ext uri="{FF2B5EF4-FFF2-40B4-BE49-F238E27FC236}">
                <a16:creationId xmlns:a16="http://schemas.microsoft.com/office/drawing/2014/main" id="{8177294B-20F5-9944-8235-D9BC3472029B}"/>
              </a:ext>
            </a:extLst>
          </p:cNvPr>
          <p:cNvSpPr>
            <a:spLocks noGrp="1"/>
          </p:cNvSpPr>
          <p:nvPr>
            <p:ph type="body" sz="quarter" idx="10" hasCustomPrompt="1"/>
          </p:nvPr>
        </p:nvSpPr>
        <p:spPr>
          <a:xfrm>
            <a:off x="50800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0" name="Text Placeholder 5">
            <a:extLst>
              <a:ext uri="{FF2B5EF4-FFF2-40B4-BE49-F238E27FC236}">
                <a16:creationId xmlns:a16="http://schemas.microsoft.com/office/drawing/2014/main" id="{16C83BD2-BF74-2E4E-9118-BF16B37E96A0}"/>
              </a:ext>
            </a:extLst>
          </p:cNvPr>
          <p:cNvSpPr>
            <a:spLocks noGrp="1"/>
          </p:cNvSpPr>
          <p:nvPr>
            <p:ph type="body" sz="quarter" idx="12" hasCustomPrompt="1"/>
          </p:nvPr>
        </p:nvSpPr>
        <p:spPr>
          <a:xfrm>
            <a:off x="4441373"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1" name="Text Placeholder 5">
            <a:extLst>
              <a:ext uri="{FF2B5EF4-FFF2-40B4-BE49-F238E27FC236}">
                <a16:creationId xmlns:a16="http://schemas.microsoft.com/office/drawing/2014/main" id="{AD62FC8A-5158-0848-B0E3-3DB4E95B21C7}"/>
              </a:ext>
            </a:extLst>
          </p:cNvPr>
          <p:cNvSpPr>
            <a:spLocks noGrp="1"/>
          </p:cNvSpPr>
          <p:nvPr>
            <p:ph type="body" sz="quarter" idx="14" hasCustomPrompt="1"/>
          </p:nvPr>
        </p:nvSpPr>
        <p:spPr>
          <a:xfrm>
            <a:off x="837051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Tree>
    <p:extLst>
      <p:ext uri="{BB962C8B-B14F-4D97-AF65-F5344CB8AC3E}">
        <p14:creationId xmlns:p14="http://schemas.microsoft.com/office/powerpoint/2010/main" val="1190820500"/>
      </p:ext>
    </p:extLst>
  </p:cSld>
  <p:clrMapOvr>
    <a:masterClrMapping/>
  </p:clrMapOvr>
  <p:transition spd="slow">
    <p:wipe dir="r"/>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23" name="Text Placeholder 5">
            <a:extLst>
              <a:ext uri="{FF2B5EF4-FFF2-40B4-BE49-F238E27FC236}">
                <a16:creationId xmlns:a16="http://schemas.microsoft.com/office/drawing/2014/main" id="{2E2E8FF9-8E70-E84B-8E15-2BFB71256161}"/>
              </a:ext>
            </a:extLst>
          </p:cNvPr>
          <p:cNvSpPr>
            <a:spLocks noGrp="1"/>
          </p:cNvSpPr>
          <p:nvPr>
            <p:ph type="body" sz="quarter" idx="22" hasCustomPrompt="1"/>
          </p:nvPr>
        </p:nvSpPr>
        <p:spPr>
          <a:xfrm>
            <a:off x="617935"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 useBgFill="1">
        <p:nvSpPr>
          <p:cNvPr id="24" name="Text Placeholder 5">
            <a:extLst>
              <a:ext uri="{FF2B5EF4-FFF2-40B4-BE49-F238E27FC236}">
                <a16:creationId xmlns:a16="http://schemas.microsoft.com/office/drawing/2014/main" id="{FACAFBBD-ABF2-874C-B241-027A038A0576}"/>
              </a:ext>
            </a:extLst>
          </p:cNvPr>
          <p:cNvSpPr>
            <a:spLocks noGrp="1"/>
          </p:cNvSpPr>
          <p:nvPr>
            <p:ph type="body" sz="quarter" idx="23" hasCustomPrompt="1"/>
          </p:nvPr>
        </p:nvSpPr>
        <p:spPr>
          <a:xfrm>
            <a:off x="3484250"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5" name="Text Placeholder 5">
            <a:extLst>
              <a:ext uri="{FF2B5EF4-FFF2-40B4-BE49-F238E27FC236}">
                <a16:creationId xmlns:a16="http://schemas.microsoft.com/office/drawing/2014/main" id="{A49045D6-8BFC-B640-A296-C381BA776873}"/>
              </a:ext>
            </a:extLst>
          </p:cNvPr>
          <p:cNvSpPr>
            <a:spLocks noGrp="1"/>
          </p:cNvSpPr>
          <p:nvPr>
            <p:ph type="body" sz="quarter" idx="24" hasCustomPrompt="1"/>
          </p:nvPr>
        </p:nvSpPr>
        <p:spPr>
          <a:xfrm>
            <a:off x="6350564"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6" name="Text Placeholder 5">
            <a:extLst>
              <a:ext uri="{FF2B5EF4-FFF2-40B4-BE49-F238E27FC236}">
                <a16:creationId xmlns:a16="http://schemas.microsoft.com/office/drawing/2014/main" id="{528826DE-8AAC-D043-8029-3310BBA334FC}"/>
              </a:ext>
            </a:extLst>
          </p:cNvPr>
          <p:cNvSpPr>
            <a:spLocks noGrp="1"/>
          </p:cNvSpPr>
          <p:nvPr>
            <p:ph type="body" sz="quarter" idx="25" hasCustomPrompt="1"/>
          </p:nvPr>
        </p:nvSpPr>
        <p:spPr>
          <a:xfrm>
            <a:off x="9228612"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Tree>
    <p:extLst>
      <p:ext uri="{BB962C8B-B14F-4D97-AF65-F5344CB8AC3E}">
        <p14:creationId xmlns:p14="http://schemas.microsoft.com/office/powerpoint/2010/main" val="2266846455"/>
      </p:ext>
    </p:extLst>
  </p:cSld>
  <p:clrMapOvr>
    <a:masterClrMapping/>
  </p:clrMapOvr>
  <p:transition spd="slow">
    <p:wipe dir="r"/>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chemeClr val="bg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4292347160"/>
      </p:ext>
    </p:extLst>
  </p:cSld>
  <p:clrMapOvr>
    <a:masterClrMapping/>
  </p:clrMapOvr>
  <p:transition spd="slow">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1F558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chemeClr val="accent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2274511276"/>
      </p:ext>
    </p:extLst>
  </p:cSld>
  <p:clrMapOvr>
    <a:masterClrMapping/>
  </p:clrMapOvr>
  <p:transition spd="slow">
    <p:wipe dir="r"/>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2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797549" y="2888193"/>
            <a:ext cx="4886223"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508230" y="1571625"/>
            <a:ext cx="4822913" cy="3648075"/>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618051" indent="-232828">
              <a:tabLst/>
              <a:defRPr>
                <a:solidFill>
                  <a:schemeClr val="bg1"/>
                </a:solidFill>
              </a:defRPr>
            </a:lvl3pPr>
            <a:lvl4pPr marL="840296" indent="-222245">
              <a:tabLst/>
              <a:defRPr>
                <a:solidFill>
                  <a:schemeClr val="bg1"/>
                </a:solidFill>
              </a:defRPr>
            </a:lvl4pPr>
            <a:lvl5pPr marL="992693" indent="-152396">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2941205"/>
      </p:ext>
    </p:extLst>
  </p:cSld>
  <p:clrMapOvr>
    <a:masterClrMapping/>
  </p:clrMapOvr>
  <p:transition spd="slow">
    <p:wipe dir="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0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Seashell BG">
    <p:bg>
      <p:bgPr>
        <a:solidFill>
          <a:schemeClr val="accent5"/>
        </a:solidFill>
        <a:effectLst/>
      </p:bgPr>
    </p:bg>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7E2036F5-128F-7A43-8E3A-F2190B6630C2}"/>
              </a:ext>
            </a:extLst>
          </p:cNvPr>
          <p:cNvGrpSpPr/>
          <p:nvPr userDrawn="1"/>
        </p:nvGrpSpPr>
        <p:grpSpPr>
          <a:xfrm>
            <a:off x="5551891" y="1"/>
            <a:ext cx="7959877" cy="7591636"/>
            <a:chOff x="7994577" y="0"/>
            <a:chExt cx="11462017" cy="10932307"/>
          </a:xfrm>
        </p:grpSpPr>
        <p:grpSp>
          <p:nvGrpSpPr>
            <p:cNvPr id="57" name="Circle">
              <a:extLst>
                <a:ext uri="{FF2B5EF4-FFF2-40B4-BE49-F238E27FC236}">
                  <a16:creationId xmlns:a16="http://schemas.microsoft.com/office/drawing/2014/main" id="{6F4F397A-9318-5A47-AD83-78DD3E6D5143}"/>
                </a:ext>
              </a:extLst>
            </p:cNvPr>
            <p:cNvGrpSpPr/>
            <p:nvPr userDrawn="1"/>
          </p:nvGrpSpPr>
          <p:grpSpPr>
            <a:xfrm>
              <a:off x="9956627" y="1432340"/>
              <a:ext cx="9499967" cy="9499967"/>
              <a:chOff x="5143500" y="742950"/>
              <a:chExt cx="4927600" cy="4927600"/>
            </a:xfrm>
          </p:grpSpPr>
          <p:sp>
            <p:nvSpPr>
              <p:cNvPr id="84" name="Oval 83">
                <a:extLst>
                  <a:ext uri="{FF2B5EF4-FFF2-40B4-BE49-F238E27FC236}">
                    <a16:creationId xmlns:a16="http://schemas.microsoft.com/office/drawing/2014/main" id="{0D2C09A5-66A0-B640-8A89-5D57816B5C37}"/>
                  </a:ext>
                </a:extLst>
              </p:cNvPr>
              <p:cNvSpPr/>
              <p:nvPr/>
            </p:nvSpPr>
            <p:spPr>
              <a:xfrm>
                <a:off x="5143500" y="742950"/>
                <a:ext cx="4927600" cy="4927600"/>
              </a:xfrm>
              <a:prstGeom prst="ellipse">
                <a:avLst/>
              </a:prstGeom>
              <a:blipFill dpi="0" rotWithShape="1">
                <a:blip r:embed="rId2">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85" name="Oval 84">
                <a:extLst>
                  <a:ext uri="{FF2B5EF4-FFF2-40B4-BE49-F238E27FC236}">
                    <a16:creationId xmlns:a16="http://schemas.microsoft.com/office/drawing/2014/main" id="{655C89A4-E5A5-9D4C-AA66-31192363D984}"/>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58" name="one lump">
              <a:extLst>
                <a:ext uri="{FF2B5EF4-FFF2-40B4-BE49-F238E27FC236}">
                  <a16:creationId xmlns:a16="http://schemas.microsoft.com/office/drawing/2014/main" id="{F18E86AC-3F7C-784F-86E5-16D89E8B552C}"/>
                </a:ext>
              </a:extLst>
            </p:cNvPr>
            <p:cNvGrpSpPr/>
            <p:nvPr userDrawn="1"/>
          </p:nvGrpSpPr>
          <p:grpSpPr>
            <a:xfrm rot="10800000">
              <a:off x="14016662" y="0"/>
              <a:ext cx="3562164" cy="4398387"/>
              <a:chOff x="2328672" y="2862072"/>
              <a:chExt cx="1847682" cy="2281428"/>
            </a:xfrm>
          </p:grpSpPr>
          <p:sp>
            <p:nvSpPr>
              <p:cNvPr id="82" name="Graphic 6" hidden="1">
                <a:extLst>
                  <a:ext uri="{FF2B5EF4-FFF2-40B4-BE49-F238E27FC236}">
                    <a16:creationId xmlns:a16="http://schemas.microsoft.com/office/drawing/2014/main" id="{82593997-1390-A24C-A103-338E3EF489A8}"/>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83" name="Graphic 6">
                <a:extLst>
                  <a:ext uri="{FF2B5EF4-FFF2-40B4-BE49-F238E27FC236}">
                    <a16:creationId xmlns:a16="http://schemas.microsoft.com/office/drawing/2014/main" id="{6B6A9E68-5302-424A-996C-3B21666C57C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59" name="streaks">
              <a:extLst>
                <a:ext uri="{FF2B5EF4-FFF2-40B4-BE49-F238E27FC236}">
                  <a16:creationId xmlns:a16="http://schemas.microsoft.com/office/drawing/2014/main" id="{0829B57B-1785-0149-B41D-82F2BF8A51E1}"/>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67" name="Graphic 2">
                <a:extLst>
                  <a:ext uri="{FF2B5EF4-FFF2-40B4-BE49-F238E27FC236}">
                    <a16:creationId xmlns:a16="http://schemas.microsoft.com/office/drawing/2014/main" id="{C48091C8-64A4-9D4C-B223-8D53BAEDFD6E}"/>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68" name="Graphic 2">
                <a:extLst>
                  <a:ext uri="{FF2B5EF4-FFF2-40B4-BE49-F238E27FC236}">
                    <a16:creationId xmlns:a16="http://schemas.microsoft.com/office/drawing/2014/main" id="{ECD15EB6-231A-7C4E-9AC2-C46EEB8EC948}"/>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69" name="Graphic 2">
                <a:extLst>
                  <a:ext uri="{FF2B5EF4-FFF2-40B4-BE49-F238E27FC236}">
                    <a16:creationId xmlns:a16="http://schemas.microsoft.com/office/drawing/2014/main" id="{1A87F180-2396-3F46-99D3-87F1D2B11DD3}"/>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70" name="Graphic 2">
                <a:extLst>
                  <a:ext uri="{FF2B5EF4-FFF2-40B4-BE49-F238E27FC236}">
                    <a16:creationId xmlns:a16="http://schemas.microsoft.com/office/drawing/2014/main" id="{79B400E3-0228-2A48-ABDC-D738C7AECA47}"/>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71" name="Graphic 2">
                <a:extLst>
                  <a:ext uri="{FF2B5EF4-FFF2-40B4-BE49-F238E27FC236}">
                    <a16:creationId xmlns:a16="http://schemas.microsoft.com/office/drawing/2014/main" id="{0A53F592-E792-FA47-B684-665A671E233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72" name="Graphic 2">
                <a:extLst>
                  <a:ext uri="{FF2B5EF4-FFF2-40B4-BE49-F238E27FC236}">
                    <a16:creationId xmlns:a16="http://schemas.microsoft.com/office/drawing/2014/main" id="{80694FB5-F709-9145-A389-F9C2CF43EAE9}"/>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73" name="Graphic 2">
                <a:extLst>
                  <a:ext uri="{FF2B5EF4-FFF2-40B4-BE49-F238E27FC236}">
                    <a16:creationId xmlns:a16="http://schemas.microsoft.com/office/drawing/2014/main" id="{4D124D94-9075-4E45-A003-D698A4D6ADC4}"/>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74" name="Graphic 2">
                <a:extLst>
                  <a:ext uri="{FF2B5EF4-FFF2-40B4-BE49-F238E27FC236}">
                    <a16:creationId xmlns:a16="http://schemas.microsoft.com/office/drawing/2014/main" id="{1D59CCFD-FB9C-3740-9F94-05222ABF7720}"/>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75" name="Graphic 2">
                <a:extLst>
                  <a:ext uri="{FF2B5EF4-FFF2-40B4-BE49-F238E27FC236}">
                    <a16:creationId xmlns:a16="http://schemas.microsoft.com/office/drawing/2014/main" id="{A50D94FC-CDAB-8541-96C1-7130E4BE394C}"/>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76" name="Graphic 2">
                <a:extLst>
                  <a:ext uri="{FF2B5EF4-FFF2-40B4-BE49-F238E27FC236}">
                    <a16:creationId xmlns:a16="http://schemas.microsoft.com/office/drawing/2014/main" id="{53ECF351-78F4-9F4A-99E7-C5A34EA25EE1}"/>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77" name="Graphic 2">
                <a:extLst>
                  <a:ext uri="{FF2B5EF4-FFF2-40B4-BE49-F238E27FC236}">
                    <a16:creationId xmlns:a16="http://schemas.microsoft.com/office/drawing/2014/main" id="{CF96F85C-3FE9-1642-9F0B-6A98CFC6EA00}"/>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78" name="Graphic 2">
                <a:extLst>
                  <a:ext uri="{FF2B5EF4-FFF2-40B4-BE49-F238E27FC236}">
                    <a16:creationId xmlns:a16="http://schemas.microsoft.com/office/drawing/2014/main" id="{95BC99DF-A478-874D-AF08-EB8DB37EE68E}"/>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79" name="Graphic 2">
                <a:extLst>
                  <a:ext uri="{FF2B5EF4-FFF2-40B4-BE49-F238E27FC236}">
                    <a16:creationId xmlns:a16="http://schemas.microsoft.com/office/drawing/2014/main" id="{E5557E15-F214-4E4D-8C71-5764DCA1E19B}"/>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80" name="Graphic 2">
                <a:extLst>
                  <a:ext uri="{FF2B5EF4-FFF2-40B4-BE49-F238E27FC236}">
                    <a16:creationId xmlns:a16="http://schemas.microsoft.com/office/drawing/2014/main" id="{6235E861-C55E-0F49-8887-2068AB2B9FDC}"/>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81" name="Graphic 2">
                <a:extLst>
                  <a:ext uri="{FF2B5EF4-FFF2-40B4-BE49-F238E27FC236}">
                    <a16:creationId xmlns:a16="http://schemas.microsoft.com/office/drawing/2014/main" id="{94F15CB0-94C4-6B45-9459-77B215B476DC}"/>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0" name="Graphic 56">
              <a:extLst>
                <a:ext uri="{FF2B5EF4-FFF2-40B4-BE49-F238E27FC236}">
                  <a16:creationId xmlns:a16="http://schemas.microsoft.com/office/drawing/2014/main" id="{A146D7CC-8773-B34C-9B46-599AFE1FABC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1" name="Graphic 61">
              <a:extLst>
                <a:ext uri="{FF2B5EF4-FFF2-40B4-BE49-F238E27FC236}">
                  <a16:creationId xmlns:a16="http://schemas.microsoft.com/office/drawing/2014/main" id="{301B2ACB-C05B-C04E-BE15-0576F546C9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62" name="4 Xs">
              <a:extLst>
                <a:ext uri="{FF2B5EF4-FFF2-40B4-BE49-F238E27FC236}">
                  <a16:creationId xmlns:a16="http://schemas.microsoft.com/office/drawing/2014/main" id="{DB050E3C-4B92-B348-B6BD-0215DB9E6E64}"/>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63" name="Graphic 37">
                <a:extLst>
                  <a:ext uri="{FF2B5EF4-FFF2-40B4-BE49-F238E27FC236}">
                    <a16:creationId xmlns:a16="http://schemas.microsoft.com/office/drawing/2014/main" id="{49DCBB61-C991-A843-97B7-6448FD09195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64" name="Graphic 37">
                <a:extLst>
                  <a:ext uri="{FF2B5EF4-FFF2-40B4-BE49-F238E27FC236}">
                    <a16:creationId xmlns:a16="http://schemas.microsoft.com/office/drawing/2014/main" id="{1D3D5D7A-95C6-F847-A257-60BA7CDC76C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65" name="Graphic 37">
                <a:extLst>
                  <a:ext uri="{FF2B5EF4-FFF2-40B4-BE49-F238E27FC236}">
                    <a16:creationId xmlns:a16="http://schemas.microsoft.com/office/drawing/2014/main" id="{895EE3BC-B130-854C-BC3D-A7F4FE30CB4F}"/>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66" name="Graphic 37">
                <a:extLst>
                  <a:ext uri="{FF2B5EF4-FFF2-40B4-BE49-F238E27FC236}">
                    <a16:creationId xmlns:a16="http://schemas.microsoft.com/office/drawing/2014/main" id="{95FEACF9-FB13-D54A-AEBB-4C1F25144E7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102288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grpSp>
        <p:nvGrpSpPr>
          <p:cNvPr id="23" name="waves">
            <a:extLst>
              <a:ext uri="{FF2B5EF4-FFF2-40B4-BE49-F238E27FC236}">
                <a16:creationId xmlns:a16="http://schemas.microsoft.com/office/drawing/2014/main" id="{78FF047B-042B-184B-98A9-4D6759BB8D55}"/>
              </a:ext>
            </a:extLst>
          </p:cNvPr>
          <p:cNvGrpSpPr/>
          <p:nvPr userDrawn="1"/>
        </p:nvGrpSpPr>
        <p:grpSpPr>
          <a:xfrm>
            <a:off x="-1566254" y="5170549"/>
            <a:ext cx="17037436" cy="1687452"/>
            <a:chOff x="4253152" y="151074"/>
            <a:chExt cx="6930220" cy="2076330"/>
          </a:xfrm>
        </p:grpSpPr>
        <p:sp>
          <p:nvSpPr>
            <p:cNvPr id="24" name="coral">
              <a:extLst>
                <a:ext uri="{FF2B5EF4-FFF2-40B4-BE49-F238E27FC236}">
                  <a16:creationId xmlns:a16="http://schemas.microsoft.com/office/drawing/2014/main" id="{3B3E6D26-CD9B-EE47-8932-6B0B3B8BF33C}"/>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5" name="green">
              <a:extLst>
                <a:ext uri="{FF2B5EF4-FFF2-40B4-BE49-F238E27FC236}">
                  <a16:creationId xmlns:a16="http://schemas.microsoft.com/office/drawing/2014/main" id="{70A4A9C1-D410-7B49-9F90-4736A2E50A0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646453807"/>
      </p:ext>
    </p:extLst>
  </p:cSld>
  <p:clrMapOvr>
    <a:masterClrMapping/>
  </p:clrMapOvr>
  <p:transition spd="slow">
    <p:wipe dir="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waves">
            <a:extLst>
              <a:ext uri="{FF2B5EF4-FFF2-40B4-BE49-F238E27FC236}">
                <a16:creationId xmlns:a16="http://schemas.microsoft.com/office/drawing/2014/main" id="{39616EB5-6B04-604F-BAC6-C005AC2B886C}"/>
              </a:ext>
            </a:extLst>
          </p:cNvPr>
          <p:cNvGrpSpPr/>
          <p:nvPr userDrawn="1"/>
        </p:nvGrpSpPr>
        <p:grpSpPr>
          <a:xfrm>
            <a:off x="-1566254" y="5170549"/>
            <a:ext cx="17037436" cy="1687452"/>
            <a:chOff x="4253152" y="151074"/>
            <a:chExt cx="6930220" cy="2076330"/>
          </a:xfrm>
        </p:grpSpPr>
        <p:sp>
          <p:nvSpPr>
            <p:cNvPr id="21" name="coral">
              <a:extLst>
                <a:ext uri="{FF2B5EF4-FFF2-40B4-BE49-F238E27FC236}">
                  <a16:creationId xmlns:a16="http://schemas.microsoft.com/office/drawing/2014/main" id="{E3EF3A70-98AF-2E48-BCCD-D3F505097C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4C75630-123C-354A-90FC-64179A7F0B81}"/>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6032549" y="53553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350886735"/>
      </p:ext>
    </p:extLst>
  </p:cSld>
  <p:clrMapOvr>
    <a:masterClrMapping/>
  </p:clrMapOvr>
  <p:transition spd="slow">
    <p:wipe dir="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5" name="Oval 64">
            <a:extLst>
              <a:ext uri="{FF2B5EF4-FFF2-40B4-BE49-F238E27FC236}">
                <a16:creationId xmlns:a16="http://schemas.microsoft.com/office/drawing/2014/main" id="{A67F92C1-226B-D34B-8F57-77A1E9414682}"/>
              </a:ext>
            </a:extLst>
          </p:cNvPr>
          <p:cNvSpPr/>
          <p:nvPr userDrawn="1"/>
        </p:nvSpPr>
        <p:spPr>
          <a:xfrm>
            <a:off x="6920522" y="976171"/>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32" name="waves">
            <a:extLst>
              <a:ext uri="{FF2B5EF4-FFF2-40B4-BE49-F238E27FC236}">
                <a16:creationId xmlns:a16="http://schemas.microsoft.com/office/drawing/2014/main" id="{B3697C6D-79F7-AC41-BFF3-CCAEC86A9EF9}"/>
              </a:ext>
            </a:extLst>
          </p:cNvPr>
          <p:cNvGrpSpPr/>
          <p:nvPr userDrawn="1"/>
        </p:nvGrpSpPr>
        <p:grpSpPr>
          <a:xfrm>
            <a:off x="6096001" y="4542732"/>
            <a:ext cx="7779727" cy="2330729"/>
            <a:chOff x="4253152" y="151074"/>
            <a:chExt cx="6930220" cy="2076330"/>
          </a:xfrm>
        </p:grpSpPr>
        <p:sp>
          <p:nvSpPr>
            <p:cNvPr id="33" name="coral">
              <a:extLst>
                <a:ext uri="{FF2B5EF4-FFF2-40B4-BE49-F238E27FC236}">
                  <a16:creationId xmlns:a16="http://schemas.microsoft.com/office/drawing/2014/main" id="{D4BABF9B-7D7A-F042-B042-23A66D30317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4" name="green">
              <a:extLst>
                <a:ext uri="{FF2B5EF4-FFF2-40B4-BE49-F238E27FC236}">
                  <a16:creationId xmlns:a16="http://schemas.microsoft.com/office/drawing/2014/main" id="{33243E7D-BA9B-7F45-AEC0-0F2863FB31C7}"/>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387974785"/>
      </p:ext>
    </p:extLst>
  </p:cSld>
  <p:clrMapOvr>
    <a:masterClrMapping/>
  </p:clrMapOvr>
  <p:transition spd="slow">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8" name="waves">
            <a:extLst>
              <a:ext uri="{FF2B5EF4-FFF2-40B4-BE49-F238E27FC236}">
                <a16:creationId xmlns:a16="http://schemas.microsoft.com/office/drawing/2014/main" id="{E555CF5C-748A-CE43-8182-BD26B45F50E8}"/>
              </a:ext>
            </a:extLst>
          </p:cNvPr>
          <p:cNvGrpSpPr/>
          <p:nvPr userDrawn="1"/>
        </p:nvGrpSpPr>
        <p:grpSpPr>
          <a:xfrm>
            <a:off x="6096001" y="4542732"/>
            <a:ext cx="7779727" cy="2330729"/>
            <a:chOff x="4253152" y="151074"/>
            <a:chExt cx="6930220" cy="2076330"/>
          </a:xfrm>
        </p:grpSpPr>
        <p:sp>
          <p:nvSpPr>
            <p:cNvPr id="49" name="coral">
              <a:extLst>
                <a:ext uri="{FF2B5EF4-FFF2-40B4-BE49-F238E27FC236}">
                  <a16:creationId xmlns:a16="http://schemas.microsoft.com/office/drawing/2014/main" id="{DED7FFEF-61C3-444A-B7CB-C47A60D8543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50" name="green">
              <a:extLst>
                <a:ext uri="{FF2B5EF4-FFF2-40B4-BE49-F238E27FC236}">
                  <a16:creationId xmlns:a16="http://schemas.microsoft.com/office/drawing/2014/main" id="{129EAA55-280A-E044-A52E-E0E15738E950}"/>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0" y="174"/>
            <a:ext cx="6391683" cy="6857657"/>
            <a:chOff x="8352309" y="248"/>
            <a:chExt cx="9203857" cy="9875345"/>
          </a:xfrm>
        </p:grpSpPr>
        <p:sp>
          <p:nvSpPr>
            <p:cNvPr id="22" name="Leaner">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sp>
          <p:nvSpPr>
            <p:cNvPr id="27" name="Graphic 6">
              <a:extLst>
                <a:ext uri="{FF2B5EF4-FFF2-40B4-BE49-F238E27FC236}">
                  <a16:creationId xmlns:a16="http://schemas.microsoft.com/office/drawing/2014/main" id="{24B07B6C-2ED5-8846-AC61-257D0BEB18BB}"/>
                </a:ext>
              </a:extLst>
            </p:cNvPr>
            <p:cNvSpPr/>
            <p:nvPr userDrawn="1"/>
          </p:nvSpPr>
          <p:spPr>
            <a:xfrm rot="10800000">
              <a:off x="14008676" y="248"/>
              <a:ext cx="3547485" cy="4380263"/>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2">
                <a:alphaModFix amt="1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4608" dirty="0"/>
            </a:p>
          </p:txBody>
        </p:sp>
        <p:grpSp>
          <p:nvGrpSpPr>
            <p:cNvPr id="28" name="Group 27">
              <a:extLst>
                <a:ext uri="{FF2B5EF4-FFF2-40B4-BE49-F238E27FC236}">
                  <a16:creationId xmlns:a16="http://schemas.microsoft.com/office/drawing/2014/main" id="{57235399-C95B-1943-B9EF-860E65AFDD01}"/>
                </a:ext>
              </a:extLst>
            </p:cNvPr>
            <p:cNvGrpSpPr/>
            <p:nvPr userDrawn="1"/>
          </p:nvGrpSpPr>
          <p:grpSpPr>
            <a:xfrm>
              <a:off x="14900230" y="913506"/>
              <a:ext cx="1268724" cy="1016526"/>
              <a:chOff x="14900230" y="913506"/>
              <a:chExt cx="1268724" cy="1016526"/>
            </a:xfrm>
            <a:solidFill>
              <a:schemeClr val="accent5">
                <a:alpha val="15223"/>
              </a:schemeClr>
            </a:solidFill>
          </p:grpSpPr>
          <p:sp>
            <p:nvSpPr>
              <p:cNvPr id="39" name="Freeform 38">
                <a:extLst>
                  <a:ext uri="{FF2B5EF4-FFF2-40B4-BE49-F238E27FC236}">
                    <a16:creationId xmlns:a16="http://schemas.microsoft.com/office/drawing/2014/main" id="{5B5C8F91-AF88-874B-9D3A-24B6B89475B0}"/>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40" name="Freeform 39">
                <a:extLst>
                  <a:ext uri="{FF2B5EF4-FFF2-40B4-BE49-F238E27FC236}">
                    <a16:creationId xmlns:a16="http://schemas.microsoft.com/office/drawing/2014/main" id="{B6609D64-423C-DC43-BAD9-388F8D5BEB88}"/>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41" name="Freeform 40">
                <a:extLst>
                  <a:ext uri="{FF2B5EF4-FFF2-40B4-BE49-F238E27FC236}">
                    <a16:creationId xmlns:a16="http://schemas.microsoft.com/office/drawing/2014/main" id="{BD6BAF1C-7522-754B-B806-5C8F99B9050F}"/>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29" name="Group 28">
              <a:extLst>
                <a:ext uri="{FF2B5EF4-FFF2-40B4-BE49-F238E27FC236}">
                  <a16:creationId xmlns:a16="http://schemas.microsoft.com/office/drawing/2014/main" id="{B9821EA1-C321-4246-A6D2-DACB94F87897}"/>
                </a:ext>
              </a:extLst>
            </p:cNvPr>
            <p:cNvGrpSpPr/>
            <p:nvPr userDrawn="1"/>
          </p:nvGrpSpPr>
          <p:grpSpPr>
            <a:xfrm>
              <a:off x="15782242" y="1613278"/>
              <a:ext cx="1036054" cy="2188200"/>
              <a:chOff x="15782242" y="1613278"/>
              <a:chExt cx="1036054" cy="2188200"/>
            </a:xfrm>
          </p:grpSpPr>
          <p:sp>
            <p:nvSpPr>
              <p:cNvPr id="36" name="Graphic 43">
                <a:extLst>
                  <a:ext uri="{FF2B5EF4-FFF2-40B4-BE49-F238E27FC236}">
                    <a16:creationId xmlns:a16="http://schemas.microsoft.com/office/drawing/2014/main" id="{6FD28292-19D6-944A-ADB4-2DC046E6FDCE}"/>
                  </a:ext>
                </a:extLst>
              </p:cNvPr>
              <p:cNvSpPr/>
              <p:nvPr userDrawn="1"/>
            </p:nvSpPr>
            <p:spPr>
              <a:xfrm>
                <a:off x="15782242" y="1613278"/>
                <a:ext cx="225014" cy="2188200"/>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7" name="Graphic 43">
                <a:extLst>
                  <a:ext uri="{FF2B5EF4-FFF2-40B4-BE49-F238E27FC236}">
                    <a16:creationId xmlns:a16="http://schemas.microsoft.com/office/drawing/2014/main" id="{35FAB3DF-38A8-3F43-B269-6CFA1F7B25A6}"/>
                  </a:ext>
                </a:extLst>
              </p:cNvPr>
              <p:cNvSpPr/>
              <p:nvPr userDrawn="1"/>
            </p:nvSpPr>
            <p:spPr>
              <a:xfrm>
                <a:off x="16187762" y="1736380"/>
                <a:ext cx="225014" cy="2065098"/>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8" name="Graphic 43">
                <a:extLst>
                  <a:ext uri="{FF2B5EF4-FFF2-40B4-BE49-F238E27FC236}">
                    <a16:creationId xmlns:a16="http://schemas.microsoft.com/office/drawing/2014/main" id="{59FFEE35-F625-1F42-9CC5-050597A6730D}"/>
                  </a:ext>
                </a:extLst>
              </p:cNvPr>
              <p:cNvSpPr/>
              <p:nvPr userDrawn="1"/>
            </p:nvSpPr>
            <p:spPr>
              <a:xfrm>
                <a:off x="16593280" y="1897677"/>
                <a:ext cx="225016" cy="190380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gr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93271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4" name="waves">
            <a:extLst>
              <a:ext uri="{FF2B5EF4-FFF2-40B4-BE49-F238E27FC236}">
                <a16:creationId xmlns:a16="http://schemas.microsoft.com/office/drawing/2014/main" id="{2063CD0F-C9EB-3C44-9748-EA1260C4D8A4}"/>
              </a:ext>
            </a:extLst>
          </p:cNvPr>
          <p:cNvGrpSpPr/>
          <p:nvPr userDrawn="1"/>
        </p:nvGrpSpPr>
        <p:grpSpPr>
          <a:xfrm>
            <a:off x="-1566254" y="5170549"/>
            <a:ext cx="17037436" cy="1687452"/>
            <a:chOff x="4253152" y="151074"/>
            <a:chExt cx="6930220" cy="2076330"/>
          </a:xfrm>
        </p:grpSpPr>
        <p:sp>
          <p:nvSpPr>
            <p:cNvPr id="25" name="coral">
              <a:extLst>
                <a:ext uri="{FF2B5EF4-FFF2-40B4-BE49-F238E27FC236}">
                  <a16:creationId xmlns:a16="http://schemas.microsoft.com/office/drawing/2014/main" id="{E135005D-56A8-C644-9F2A-FE8BF5E183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6" name="green">
              <a:extLst>
                <a:ext uri="{FF2B5EF4-FFF2-40B4-BE49-F238E27FC236}">
                  <a16:creationId xmlns:a16="http://schemas.microsoft.com/office/drawing/2014/main" id="{26519B29-1185-F047-B6D7-88E348CE352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157061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9F543-4184-3E4F-9977-55C81E78063A}"/>
              </a:ext>
            </a:extLst>
          </p:cNvPr>
          <p:cNvGrpSpPr/>
          <p:nvPr userDrawn="1"/>
        </p:nvGrpSpPr>
        <p:grpSpPr>
          <a:xfrm>
            <a:off x="-733314" y="5049600"/>
            <a:ext cx="19125951" cy="1808401"/>
            <a:chOff x="7994577" y="7729729"/>
            <a:chExt cx="9753466" cy="2185140"/>
          </a:xfrm>
        </p:grpSpPr>
        <p:sp>
          <p:nvSpPr>
            <p:cNvPr id="5" name="Graphic 56">
              <a:extLst>
                <a:ext uri="{FF2B5EF4-FFF2-40B4-BE49-F238E27FC236}">
                  <a16:creationId xmlns:a16="http://schemas.microsoft.com/office/drawing/2014/main" id="{D7489825-F018-3B4F-8E18-461B40E9925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 name="Graphic 61">
              <a:extLst>
                <a:ext uri="{FF2B5EF4-FFF2-40B4-BE49-F238E27FC236}">
                  <a16:creationId xmlns:a16="http://schemas.microsoft.com/office/drawing/2014/main" id="{11B6F687-57A9-2742-9150-64E0A457153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28721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pic>
        <p:nvPicPr>
          <p:cNvPr id="41" name="wave pattern" descr="A picture containing nature, dune&#10;&#10;Description automatically generated">
            <a:extLst>
              <a:ext uri="{FF2B5EF4-FFF2-40B4-BE49-F238E27FC236}">
                <a16:creationId xmlns:a16="http://schemas.microsoft.com/office/drawing/2014/main" id="{FEA6B481-BC84-A24D-857C-DFC0F3E0055E}"/>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1564075455"/>
      </p:ext>
    </p:extLst>
  </p:cSld>
  <p:clrMapOvr>
    <a:masterClrMapping/>
  </p:clrMapOvr>
  <p:transition spd="slow">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pic>
        <p:nvPicPr>
          <p:cNvPr id="77" name="wave pattern" descr="A picture containing nature, dune&#10;&#10;Description automatically generated">
            <a:extLst>
              <a:ext uri="{FF2B5EF4-FFF2-40B4-BE49-F238E27FC236}">
                <a16:creationId xmlns:a16="http://schemas.microsoft.com/office/drawing/2014/main" id="{431210A4-7017-1C43-B12A-A6086FB5EFA8}"/>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7" name="Slide Number Placeholder 5">
            <a:extLst>
              <a:ext uri="{FF2B5EF4-FFF2-40B4-BE49-F238E27FC236}">
                <a16:creationId xmlns:a16="http://schemas.microsoft.com/office/drawing/2014/main" id="{02FFEA81-BB5A-E84B-8FBF-DF8658B0DFEC}"/>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sp>
        <p:nvSpPr>
          <p:cNvPr id="8" name="Slide Number Placeholder 5">
            <a:extLst>
              <a:ext uri="{FF2B5EF4-FFF2-40B4-BE49-F238E27FC236}">
                <a16:creationId xmlns:a16="http://schemas.microsoft.com/office/drawing/2014/main" id="{1E1766E1-6F1F-2E40-8922-5A29D6162A58}"/>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0"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2"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4"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Tree>
    <p:extLst>
      <p:ext uri="{BB962C8B-B14F-4D97-AF65-F5344CB8AC3E}">
        <p14:creationId xmlns:p14="http://schemas.microsoft.com/office/powerpoint/2010/main" val="4172470698"/>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35" name="4 Xs">
            <a:extLst>
              <a:ext uri="{FF2B5EF4-FFF2-40B4-BE49-F238E27FC236}">
                <a16:creationId xmlns:a16="http://schemas.microsoft.com/office/drawing/2014/main" id="{6B49B282-FF20-8449-BA31-484C4E7A5229}"/>
              </a:ext>
            </a:extLst>
          </p:cNvPr>
          <p:cNvGrpSpPr/>
          <p:nvPr userDrawn="1"/>
        </p:nvGrpSpPr>
        <p:grpSpPr>
          <a:xfrm>
            <a:off x="10281533" y="2246882"/>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3" y="5548188"/>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grpSp>
      <p:grpSp>
        <p:nvGrpSpPr>
          <p:cNvPr id="44" name="waves">
            <a:extLst>
              <a:ext uri="{FF2B5EF4-FFF2-40B4-BE49-F238E27FC236}">
                <a16:creationId xmlns:a16="http://schemas.microsoft.com/office/drawing/2014/main" id="{3E36DA55-C2AD-DB4B-B056-C8D8A465ACBC}"/>
              </a:ext>
            </a:extLst>
          </p:cNvPr>
          <p:cNvGrpSpPr/>
          <p:nvPr userDrawn="1"/>
        </p:nvGrpSpPr>
        <p:grpSpPr>
          <a:xfrm>
            <a:off x="6096001" y="4542732"/>
            <a:ext cx="7779727" cy="2330729"/>
            <a:chOff x="4253152" y="151074"/>
            <a:chExt cx="6930220" cy="2076330"/>
          </a:xfrm>
        </p:grpSpPr>
        <p:sp>
          <p:nvSpPr>
            <p:cNvPr id="45" name="coral">
              <a:extLst>
                <a:ext uri="{FF2B5EF4-FFF2-40B4-BE49-F238E27FC236}">
                  <a16:creationId xmlns:a16="http://schemas.microsoft.com/office/drawing/2014/main" id="{2D6DBFE9-65EF-3D48-B26A-C68DFA974FD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Source Sans Pro" panose="020B0503030403020204" pitchFamily="34" charset="0"/>
              </a:endParaRPr>
            </a:p>
          </p:txBody>
        </p:sp>
        <p:sp>
          <p:nvSpPr>
            <p:cNvPr id="46" name="green">
              <a:extLst>
                <a:ext uri="{FF2B5EF4-FFF2-40B4-BE49-F238E27FC236}">
                  <a16:creationId xmlns:a16="http://schemas.microsoft.com/office/drawing/2014/main" id="{2C2D7C0F-291B-4C40-BA4D-FEDF4CBE20C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latin typeface="Source Sans Pro" panose="020B0503030403020204" pitchFamily="34" charset="0"/>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0"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gr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66"/>
            <a:ext cx="6980716" cy="1111535"/>
          </a:xfrm>
          <a:prstGeom prst="rect">
            <a:avLst/>
          </a:prstGeom>
        </p:spPr>
        <p:txBody>
          <a:bodyPr anchor="ctr" anchorCtr="0">
            <a:normAutofit/>
          </a:bodyPr>
          <a:lstStyle>
            <a:lvl1pPr algn="l">
              <a:defRPr sz="4583">
                <a:solidFill>
                  <a:schemeClr val="accent5"/>
                </a:solidFill>
                <a:latin typeface="Source Sans Pro" panose="020B0503030403020204" pitchFamily="34" charset="0"/>
              </a:defRPr>
            </a:lvl1pPr>
          </a:lstStyle>
          <a:p>
            <a:r>
              <a:rPr lang="en-US" dirty="0"/>
              <a:t>First Last</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5" y="3826100"/>
            <a:ext cx="6875983" cy="532587"/>
          </a:xfrm>
          <a:prstGeom prst="rect">
            <a:avLst/>
          </a:prstGeom>
        </p:spPr>
        <p:txBody>
          <a:bodyPr/>
          <a:lstStyle>
            <a:lvl1pPr marL="0" indent="0" algn="l">
              <a:buNone/>
              <a:defRPr sz="2400">
                <a:solidFill>
                  <a:schemeClr val="bg2"/>
                </a:solidFill>
                <a:latin typeface="Source Sans Pro" panose="020B0503030403020204" pitchFamily="34" charset="0"/>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Title, Company</a:t>
            </a:r>
          </a:p>
        </p:txBody>
      </p:sp>
      <p:pic>
        <p:nvPicPr>
          <p:cNvPr id="6" name="Picture 5">
            <a:extLst>
              <a:ext uri="{FF2B5EF4-FFF2-40B4-BE49-F238E27FC236}">
                <a16:creationId xmlns:a16="http://schemas.microsoft.com/office/drawing/2014/main" id="{513E09BB-3A34-7645-AFFB-D25C8E2D5F72}"/>
              </a:ext>
            </a:extLst>
          </p:cNvPr>
          <p:cNvPicPr>
            <a:picLocks noChangeAspect="1"/>
          </p:cNvPicPr>
          <p:nvPr userDrawn="1"/>
        </p:nvPicPr>
        <p:blipFill>
          <a:blip r:embed="rId2"/>
          <a:stretch>
            <a:fillRect/>
          </a:stretch>
        </p:blipFill>
        <p:spPr>
          <a:xfrm>
            <a:off x="508229" y="563421"/>
            <a:ext cx="927403" cy="927401"/>
          </a:xfrm>
          <a:prstGeom prst="rect">
            <a:avLst/>
          </a:prstGeom>
        </p:spPr>
      </p:pic>
      <p:grpSp>
        <p:nvGrpSpPr>
          <p:cNvPr id="7" name="Photo">
            <a:extLst>
              <a:ext uri="{FF2B5EF4-FFF2-40B4-BE49-F238E27FC236}">
                <a16:creationId xmlns:a16="http://schemas.microsoft.com/office/drawing/2014/main" id="{2199EC45-4F3B-724E-97CC-7FC956B4B86B}"/>
              </a:ext>
            </a:extLst>
          </p:cNvPr>
          <p:cNvGrpSpPr/>
          <p:nvPr userDrawn="1"/>
        </p:nvGrpSpPr>
        <p:grpSpPr>
          <a:xfrm>
            <a:off x="1209262" y="1953610"/>
            <a:ext cx="2952036" cy="2951885"/>
            <a:chOff x="2925896" y="913502"/>
            <a:chExt cx="3630630" cy="3630630"/>
          </a:xfrm>
        </p:grpSpPr>
        <p:sp>
          <p:nvSpPr>
            <p:cNvPr id="8" name="Oval 7">
              <a:extLst>
                <a:ext uri="{FF2B5EF4-FFF2-40B4-BE49-F238E27FC236}">
                  <a16:creationId xmlns:a16="http://schemas.microsoft.com/office/drawing/2014/main" id="{3F3B23D8-7258-B541-90BD-1AD09EC73516}"/>
                </a:ext>
              </a:extLst>
            </p:cNvPr>
            <p:cNvSpPr/>
            <p:nvPr/>
          </p:nvSpPr>
          <p:spPr>
            <a:xfrm>
              <a:off x="2925896" y="913502"/>
              <a:ext cx="3630630" cy="3630630"/>
            </a:xfrm>
            <a:prstGeom prst="ellipse">
              <a:avLst/>
            </a:prstGeom>
            <a:gradFill flip="none" rotWithShape="1">
              <a:gsLst>
                <a:gs pos="0">
                  <a:srgbClr val="4D80A4"/>
                </a:gs>
                <a:gs pos="72000">
                  <a:srgbClr val="22415F"/>
                </a:gs>
                <a:gs pos="99000">
                  <a:schemeClr val="tx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8070" rtl="0" eaLnBrk="1" fontAlgn="auto" latinLnBrk="0" hangingPunct="1">
                <a:lnSpc>
                  <a:spcPct val="100000"/>
                </a:lnSpc>
                <a:spcBef>
                  <a:spcPts val="0"/>
                </a:spcBef>
                <a:spcAft>
                  <a:spcPts val="0"/>
                </a:spcAft>
                <a:buClrTx/>
                <a:buSzTx/>
                <a:buFontTx/>
                <a:buNone/>
                <a:tabLst/>
                <a:defRPr/>
              </a:pPr>
              <a:endParaRPr kumimoji="0" lang="en-US" sz="740" u="none" strike="noStrike" kern="1200" cap="none" spc="0" normalizeH="0" baseline="0" noProof="0" dirty="0">
                <a:ln>
                  <a:noFill/>
                </a:ln>
                <a:solidFill>
                  <a:srgbClr val="F8F3EF"/>
                </a:solidFill>
                <a:effectLst/>
                <a:uLnTx/>
                <a:uFillTx/>
                <a:latin typeface="Source Sans Pro" panose="020B0503030403020204" pitchFamily="34" charset="0"/>
                <a:ea typeface="+mn-ea"/>
                <a:cs typeface="+mn-cs"/>
              </a:endParaRPr>
            </a:p>
          </p:txBody>
        </p:sp>
        <p:pic>
          <p:nvPicPr>
            <p:cNvPr id="9" name="Picture 8">
              <a:extLst>
                <a:ext uri="{FF2B5EF4-FFF2-40B4-BE49-F238E27FC236}">
                  <a16:creationId xmlns:a16="http://schemas.microsoft.com/office/drawing/2014/main" id="{309D3969-35AE-BA42-959F-89CC45BB343C}"/>
                </a:ext>
              </a:extLst>
            </p:cNvPr>
            <p:cNvPicPr>
              <a:picLocks noChangeAspect="1"/>
            </p:cNvPicPr>
            <p:nvPr/>
          </p:nvPicPr>
          <p:blipFill rotWithShape="1">
            <a:blip r:embed="rId3"/>
            <a:srcRect l="5686" t="25971" r="24859" b="20353"/>
            <a:stretch/>
          </p:blipFill>
          <p:spPr>
            <a:xfrm>
              <a:off x="2925896" y="913502"/>
              <a:ext cx="3630630" cy="3630630"/>
            </a:xfrm>
            <a:prstGeom prst="ellipse">
              <a:avLst/>
            </a:prstGeom>
          </p:spPr>
        </p:pic>
      </p:grpSp>
    </p:spTree>
    <p:extLst>
      <p:ext uri="{BB962C8B-B14F-4D97-AF65-F5344CB8AC3E}">
        <p14:creationId xmlns:p14="http://schemas.microsoft.com/office/powerpoint/2010/main" val="421833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decel="50000" fill="hold" nodeType="withEffect">
                                  <p:stCondLst>
                                    <p:cond delay="0"/>
                                  </p:stCondLst>
                                  <p:childTnLst>
                                    <p:animScale>
                                      <p:cBhvr>
                                        <p:cTn id="9" dur="5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591300" y="423864"/>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6591301" y="1743076"/>
            <a:ext cx="4286249" cy="3648075"/>
          </a:xfrm>
        </p:spPr>
        <p:txBody>
          <a:bodyPr/>
          <a:lstStyle>
            <a:lvl1pPr>
              <a:defRPr>
                <a:solidFill>
                  <a:schemeClr val="tx1"/>
                </a:solidFill>
              </a:defRPr>
            </a:lvl1pPr>
            <a:lvl2pPr marL="313259" indent="-300559">
              <a:buFont typeface="System Font Regular"/>
              <a:buChar char="→"/>
              <a:tabLst/>
              <a:defRPr>
                <a:solidFill>
                  <a:schemeClr val="tx1"/>
                </a:solidFill>
              </a:defRPr>
            </a:lvl2pPr>
            <a:lvl3pPr marL="535504" indent="-232828">
              <a:tabLst/>
              <a:defRPr>
                <a:solidFill>
                  <a:schemeClr val="tx1"/>
                </a:solidFill>
              </a:defRPr>
            </a:lvl3pPr>
            <a:lvl4pPr marL="770447" indent="-224361">
              <a:tabLst/>
              <a:defRPr>
                <a:solidFill>
                  <a:schemeClr val="tx1"/>
                </a:solidFill>
              </a:defRPr>
            </a:lvl4pPr>
            <a:lvl5pPr marL="992693" indent="-241294">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1" y="0"/>
            <a:ext cx="6096551" cy="6858000"/>
          </a:xfrm>
        </p:spPr>
        <p:txBody>
          <a:bodyPr/>
          <a:lstStyle>
            <a:lvl1pPr>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26592789"/>
      </p:ext>
    </p:extLst>
  </p:cSld>
  <p:clrMapOvr>
    <a:masterClrMapping/>
  </p:clrMapOvr>
  <p:transition spd="slow">
    <p:wipe dir="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Engage Quote">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5" name="Rectangle 4">
            <a:extLst>
              <a:ext uri="{FF2B5EF4-FFF2-40B4-BE49-F238E27FC236}">
                <a16:creationId xmlns:a16="http://schemas.microsoft.com/office/drawing/2014/main" id="{CDEB7964-C5EE-104E-AB73-ECD369064086}"/>
              </a:ext>
            </a:extLst>
          </p:cNvPr>
          <p:cNvSpPr/>
          <p:nvPr userDrawn="1"/>
        </p:nvSpPr>
        <p:spPr>
          <a:xfrm>
            <a:off x="3314701"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Freeform: Shape 35">
            <a:extLst>
              <a:ext uri="{FF2B5EF4-FFF2-40B4-BE49-F238E27FC236}">
                <a16:creationId xmlns:a16="http://schemas.microsoft.com/office/drawing/2014/main" id="{3E06244D-399D-C244-BD04-78D56B482FA2}"/>
              </a:ext>
            </a:extLst>
          </p:cNvPr>
          <p:cNvSpPr/>
          <p:nvPr userDrawn="1"/>
        </p:nvSpPr>
        <p:spPr>
          <a:xfrm>
            <a:off x="-4951714" y="-193154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10000">
                <a:schemeClr val="tx1">
                  <a:alpha val="0"/>
                </a:schemeClr>
              </a:gs>
              <a:gs pos="100000">
                <a:schemeClr val="tx1">
                  <a:lumMod val="60000"/>
                  <a:lumOff val="40000"/>
                  <a:alpha val="30000"/>
                </a:schemeClr>
              </a:gs>
            </a:gsLst>
            <a:lin ang="10800000" scaled="1"/>
            <a:tileRect/>
          </a:gradFill>
          <a:ln w="2358" cap="flat">
            <a:noFill/>
            <a:prstDash val="solid"/>
            <a:miter/>
          </a:ln>
        </p:spPr>
        <p:txBody>
          <a:bodyPr rtlCol="0" anchor="ctr"/>
          <a:lstStyle/>
          <a:p>
            <a:endParaRPr lang="en-US" sz="2400"/>
          </a:p>
        </p:txBody>
      </p:sp>
      <p:sp>
        <p:nvSpPr>
          <p:cNvPr id="8" name="Rectangle 7">
            <a:extLst>
              <a:ext uri="{FF2B5EF4-FFF2-40B4-BE49-F238E27FC236}">
                <a16:creationId xmlns:a16="http://schemas.microsoft.com/office/drawing/2014/main" id="{878F7EAB-5EEF-5843-8277-AF186213EFF8}"/>
              </a:ext>
            </a:extLst>
          </p:cNvPr>
          <p:cNvSpPr/>
          <p:nvPr userDrawn="1"/>
        </p:nvSpPr>
        <p:spPr>
          <a:xfrm>
            <a:off x="2197099" y="-4099035"/>
            <a:ext cx="7810501"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77">
              <a:spcBef>
                <a:spcPct val="0"/>
              </a:spcBef>
            </a:pPr>
            <a:r>
              <a:rPr lang="en-GB" sz="3200" b="1" i="0" dirty="0">
                <a:solidFill>
                  <a:schemeClr val="tx2"/>
                </a:solidFill>
                <a:latin typeface="Source Sans Pro" panose="020B0503030403020204" pitchFamily="34" charset="0"/>
                <a:ea typeface="+mj-ea"/>
                <a:cs typeface="+mj-cs"/>
              </a:rPr>
              <a:t>Building a foundation for...</a:t>
            </a:r>
            <a:endParaRPr lang="en-US" sz="3200" b="1" i="0" dirty="0">
              <a:solidFill>
                <a:schemeClr val="tx2"/>
              </a:solidFill>
              <a:latin typeface="Source Sans Pro" panose="020B0503030403020204" pitchFamily="34" charset="0"/>
              <a:ea typeface="+mj-ea"/>
              <a:cs typeface="+mj-cs"/>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72EDE628-C243-344C-A7A9-A7B75D33690A}"/>
                  </a:ext>
                </a:extLst>
              </p14:cNvPr>
              <p14:cNvContentPartPr/>
              <p14:nvPr userDrawn="1"/>
            </p14:nvContentPartPr>
            <p14:xfrm>
              <a:off x="-5605893" y="439840"/>
              <a:ext cx="480" cy="480"/>
            </p14:xfrm>
          </p:contentPart>
        </mc:Choice>
        <mc:Fallback xmlns="">
          <p:pic>
            <p:nvPicPr>
              <p:cNvPr id="9" name="Ink 8">
                <a:extLst>
                  <a:ext uri="{FF2B5EF4-FFF2-40B4-BE49-F238E27FC236}">
                    <a16:creationId xmlns:a16="http://schemas.microsoft.com/office/drawing/2014/main" id="{72EDE628-C243-344C-A7A9-A7B75D33690A}"/>
                  </a:ext>
                </a:extLst>
              </p:cNvPr>
              <p:cNvPicPr/>
              <p:nvPr/>
            </p:nvPicPr>
            <p:blipFill>
              <a:blip r:embed="rId4"/>
              <a:stretch>
                <a:fillRect/>
              </a:stretch>
            </p:blipFill>
            <p:spPr>
              <a:xfrm>
                <a:off x="-5617893" y="427840"/>
                <a:ext cx="24000" cy="24000"/>
              </a:xfrm>
              <a:prstGeom prst="rect">
                <a:avLst/>
              </a:prstGeom>
            </p:spPr>
          </p:pic>
        </mc:Fallback>
      </mc:AlternateContent>
      <p:sp>
        <p:nvSpPr>
          <p:cNvPr id="31" name="TITLE">
            <a:extLst>
              <a:ext uri="{FF2B5EF4-FFF2-40B4-BE49-F238E27FC236}">
                <a16:creationId xmlns:a16="http://schemas.microsoft.com/office/drawing/2014/main" id="{0DE24C69-53C3-AE48-B542-909C6ABD56BF}"/>
              </a:ext>
            </a:extLst>
          </p:cNvPr>
          <p:cNvSpPr>
            <a:spLocks noGrp="1"/>
          </p:cNvSpPr>
          <p:nvPr>
            <p:ph type="body" sz="quarter" idx="12" hasCustomPrompt="1"/>
          </p:nvPr>
        </p:nvSpPr>
        <p:spPr>
          <a:xfrm>
            <a:off x="4229099" y="5432171"/>
            <a:ext cx="7454901" cy="533400"/>
          </a:xfrm>
        </p:spPr>
        <p:txBody>
          <a:bodyPr/>
          <a:lstStyle>
            <a:lvl1pPr>
              <a:defRPr b="1" i="0">
                <a:solidFill>
                  <a:schemeClr val="tx2"/>
                </a:solidFill>
                <a:latin typeface="Source Sans Pro Semibold" panose="020B0503030403020204" pitchFamily="34" charset="0"/>
                <a:ea typeface="Source Sans Pro Semibold" panose="020B0503030403020204" pitchFamily="34" charset="0"/>
              </a:defRPr>
            </a:lvl1pPr>
          </a:lstStyle>
          <a:p>
            <a:pPr lvl="0"/>
            <a:r>
              <a:rPr lang="en-US" dirty="0"/>
              <a:t>— Name, Title</a:t>
            </a:r>
          </a:p>
        </p:txBody>
      </p:sp>
      <p:sp>
        <p:nvSpPr>
          <p:cNvPr id="17" name="Title 1">
            <a:extLst>
              <a:ext uri="{FF2B5EF4-FFF2-40B4-BE49-F238E27FC236}">
                <a16:creationId xmlns:a16="http://schemas.microsoft.com/office/drawing/2014/main" id="{75015F69-F9C8-9540-AF88-3152FE5DD6D4}"/>
              </a:ext>
            </a:extLst>
          </p:cNvPr>
          <p:cNvSpPr txBox="1">
            <a:spLocks/>
          </p:cNvSpPr>
          <p:nvPr userDrawn="1"/>
        </p:nvSpPr>
        <p:spPr>
          <a:xfrm>
            <a:off x="4115904" y="1063410"/>
            <a:ext cx="760897" cy="1323439"/>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8000" dirty="0">
                <a:solidFill>
                  <a:srgbClr val="FF6D70"/>
                </a:solidFill>
                <a:latin typeface="+mn-lt"/>
              </a:rPr>
              <a:t>“</a:t>
            </a:r>
            <a:endParaRPr lang="en-US" sz="9600" dirty="0">
              <a:solidFill>
                <a:srgbClr val="FF6D70"/>
              </a:solidFill>
              <a:latin typeface="+mn-lt"/>
            </a:endParaRPr>
          </a:p>
        </p:txBody>
      </p:sp>
      <p:sp>
        <p:nvSpPr>
          <p:cNvPr id="18" name="Oval 17">
            <a:extLst>
              <a:ext uri="{FF2B5EF4-FFF2-40B4-BE49-F238E27FC236}">
                <a16:creationId xmlns:a16="http://schemas.microsoft.com/office/drawing/2014/main" id="{200E090A-065F-BC41-9689-182CD87141CD}"/>
              </a:ext>
            </a:extLst>
          </p:cNvPr>
          <p:cNvSpPr/>
          <p:nvPr userDrawn="1"/>
        </p:nvSpPr>
        <p:spPr>
          <a:xfrm>
            <a:off x="3822701" y="641667"/>
            <a:ext cx="1384300" cy="1384300"/>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w="12700">
                <a:solidFill>
                  <a:srgbClr val="FF6D70"/>
                </a:solidFill>
              </a:ln>
              <a:noFill/>
              <a:latin typeface="+mn-lt"/>
            </a:endParaRPr>
          </a:p>
        </p:txBody>
      </p:sp>
      <p:sp>
        <p:nvSpPr>
          <p:cNvPr id="27" name="QUOTE">
            <a:extLst>
              <a:ext uri="{FF2B5EF4-FFF2-40B4-BE49-F238E27FC236}">
                <a16:creationId xmlns:a16="http://schemas.microsoft.com/office/drawing/2014/main" id="{9D7187EA-700C-864A-B857-4AAA95FDC2CA}"/>
              </a:ext>
            </a:extLst>
          </p:cNvPr>
          <p:cNvSpPr>
            <a:spLocks noGrp="1"/>
          </p:cNvSpPr>
          <p:nvPr>
            <p:ph type="body" sz="quarter" idx="11"/>
          </p:nvPr>
        </p:nvSpPr>
        <p:spPr>
          <a:xfrm>
            <a:off x="4229099" y="1728721"/>
            <a:ext cx="7454901" cy="2768048"/>
          </a:xfrm>
        </p:spPr>
        <p:txBody>
          <a:bodyPr>
            <a:normAutofit/>
          </a:bodyPr>
          <a:lstStyle>
            <a:lvl1pPr>
              <a:defRPr sz="3733" b="0" i="0">
                <a:solidFill>
                  <a:schemeClr val="tx1"/>
                </a:solidFill>
                <a:latin typeface="Source Sans Pro" panose="020B0503030403020204" pitchFamily="34" charset="0"/>
              </a:defRPr>
            </a:lvl1pPr>
          </a:lstStyle>
          <a:p>
            <a:pPr lvl="0"/>
            <a:r>
              <a:rPr lang="en-US" dirty="0"/>
              <a:t>Click to edit</a:t>
            </a:r>
          </a:p>
        </p:txBody>
      </p:sp>
      <p:sp>
        <p:nvSpPr>
          <p:cNvPr id="19" name="SIDEBAR">
            <a:extLst>
              <a:ext uri="{FF2B5EF4-FFF2-40B4-BE49-F238E27FC236}">
                <a16:creationId xmlns:a16="http://schemas.microsoft.com/office/drawing/2014/main" id="{88EEB87D-BBD1-5843-A566-BDF32AA33488}"/>
              </a:ext>
            </a:extLst>
          </p:cNvPr>
          <p:cNvSpPr>
            <a:spLocks noGrp="1"/>
          </p:cNvSpPr>
          <p:nvPr>
            <p:ph type="body" sz="quarter" idx="10"/>
          </p:nvPr>
        </p:nvSpPr>
        <p:spPr>
          <a:xfrm>
            <a:off x="523355" y="1728722"/>
            <a:ext cx="2577347" cy="860385"/>
          </a:xfrm>
        </p:spPr>
        <p:txBody>
          <a:bodyPr/>
          <a:lstStyle>
            <a:lvl1pPr>
              <a:defRPr b="1" i="0">
                <a:solidFill>
                  <a:schemeClr val="bg1"/>
                </a:solidFill>
                <a:latin typeface="Source Sans Pro Semibold" panose="020B0503030403020204" pitchFamily="34" charset="0"/>
                <a:ea typeface="Source Sans Pro Semibold" panose="020B0503030403020204" pitchFamily="34" charset="0"/>
              </a:defRPr>
            </a:lvl1pPr>
          </a:lstStyle>
          <a:p>
            <a:pPr lvl="0"/>
            <a:r>
              <a:rPr lang="en-US" dirty="0"/>
              <a:t>Click to edit</a:t>
            </a:r>
          </a:p>
        </p:txBody>
      </p:sp>
    </p:spTree>
    <p:extLst>
      <p:ext uri="{BB962C8B-B14F-4D97-AF65-F5344CB8AC3E}">
        <p14:creationId xmlns:p14="http://schemas.microsoft.com/office/powerpoint/2010/main" val="2508335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10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1000"/>
                            </p:stCondLst>
                            <p:childTnLst>
                              <p:par>
                                <p:cTn id="12" presetID="10" presetClass="entr" presetSubtype="0" fill="hold" grpId="1" nodeType="afterEffect">
                                  <p:stCondLst>
                                    <p:cond delay="0"/>
                                  </p:stCondLst>
                                  <p:childTnLst>
                                    <p:set>
                                      <p:cBhvr>
                                        <p:cTn id="13" dur="1" fill="hold">
                                          <p:stCondLst>
                                            <p:cond delay="0"/>
                                          </p:stCondLst>
                                        </p:cTn>
                                        <p:tgtEl>
                                          <p:spTgt spid="27">
                                            <p:txEl>
                                              <p:pRg st="0" end="0"/>
                                            </p:txEl>
                                          </p:spTgt>
                                        </p:tgtEl>
                                        <p:attrNameLst>
                                          <p:attrName>style.visibility</p:attrName>
                                        </p:attrNameLst>
                                      </p:cBhvr>
                                      <p:to>
                                        <p:strVal val="visible"/>
                                      </p:to>
                                    </p:set>
                                    <p:animEffect transition="in" filter="fade">
                                      <p:cBhvr>
                                        <p:cTn id="14" dur="500"/>
                                        <p:tgtEl>
                                          <p:spTgt spid="27">
                                            <p:txEl>
                                              <p:pRg st="0" end="0"/>
                                            </p:txEl>
                                          </p:spTgt>
                                        </p:tgtEl>
                                      </p:cBhvr>
                                    </p:animEffect>
                                  </p:childTnLst>
                                </p:cTn>
                              </p:par>
                              <p:par>
                                <p:cTn id="15" presetID="64" presetClass="path" presetSubtype="0" accel="50000" decel="50000" fill="hold" grpId="0" nodeType="withEffect">
                                  <p:stCondLst>
                                    <p:cond delay="0"/>
                                  </p:stCondLst>
                                  <p:childTnLst>
                                    <p:animMotion origin="layout" path="M 3.05556E-6 -0.03148 L 3.05556E-6 0.00154 " pathEditMode="relative" rAng="0" ptsTypes="AA">
                                      <p:cBhvr>
                                        <p:cTn id="16" dur="2000" fill="hold"/>
                                        <p:tgtEl>
                                          <p:spTgt spid="27">
                                            <p:txEl>
                                              <p:pRg st="0" end="0"/>
                                            </p:txEl>
                                          </p:spTgt>
                                        </p:tgtEl>
                                        <p:attrNameLst>
                                          <p:attrName>ppt_x</p:attrName>
                                          <p:attrName>ppt_y</p:attrName>
                                        </p:attrNameLst>
                                      </p:cBhvr>
                                      <p:rCtr x="0" y="1636"/>
                                    </p:animMotion>
                                  </p:childTnLst>
                                </p:cTn>
                              </p:par>
                              <p:par>
                                <p:cTn id="17" presetID="10" presetClass="entr" presetSubtype="0" fill="hold" grpId="1" nodeType="with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childTnLst>
                                </p:cTn>
                              </p:par>
                              <p:par>
                                <p:cTn id="20" presetID="42" presetClass="path" presetSubtype="0" accel="50000" decel="50000" fill="hold" grpId="0" nodeType="withEffect">
                                  <p:stCondLst>
                                    <p:cond delay="0"/>
                                  </p:stCondLst>
                                  <p:childTnLst>
                                    <p:animMotion origin="layout" path="M -3.88889E-6 -0.05247 L -3.88889E-6 1.11111E-6 " pathEditMode="relative" rAng="0" ptsTypes="AA">
                                      <p:cBhvr>
                                        <p:cTn id="21" dur="2000" fill="hold"/>
                                        <p:tgtEl>
                                          <p:spTgt spid="19">
                                            <p:txEl>
                                              <p:pRg st="0" end="0"/>
                                            </p:txEl>
                                          </p:spTgt>
                                        </p:tgtEl>
                                        <p:attrNameLst>
                                          <p:attrName>ppt_x</p:attrName>
                                          <p:attrName>ppt_y</p:attrName>
                                        </p:attrNameLst>
                                      </p:cBhvr>
                                      <p:rCtr x="0" y="2623"/>
                                    </p:animMotion>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Effect transition="in" filter="fade">
                                      <p:cBhvr>
                                        <p:cTn id="25"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tmplLst>
          <p:tmpl lvl="1">
            <p:tnLst>
              <p:par>
                <p:cTn presetID="10"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17" grpId="0"/>
      <p:bldP spid="18" grpId="0" animBg="1"/>
      <p:bldP spid="27" grpId="0" build="p">
        <p:tmplLst>
          <p:tmpl lvl="1">
            <p:tnLst>
              <p:par>
                <p:cTn presetID="64" presetClass="path" presetSubtype="0" accel="50000" decel="50000" fill="hold" nodeType="withEffect">
                  <p:stCondLst>
                    <p:cond delay="0"/>
                  </p:stCondLst>
                  <p:childTnLst>
                    <p:animMotion origin="layout" path="M 3.05556E-6 -0.03148 L 3.05556E-6 0.00154 " pathEditMode="relative" rAng="0" ptsTypes="AA">
                      <p:cBhvr>
                        <p:cTn dur="2000" fill="hold"/>
                        <p:tgtEl>
                          <p:spTgt spid="27"/>
                        </p:tgtEl>
                        <p:attrNameLst>
                          <p:attrName>ppt_x</p:attrName>
                          <p:attrName>ppt_y</p:attrName>
                        </p:attrNameLst>
                      </p:cBhvr>
                      <p:rCtr x="0" y="1636"/>
                    </p:animMotion>
                  </p:childTnLst>
                </p:cTn>
              </p:par>
            </p:tnLst>
          </p:tmpl>
        </p:tmplLst>
      </p:bldP>
      <p:bldP spid="27" grpId="1" build="p">
        <p:tmplLst>
          <p:tmpl lvl="1">
            <p:tnLst>
              <p:par>
                <p:cTn presetID="10" presetClass="entr" presetSubtype="0" fill="hold" nodeType="after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fade">
                      <p:cBhvr>
                        <p:cTn dur="500"/>
                        <p:tgtEl>
                          <p:spTgt spid="27"/>
                        </p:tgtEl>
                      </p:cBhvr>
                    </p:animEffect>
                  </p:childTnLst>
                </p:cTn>
              </p:par>
            </p:tnLst>
          </p:tmpl>
        </p:tmplLst>
      </p:bldP>
      <p:bldP spid="19" grpId="0" build="p">
        <p:tmplLst>
          <p:tmpl lvl="1">
            <p:tnLst>
              <p:par>
                <p:cTn presetID="42" presetClass="path" presetSubtype="0" accel="50000" decel="50000" fill="hold" nodeType="withEffect">
                  <p:stCondLst>
                    <p:cond delay="0"/>
                  </p:stCondLst>
                  <p:childTnLst>
                    <p:animMotion origin="layout" path="M -3.88889E-6 -0.05247 L -3.88889E-6 1.11111E-6 " pathEditMode="relative" rAng="0" ptsTypes="AA">
                      <p:cBhvr>
                        <p:cTn dur="2000" fill="hold"/>
                        <p:tgtEl>
                          <p:spTgt spid="19"/>
                        </p:tgtEl>
                        <p:attrNameLst>
                          <p:attrName>ppt_x</p:attrName>
                          <p:attrName>ppt_y</p:attrName>
                        </p:attrNameLst>
                      </p:cBhvr>
                      <p:rCtr x="0" y="2623"/>
                    </p:animMotion>
                  </p:childTnLst>
                </p:cTn>
              </p:par>
            </p:tnLst>
          </p:tmpl>
        </p:tmplLst>
      </p:bldP>
      <p:bldP spid="19" grpId="1"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Section Slide 2">
    <p:bg>
      <p:bgPr>
        <a:gradFill flip="none" rotWithShape="1">
          <a:gsLst>
            <a:gs pos="0">
              <a:srgbClr val="3C4857"/>
            </a:gs>
            <a:gs pos="100000">
              <a:srgbClr val="1D2024"/>
            </a:gs>
          </a:gsLst>
          <a:lin ang="2700000" scaled="1"/>
          <a:tileRect/>
        </a:gradFill>
        <a:effectLst/>
      </p:bgPr>
    </p:bg>
    <p:spTree>
      <p:nvGrpSpPr>
        <p:cNvPr id="1" name=""/>
        <p:cNvGrpSpPr/>
        <p:nvPr/>
      </p:nvGrpSpPr>
      <p:grpSpPr>
        <a:xfrm>
          <a:off x="0" y="0"/>
          <a:ext cx="0" cy="0"/>
          <a:chOff x="0" y="0"/>
          <a:chExt cx="0" cy="0"/>
        </a:xfrm>
      </p:grpSpPr>
      <p:pic>
        <p:nvPicPr>
          <p:cNvPr id="6" name="Picture 5" descr="A picture containing blue, player, tower&#10;&#10;Description automatically generated">
            <a:extLst>
              <a:ext uri="{FF2B5EF4-FFF2-40B4-BE49-F238E27FC236}">
                <a16:creationId xmlns:a16="http://schemas.microsoft.com/office/drawing/2014/main" id="{73FB78CE-8F45-3443-AA1B-A2B3CE474C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7" y="0"/>
            <a:ext cx="12192000" cy="6858000"/>
          </a:xfrm>
          <a:prstGeom prst="rect">
            <a:avLst/>
          </a:prstGeom>
        </p:spPr>
      </p:pic>
      <p:pic>
        <p:nvPicPr>
          <p:cNvPr id="8" name="Graphic 7">
            <a:extLst>
              <a:ext uri="{FF2B5EF4-FFF2-40B4-BE49-F238E27FC236}">
                <a16:creationId xmlns:a16="http://schemas.microsoft.com/office/drawing/2014/main" id="{921E36DD-3FDD-E44B-8242-ECD49E2F91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43600" y="6378047"/>
            <a:ext cx="321733" cy="321733"/>
          </a:xfrm>
          <a:prstGeom prst="rect">
            <a:avLst/>
          </a:prstGeom>
        </p:spPr>
      </p:pic>
      <p:sp>
        <p:nvSpPr>
          <p:cNvPr id="7" name="Title 2">
            <a:extLst>
              <a:ext uri="{FF2B5EF4-FFF2-40B4-BE49-F238E27FC236}">
                <a16:creationId xmlns:a16="http://schemas.microsoft.com/office/drawing/2014/main" id="{7FF2C8AD-F83F-704B-860E-AB211814B778}"/>
              </a:ext>
            </a:extLst>
          </p:cNvPr>
          <p:cNvSpPr>
            <a:spLocks noGrp="1"/>
          </p:cNvSpPr>
          <p:nvPr>
            <p:ph type="title" hasCustomPrompt="1"/>
          </p:nvPr>
        </p:nvSpPr>
        <p:spPr>
          <a:xfrm>
            <a:off x="1824217" y="2591105"/>
            <a:ext cx="7615359" cy="992419"/>
          </a:xfrm>
        </p:spPr>
        <p:txBody>
          <a:bodyPr lIns="0" tIns="0" rIns="0" bIns="0" rtlCol="0" anchor="b" anchorCtr="0">
            <a:noAutofit/>
          </a:bodyPr>
          <a:lstStyle>
            <a:lvl1pPr algn="l">
              <a:defRPr lang="en-US" sz="3733" b="1" i="0" cap="none" baseline="0">
                <a:solidFill>
                  <a:schemeClr val="bg1"/>
                </a:solidFill>
                <a:latin typeface="Source Sans Pro" panose="020B0503030403020204" pitchFamily="34" charset="0"/>
                <a:ea typeface="Source Sans Pro" panose="020B0503030403020204" pitchFamily="34" charset="0"/>
                <a:cs typeface="Calibri" charset="0"/>
              </a:defRPr>
            </a:lvl1pPr>
          </a:lstStyle>
          <a:p>
            <a:pPr lvl="0"/>
            <a:r>
              <a:rPr lang="en-US" dirty="0"/>
              <a:t>Section slide</a:t>
            </a:r>
          </a:p>
        </p:txBody>
      </p:sp>
      <p:sp>
        <p:nvSpPr>
          <p:cNvPr id="9" name="Subtitle 2">
            <a:extLst>
              <a:ext uri="{FF2B5EF4-FFF2-40B4-BE49-F238E27FC236}">
                <a16:creationId xmlns:a16="http://schemas.microsoft.com/office/drawing/2014/main" id="{1F6E3133-BF85-5C44-B03E-8C5CFC3220B9}"/>
              </a:ext>
            </a:extLst>
          </p:cNvPr>
          <p:cNvSpPr>
            <a:spLocks noGrp="1"/>
          </p:cNvSpPr>
          <p:nvPr>
            <p:ph type="subTitle" idx="1" hasCustomPrompt="1"/>
          </p:nvPr>
        </p:nvSpPr>
        <p:spPr>
          <a:xfrm>
            <a:off x="1824216" y="3605229"/>
            <a:ext cx="7615360" cy="332399"/>
          </a:xfrm>
          <a:prstGeom prst="rect">
            <a:avLst/>
          </a:prstGeom>
          <a:ln>
            <a:noFill/>
          </a:ln>
        </p:spPr>
        <p:txBody>
          <a:bodyPr wrap="square" tIns="0" bIns="0" anchor="t" anchorCtr="0">
            <a:normAutofit/>
          </a:bodyPr>
          <a:lstStyle>
            <a:lvl1pPr marL="0" indent="0" algn="l">
              <a:buNone/>
              <a:defRPr sz="2400" b="0" i="0" cap="none" baseline="0">
                <a:solidFill>
                  <a:schemeClr val="tx2"/>
                </a:solidFill>
                <a:latin typeface="+mn-lt"/>
                <a:ea typeface="Source Sans Pro" panose="020B0503030403020204" pitchFamily="34" charset="0"/>
                <a:cs typeface="Calibri" charset="0"/>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75518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Product">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316503-A161-5147-8B45-78DF01687921}"/>
              </a:ext>
            </a:extLst>
          </p:cNvPr>
          <p:cNvSpPr>
            <a:spLocks noGrp="1"/>
          </p:cNvSpPr>
          <p:nvPr>
            <p:ph type="dt" sz="half" idx="10"/>
          </p:nvPr>
        </p:nvSpPr>
        <p:spPr/>
        <p:txBody>
          <a:bodyPr/>
          <a:lstStyle/>
          <a:p>
            <a:fld id="{B01F1F41-2107-2B4A-AFD3-0A9C893A5C18}" type="datetimeFigureOut">
              <a:rPr lang="en-US" smtClean="0"/>
              <a:pPr/>
              <a:t>7/16/2021</a:t>
            </a:fld>
            <a:endParaRPr lang="en-US"/>
          </a:p>
        </p:txBody>
      </p:sp>
      <p:sp>
        <p:nvSpPr>
          <p:cNvPr id="4" name="Footer Placeholder 3">
            <a:extLst>
              <a:ext uri="{FF2B5EF4-FFF2-40B4-BE49-F238E27FC236}">
                <a16:creationId xmlns:a16="http://schemas.microsoft.com/office/drawing/2014/main" id="{C257ABA9-F3BA-1F4A-B98E-56BCF10A8916}"/>
              </a:ext>
            </a:extLst>
          </p:cNvPr>
          <p:cNvSpPr>
            <a:spLocks noGrp="1"/>
          </p:cNvSpPr>
          <p:nvPr>
            <p:ph type="ftr" sz="quarter" idx="11"/>
          </p:nvPr>
        </p:nvSpPr>
        <p:spPr/>
        <p:txBody>
          <a:bodyPr/>
          <a:lstStyle/>
          <a:p>
            <a:r>
              <a:rPr lang="en-US">
                <a:solidFill>
                  <a:schemeClr val="tx2"/>
                </a:solidFill>
              </a:rPr>
              <a:t>|</a:t>
            </a:r>
            <a:r>
              <a:rPr lang="en-US"/>
              <a:t>  Footer</a:t>
            </a:r>
          </a:p>
        </p:txBody>
      </p:sp>
      <p:sp>
        <p:nvSpPr>
          <p:cNvPr id="5" name="Slide Number Placeholder 4">
            <a:extLst>
              <a:ext uri="{FF2B5EF4-FFF2-40B4-BE49-F238E27FC236}">
                <a16:creationId xmlns:a16="http://schemas.microsoft.com/office/drawing/2014/main" id="{63A21C34-E675-7148-A7D0-8CBAE9B8C9F1}"/>
              </a:ext>
            </a:extLst>
          </p:cNvPr>
          <p:cNvSpPr>
            <a:spLocks noGrp="1"/>
          </p:cNvSpPr>
          <p:nvPr>
            <p:ph type="sldNum" sz="quarter" idx="12"/>
          </p:nvPr>
        </p:nvSpPr>
        <p:spPr/>
        <p:txBody>
          <a:bodyPr/>
          <a:lstStyle/>
          <a:p>
            <a:fld id="{47F042C8-DDB5-0141-B946-4F962685D46A}" type="slidenum">
              <a:rPr lang="en-US" smtClean="0"/>
              <a:pPr/>
              <a:t>‹#›</a:t>
            </a:fld>
            <a:endParaRPr lang="en-US"/>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6"/>
            <a:ext cx="5709920" cy="1034001"/>
          </a:xfrm>
        </p:spPr>
        <p:txBody>
          <a:body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9DB19048-B503-8646-AFB8-50C0B50715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25464"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dirty="0"/>
              <a:t>Click icon to add picture</a:t>
            </a:r>
          </a:p>
        </p:txBody>
      </p:sp>
    </p:spTree>
    <p:extLst>
      <p:ext uri="{BB962C8B-B14F-4D97-AF65-F5344CB8AC3E}">
        <p14:creationId xmlns:p14="http://schemas.microsoft.com/office/powerpoint/2010/main" val="309480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Slide With Picture">
    <p:bg>
      <p:bgPr>
        <a:solidFill>
          <a:schemeClr val="accent5"/>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5874542-2663-4892-90C2-92A4C0B8E5DE}"/>
              </a:ext>
            </a:extLst>
          </p:cNvPr>
          <p:cNvSpPr>
            <a:spLocks noGrp="1"/>
          </p:cNvSpPr>
          <p:nvPr>
            <p:ph type="ctrTitle" hasCustomPrompt="1"/>
          </p:nvPr>
        </p:nvSpPr>
        <p:spPr>
          <a:xfrm>
            <a:off x="5195456" y="1122363"/>
            <a:ext cx="6488544" cy="2387600"/>
          </a:xfrm>
        </p:spPr>
        <p:txBody>
          <a:bodyPr anchor="b">
            <a:normAutofit/>
          </a:bodyPr>
          <a:lstStyle>
            <a:lvl1pPr algn="l">
              <a:defRPr sz="3733" b="1" i="0">
                <a:latin typeface="Source Sans Pro" panose="020B0503030403020204" pitchFamily="34" charset="0"/>
              </a:defRPr>
            </a:lvl1pPr>
          </a:lstStyle>
          <a:p>
            <a:r>
              <a:rPr lang="en-US" dirty="0"/>
              <a:t>Title slide with picture</a:t>
            </a:r>
            <a:endParaRPr lang="en-ID" dirty="0"/>
          </a:p>
        </p:txBody>
      </p:sp>
      <p:sp>
        <p:nvSpPr>
          <p:cNvPr id="10" name="Subtitle 2">
            <a:extLst>
              <a:ext uri="{FF2B5EF4-FFF2-40B4-BE49-F238E27FC236}">
                <a16:creationId xmlns:a16="http://schemas.microsoft.com/office/drawing/2014/main" id="{8A567B3B-9E58-4A6B-BCE5-9CD5B1264987}"/>
              </a:ext>
            </a:extLst>
          </p:cNvPr>
          <p:cNvSpPr>
            <a:spLocks noGrp="1"/>
          </p:cNvSpPr>
          <p:nvPr>
            <p:ph type="subTitle" idx="1" hasCustomPrompt="1"/>
          </p:nvPr>
        </p:nvSpPr>
        <p:spPr>
          <a:xfrm>
            <a:off x="5195456" y="3602037"/>
            <a:ext cx="6488544" cy="1655763"/>
          </a:xfrm>
          <a:prstGeom prst="rect">
            <a:avLst/>
          </a:prstGeom>
        </p:spPr>
        <p:txBody>
          <a:bodyPr/>
          <a:lstStyle>
            <a:lvl1pPr marL="0" indent="0" algn="l">
              <a:buNone/>
              <a:defRPr sz="2400" b="0" i="0">
                <a:solidFill>
                  <a:schemeClr val="tx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ID" dirty="0"/>
          </a:p>
        </p:txBody>
      </p:sp>
      <p:sp>
        <p:nvSpPr>
          <p:cNvPr id="6" name="Picture Placeholder 5">
            <a:extLst>
              <a:ext uri="{FF2B5EF4-FFF2-40B4-BE49-F238E27FC236}">
                <a16:creationId xmlns:a16="http://schemas.microsoft.com/office/drawing/2014/main" id="{6E05BEAC-C1DD-43E1-A339-67C947C61DDE}"/>
              </a:ext>
            </a:extLst>
          </p:cNvPr>
          <p:cNvSpPr>
            <a:spLocks noGrp="1"/>
          </p:cNvSpPr>
          <p:nvPr>
            <p:ph type="pic" sz="quarter" idx="13"/>
          </p:nvPr>
        </p:nvSpPr>
        <p:spPr>
          <a:xfrm>
            <a:off x="2" y="0"/>
            <a:ext cx="4804756" cy="6858000"/>
          </a:xfrm>
          <a:prstGeom prst="rect">
            <a:avLst/>
          </a:prstGeom>
        </p:spPr>
        <p:txBody>
          <a:bodyPr/>
          <a:lstStyle/>
          <a:p>
            <a:r>
              <a:rPr lang="en-US" dirty="0"/>
              <a:t>Click icon to add picture</a:t>
            </a:r>
            <a:endParaRPr lang="en-ID" dirty="0"/>
          </a:p>
        </p:txBody>
      </p:sp>
      <p:pic>
        <p:nvPicPr>
          <p:cNvPr id="5" name="Graphic 4">
            <a:extLst>
              <a:ext uri="{FF2B5EF4-FFF2-40B4-BE49-F238E27FC236}">
                <a16:creationId xmlns:a16="http://schemas.microsoft.com/office/drawing/2014/main" id="{97503836-1E64-4842-9A26-FE9E3077A6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47334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Only Seashell">
    <p:bg>
      <p:bgPr>
        <a:gradFill>
          <a:gsLst>
            <a:gs pos="0">
              <a:srgbClr val="3C4857"/>
            </a:gs>
            <a:gs pos="100000">
              <a:srgbClr val="1D2024"/>
            </a:gs>
          </a:gsLst>
          <a:lin ang="2700000" scaled="1"/>
        </a:gradFill>
        <a:effectLst/>
      </p:bgPr>
    </p:bg>
    <p:spTree>
      <p:nvGrpSpPr>
        <p:cNvPr id="1" name=""/>
        <p:cNvGrpSpPr/>
        <p:nvPr/>
      </p:nvGrpSpPr>
      <p:grpSpPr>
        <a:xfrm>
          <a:off x="0" y="0"/>
          <a:ext cx="0" cy="0"/>
          <a:chOff x="0" y="0"/>
          <a:chExt cx="0" cy="0"/>
        </a:xfrm>
      </p:grpSpPr>
      <p:sp>
        <p:nvSpPr>
          <p:cNvPr id="8" name="Graphic 5">
            <a:extLst>
              <a:ext uri="{FF2B5EF4-FFF2-40B4-BE49-F238E27FC236}">
                <a16:creationId xmlns:a16="http://schemas.microsoft.com/office/drawing/2014/main" id="{4426409D-282C-CA41-BFFD-ADE2A84D2310}"/>
              </a:ext>
            </a:extLst>
          </p:cNvPr>
          <p:cNvSpPr/>
          <p:nvPr userDrawn="1"/>
        </p:nvSpPr>
        <p:spPr>
          <a:xfrm>
            <a:off x="7973182" y="-1891675"/>
            <a:ext cx="13459527" cy="15023667"/>
          </a:xfrm>
          <a:custGeom>
            <a:avLst/>
            <a:gdLst>
              <a:gd name="connsiteX0" fmla="*/ 8138639 w 8149731"/>
              <a:gd name="connsiteY0" fmla="*/ 3007983 h 9096817"/>
              <a:gd name="connsiteX1" fmla="*/ 4605491 w 8149731"/>
              <a:gd name="connsiteY1" fmla="*/ 11294 h 9096817"/>
              <a:gd name="connsiteX2" fmla="*/ 3352793 w 8149731"/>
              <a:gd name="connsiteY2" fmla="*/ 375758 h 9096817"/>
              <a:gd name="connsiteX3" fmla="*/ 2930116 w 8149731"/>
              <a:gd name="connsiteY3" fmla="*/ 639448 h 9096817"/>
              <a:gd name="connsiteX4" fmla="*/ 2033409 w 8149731"/>
              <a:gd name="connsiteY4" fmla="*/ 1317023 h 9096817"/>
              <a:gd name="connsiteX5" fmla="*/ 1295095 w 8149731"/>
              <a:gd name="connsiteY5" fmla="*/ 2119401 h 9096817"/>
              <a:gd name="connsiteX6" fmla="*/ 692914 w 8149731"/>
              <a:gd name="connsiteY6" fmla="*/ 3064662 h 9096817"/>
              <a:gd name="connsiteX7" fmla="*/ 271862 w 8149731"/>
              <a:gd name="connsiteY7" fmla="*/ 4121045 h 9096817"/>
              <a:gd name="connsiteX8" fmla="*/ 55077 w 8149731"/>
              <a:gd name="connsiteY8" fmla="*/ 5216163 h 9096817"/>
              <a:gd name="connsiteX9" fmla="*/ 1 w 8149731"/>
              <a:gd name="connsiteY9" fmla="*/ 5818844 h 9096817"/>
              <a:gd name="connsiteX10" fmla="*/ 3279449 w 8149731"/>
              <a:gd name="connsiteY10" fmla="*/ 9096817 h 9096817"/>
              <a:gd name="connsiteX11" fmla="*/ 6295493 w 8149731"/>
              <a:gd name="connsiteY11" fmla="*/ 7095240 h 9096817"/>
              <a:gd name="connsiteX12" fmla="*/ 6541034 w 8149731"/>
              <a:gd name="connsiteY12" fmla="*/ 6101697 h 9096817"/>
              <a:gd name="connsiteX13" fmla="*/ 8138639 w 8149731"/>
              <a:gd name="connsiteY13" fmla="*/ 3007983 h 9096817"/>
              <a:gd name="connsiteX14" fmla="*/ 2931943 w 8149731"/>
              <a:gd name="connsiteY14" fmla="*/ 642360 h 9096817"/>
              <a:gd name="connsiteX15" fmla="*/ 7339227 w 8149731"/>
              <a:gd name="connsiteY15" fmla="*/ 2066257 h 9096817"/>
              <a:gd name="connsiteX16" fmla="*/ 7288549 w 8149731"/>
              <a:gd name="connsiteY16" fmla="*/ 5148514 h 9096817"/>
              <a:gd name="connsiteX17" fmla="*/ 6544688 w 8149731"/>
              <a:gd name="connsiteY17" fmla="*/ 6054770 h 9096817"/>
              <a:gd name="connsiteX18" fmla="*/ 6546785 w 8149731"/>
              <a:gd name="connsiteY18" fmla="*/ 6022266 h 9096817"/>
              <a:gd name="connsiteX19" fmla="*/ 6148588 w 8149731"/>
              <a:gd name="connsiteY19" fmla="*/ 1400600 h 9096817"/>
              <a:gd name="connsiteX20" fmla="*/ 2628282 w 8149731"/>
              <a:gd name="connsiteY20" fmla="*/ 949862 h 9096817"/>
              <a:gd name="connsiteX21" fmla="*/ 2516845 w 8149731"/>
              <a:gd name="connsiteY21" fmla="*/ 1005729 h 9096817"/>
              <a:gd name="connsiteX22" fmla="*/ 2931943 w 8149731"/>
              <a:gd name="connsiteY22" fmla="*/ 642360 h 9096817"/>
              <a:gd name="connsiteX23" fmla="*/ 6470599 w 8149731"/>
              <a:gd name="connsiteY23" fmla="*/ 6104609 h 9096817"/>
              <a:gd name="connsiteX24" fmla="*/ 6489138 w 8149731"/>
              <a:gd name="connsiteY24" fmla="*/ 6075423 h 9096817"/>
              <a:gd name="connsiteX25" fmla="*/ 6482372 w 8149731"/>
              <a:gd name="connsiteY25" fmla="*/ 6091743 h 9096817"/>
              <a:gd name="connsiteX26" fmla="*/ 6477906 w 8149731"/>
              <a:gd name="connsiteY26" fmla="*/ 6101562 h 9096817"/>
              <a:gd name="connsiteX27" fmla="*/ 6472155 w 8149731"/>
              <a:gd name="connsiteY27" fmla="*/ 6114564 h 9096817"/>
              <a:gd name="connsiteX28" fmla="*/ 6455578 w 8149731"/>
              <a:gd name="connsiteY28" fmla="*/ 6128107 h 9096817"/>
              <a:gd name="connsiteX29" fmla="*/ 6459232 w 8149731"/>
              <a:gd name="connsiteY29" fmla="*/ 6122419 h 9096817"/>
              <a:gd name="connsiteX30" fmla="*/ 6456593 w 8149731"/>
              <a:gd name="connsiteY30" fmla="*/ 6120049 h 9096817"/>
              <a:gd name="connsiteX31" fmla="*/ 6433453 w 8149731"/>
              <a:gd name="connsiteY31" fmla="*/ 6145104 h 9096817"/>
              <a:gd name="connsiteX32" fmla="*/ 6374318 w 8149731"/>
              <a:gd name="connsiteY32" fmla="*/ 6190000 h 9096817"/>
              <a:gd name="connsiteX33" fmla="*/ 1965159 w 8149731"/>
              <a:gd name="connsiteY33" fmla="*/ 4783520 h 9096817"/>
              <a:gd name="connsiteX34" fmla="*/ 1612356 w 8149731"/>
              <a:gd name="connsiteY34" fmla="*/ 2997419 h 9096817"/>
              <a:gd name="connsiteX35" fmla="*/ 6094392 w 8149731"/>
              <a:gd name="connsiteY35" fmla="*/ 4150692 h 9096817"/>
              <a:gd name="connsiteX36" fmla="*/ 6549559 w 8149731"/>
              <a:gd name="connsiteY36" fmla="*/ 5819115 h 9096817"/>
              <a:gd name="connsiteX37" fmla="*/ 6548747 w 8149731"/>
              <a:gd name="connsiteY37" fmla="*/ 5892114 h 9096817"/>
              <a:gd name="connsiteX38" fmla="*/ 6535215 w 8149731"/>
              <a:gd name="connsiteY38" fmla="*/ 5960575 h 9096817"/>
              <a:gd name="connsiteX39" fmla="*/ 6497190 w 8149731"/>
              <a:gd name="connsiteY39" fmla="*/ 6055718 h 9096817"/>
              <a:gd name="connsiteX40" fmla="*/ 6456526 w 8149731"/>
              <a:gd name="connsiteY40" fmla="*/ 6120049 h 9096817"/>
              <a:gd name="connsiteX41" fmla="*/ 2621516 w 8149731"/>
              <a:gd name="connsiteY41" fmla="*/ 2099628 h 9096817"/>
              <a:gd name="connsiteX42" fmla="*/ 6525486 w 8149731"/>
              <a:gd name="connsiteY42" fmla="*/ 4584602 h 9096817"/>
              <a:gd name="connsiteX43" fmla="*/ 6552604 w 8149731"/>
              <a:gd name="connsiteY43" fmla="*/ 5871460 h 9096817"/>
              <a:gd name="connsiteX44" fmla="*/ 6553010 w 8149731"/>
              <a:gd name="connsiteY44" fmla="*/ 5819250 h 9096817"/>
              <a:gd name="connsiteX45" fmla="*/ 3278129 w 8149731"/>
              <a:gd name="connsiteY45" fmla="*/ 2539009 h 9096817"/>
              <a:gd name="connsiteX46" fmla="*/ 1612694 w 8149731"/>
              <a:gd name="connsiteY46" fmla="*/ 2993491 h 9096817"/>
              <a:gd name="connsiteX47" fmla="*/ 1706472 w 8149731"/>
              <a:gd name="connsiteY47" fmla="*/ 2454261 h 9096817"/>
              <a:gd name="connsiteX48" fmla="*/ 2621516 w 8149731"/>
              <a:gd name="connsiteY48" fmla="*/ 2099628 h 9096817"/>
              <a:gd name="connsiteX49" fmla="*/ 1707690 w 8149731"/>
              <a:gd name="connsiteY49" fmla="*/ 2449453 h 9096817"/>
              <a:gd name="connsiteX50" fmla="*/ 1749640 w 8149731"/>
              <a:gd name="connsiteY50" fmla="*/ 2303320 h 9096817"/>
              <a:gd name="connsiteX51" fmla="*/ 1893486 w 8149731"/>
              <a:gd name="connsiteY51" fmla="*/ 1925054 h 9096817"/>
              <a:gd name="connsiteX52" fmla="*/ 2137065 w 8149731"/>
              <a:gd name="connsiteY52" fmla="*/ 1803163 h 9096817"/>
              <a:gd name="connsiteX53" fmla="*/ 6463522 w 8149731"/>
              <a:gd name="connsiteY53" fmla="*/ 3442827 h 9096817"/>
              <a:gd name="connsiteX54" fmla="*/ 6551521 w 8149731"/>
              <a:gd name="connsiteY54" fmla="*/ 5917643 h 9096817"/>
              <a:gd name="connsiteX55" fmla="*/ 6552130 w 8149731"/>
              <a:gd name="connsiteY55" fmla="*/ 5892452 h 9096817"/>
              <a:gd name="connsiteX56" fmla="*/ 6552807 w 8149731"/>
              <a:gd name="connsiteY56" fmla="*/ 5888999 h 9096817"/>
              <a:gd name="connsiteX57" fmla="*/ 3925473 w 8149731"/>
              <a:gd name="connsiteY57" fmla="*/ 2071979 h 9096817"/>
              <a:gd name="connsiteX58" fmla="*/ 1707690 w 8149731"/>
              <a:gd name="connsiteY58" fmla="*/ 2449453 h 9096817"/>
              <a:gd name="connsiteX59" fmla="*/ 1609108 w 8149731"/>
              <a:gd name="connsiteY59" fmla="*/ 2995387 h 9096817"/>
              <a:gd name="connsiteX60" fmla="*/ 1162548 w 8149731"/>
              <a:gd name="connsiteY60" fmla="*/ 3313250 h 9096817"/>
              <a:gd name="connsiteX61" fmla="*/ 1177636 w 8149731"/>
              <a:gd name="connsiteY61" fmla="*/ 3160752 h 9096817"/>
              <a:gd name="connsiteX62" fmla="*/ 1249356 w 8149731"/>
              <a:gd name="connsiteY62" fmla="*/ 2770025 h 9096817"/>
              <a:gd name="connsiteX63" fmla="*/ 1471892 w 8149731"/>
              <a:gd name="connsiteY63" fmla="*/ 2602155 h 9096817"/>
              <a:gd name="connsiteX64" fmla="*/ 1702345 w 8149731"/>
              <a:gd name="connsiteY64" fmla="*/ 2456564 h 9096817"/>
              <a:gd name="connsiteX65" fmla="*/ 1609108 w 8149731"/>
              <a:gd name="connsiteY65" fmla="*/ 2995387 h 9096817"/>
              <a:gd name="connsiteX66" fmla="*/ 1609108 w 8149731"/>
              <a:gd name="connsiteY66" fmla="*/ 2999518 h 9096817"/>
              <a:gd name="connsiteX67" fmla="*/ 4589597 w 8149731"/>
              <a:gd name="connsiteY67" fmla="*/ 6547180 h 9096817"/>
              <a:gd name="connsiteX68" fmla="*/ 6357673 w 8149731"/>
              <a:gd name="connsiteY68" fmla="*/ 6202528 h 9096817"/>
              <a:gd name="connsiteX69" fmla="*/ 1785121 w 8149731"/>
              <a:gd name="connsiteY69" fmla="*/ 5493390 h 9096817"/>
              <a:gd name="connsiteX70" fmla="*/ 1162751 w 8149731"/>
              <a:gd name="connsiteY70" fmla="*/ 3317787 h 9096817"/>
              <a:gd name="connsiteX71" fmla="*/ 1608770 w 8149731"/>
              <a:gd name="connsiteY71" fmla="*/ 2999518 h 9096817"/>
              <a:gd name="connsiteX72" fmla="*/ 1263362 w 8149731"/>
              <a:gd name="connsiteY72" fmla="*/ 4414260 h 9096817"/>
              <a:gd name="connsiteX73" fmla="*/ 5279324 w 8149731"/>
              <a:gd name="connsiteY73" fmla="*/ 6724314 h 9096817"/>
              <a:gd name="connsiteX74" fmla="*/ 6376077 w 8149731"/>
              <a:gd name="connsiteY74" fmla="*/ 6192912 h 9096817"/>
              <a:gd name="connsiteX75" fmla="*/ 6393736 w 8149731"/>
              <a:gd name="connsiteY75" fmla="*/ 6183703 h 9096817"/>
              <a:gd name="connsiteX76" fmla="*/ 6400096 w 8149731"/>
              <a:gd name="connsiteY76" fmla="*/ 6180384 h 9096817"/>
              <a:gd name="connsiteX77" fmla="*/ 1773727 w 8149731"/>
              <a:gd name="connsiteY77" fmla="*/ 6273942 h 9096817"/>
              <a:gd name="connsiteX78" fmla="*/ 773904 w 8149731"/>
              <a:gd name="connsiteY78" fmla="*/ 4105877 h 9096817"/>
              <a:gd name="connsiteX79" fmla="*/ 773904 w 8149731"/>
              <a:gd name="connsiteY79" fmla="*/ 3707566 h 9096817"/>
              <a:gd name="connsiteX80" fmla="*/ 962136 w 8149731"/>
              <a:gd name="connsiteY80" fmla="*/ 3502790 h 9096817"/>
              <a:gd name="connsiteX81" fmla="*/ 1158894 w 8149731"/>
              <a:gd name="connsiteY81" fmla="*/ 3321038 h 9096817"/>
              <a:gd name="connsiteX82" fmla="*/ 1263362 w 8149731"/>
              <a:gd name="connsiteY82" fmla="*/ 4414260 h 9096817"/>
              <a:gd name="connsiteX83" fmla="*/ 6392924 w 8149731"/>
              <a:gd name="connsiteY83" fmla="*/ 6180317 h 9096817"/>
              <a:gd name="connsiteX84" fmla="*/ 6418906 w 8149731"/>
              <a:gd name="connsiteY84" fmla="*/ 6160611 h 9096817"/>
              <a:gd name="connsiteX85" fmla="*/ 6407472 w 8149731"/>
              <a:gd name="connsiteY85" fmla="*/ 6172597 h 9096817"/>
              <a:gd name="connsiteX86" fmla="*/ 6435686 w 8149731"/>
              <a:gd name="connsiteY86" fmla="*/ 6147610 h 9096817"/>
              <a:gd name="connsiteX87" fmla="*/ 6441234 w 8149731"/>
              <a:gd name="connsiteY87" fmla="*/ 6143276 h 9096817"/>
              <a:gd name="connsiteX88" fmla="*/ 6429529 w 8149731"/>
              <a:gd name="connsiteY88" fmla="*/ 6160814 h 9096817"/>
              <a:gd name="connsiteX89" fmla="*/ 6416944 w 8149731"/>
              <a:gd name="connsiteY89" fmla="*/ 6167586 h 9096817"/>
              <a:gd name="connsiteX90" fmla="*/ 6435686 w 8149731"/>
              <a:gd name="connsiteY90" fmla="*/ 6147610 h 9096817"/>
              <a:gd name="connsiteX91" fmla="*/ 6548274 w 8149731"/>
              <a:gd name="connsiteY91" fmla="*/ 5913241 h 9096817"/>
              <a:gd name="connsiteX92" fmla="*/ 6547800 w 8149731"/>
              <a:gd name="connsiteY92" fmla="*/ 5927597 h 9096817"/>
              <a:gd name="connsiteX93" fmla="*/ 6542861 w 8149731"/>
              <a:gd name="connsiteY93" fmla="*/ 5941141 h 9096817"/>
              <a:gd name="connsiteX94" fmla="*/ 6548274 w 8149731"/>
              <a:gd name="connsiteY94" fmla="*/ 5913241 h 9096817"/>
              <a:gd name="connsiteX95" fmla="*/ 6531156 w 8149731"/>
              <a:gd name="connsiteY95" fmla="*/ 5980958 h 9096817"/>
              <a:gd name="connsiteX96" fmla="*/ 6524389 w 8149731"/>
              <a:gd name="connsiteY96" fmla="*/ 6010686 h 9096817"/>
              <a:gd name="connsiteX97" fmla="*/ 6516067 w 8149731"/>
              <a:gd name="connsiteY97" fmla="*/ 6024229 h 9096817"/>
              <a:gd name="connsiteX98" fmla="*/ 6508286 w 8149731"/>
              <a:gd name="connsiteY98" fmla="*/ 6037028 h 9096817"/>
              <a:gd name="connsiteX99" fmla="*/ 6531156 w 8149731"/>
              <a:gd name="connsiteY99" fmla="*/ 5981094 h 9096817"/>
              <a:gd name="connsiteX100" fmla="*/ 6538666 w 8149731"/>
              <a:gd name="connsiteY100" fmla="*/ 5961388 h 9096817"/>
              <a:gd name="connsiteX101" fmla="*/ 6541913 w 8149731"/>
              <a:gd name="connsiteY101" fmla="*/ 5952856 h 9096817"/>
              <a:gd name="connsiteX102" fmla="*/ 6547462 w 8149731"/>
              <a:gd name="connsiteY102" fmla="*/ 5938161 h 9096817"/>
              <a:gd name="connsiteX103" fmla="*/ 6545973 w 8149731"/>
              <a:gd name="connsiteY103" fmla="*/ 5974593 h 9096817"/>
              <a:gd name="connsiteX104" fmla="*/ 6530140 w 8149731"/>
              <a:gd name="connsiteY104" fmla="*/ 6001679 h 9096817"/>
              <a:gd name="connsiteX105" fmla="*/ 6538666 w 8149731"/>
              <a:gd name="connsiteY105" fmla="*/ 5961523 h 9096817"/>
              <a:gd name="connsiteX106" fmla="*/ 6549289 w 8149731"/>
              <a:gd name="connsiteY106" fmla="*/ 5975609 h 9096817"/>
              <a:gd name="connsiteX107" fmla="*/ 5356965 w 8149731"/>
              <a:gd name="connsiteY107" fmla="*/ 1493203 h 9096817"/>
              <a:gd name="connsiteX108" fmla="*/ 2164197 w 8149731"/>
              <a:gd name="connsiteY108" fmla="*/ 1440945 h 9096817"/>
              <a:gd name="connsiteX109" fmla="*/ 2345460 w 8149731"/>
              <a:gd name="connsiteY109" fmla="*/ 1198316 h 9096817"/>
              <a:gd name="connsiteX110" fmla="*/ 2509470 w 8149731"/>
              <a:gd name="connsiteY110" fmla="*/ 1013313 h 9096817"/>
              <a:gd name="connsiteX111" fmla="*/ 2629770 w 8149731"/>
              <a:gd name="connsiteY111" fmla="*/ 952774 h 9096817"/>
              <a:gd name="connsiteX112" fmla="*/ 6995105 w 8149731"/>
              <a:gd name="connsiteY112" fmla="*/ 2493219 h 9096817"/>
              <a:gd name="connsiteX113" fmla="*/ 6547326 w 8149731"/>
              <a:gd name="connsiteY113" fmla="*/ 6016442 h 9096817"/>
              <a:gd name="connsiteX114" fmla="*/ 6549559 w 8149731"/>
              <a:gd name="connsiteY114" fmla="*/ 5975744 h 9096817"/>
              <a:gd name="connsiteX115" fmla="*/ 2934108 w 8149731"/>
              <a:gd name="connsiteY115" fmla="*/ 1148950 h 9096817"/>
              <a:gd name="connsiteX116" fmla="*/ 6894493 w 8149731"/>
              <a:gd name="connsiteY116" fmla="*/ 3542831 h 9096817"/>
              <a:gd name="connsiteX117" fmla="*/ 6549559 w 8149731"/>
              <a:gd name="connsiteY117" fmla="*/ 5968363 h 9096817"/>
              <a:gd name="connsiteX118" fmla="*/ 6551115 w 8149731"/>
              <a:gd name="connsiteY118" fmla="*/ 5928275 h 9096817"/>
              <a:gd name="connsiteX119" fmla="*/ 4619767 w 8149731"/>
              <a:gd name="connsiteY119" fmla="*/ 1715470 h 9096817"/>
              <a:gd name="connsiteX120" fmla="*/ 2135779 w 8149731"/>
              <a:gd name="connsiteY120" fmla="*/ 1800048 h 9096817"/>
              <a:gd name="connsiteX121" fmla="*/ 1895855 w 8149731"/>
              <a:gd name="connsiteY121" fmla="*/ 1919839 h 9096817"/>
              <a:gd name="connsiteX122" fmla="*/ 2160137 w 8149731"/>
              <a:gd name="connsiteY122" fmla="*/ 1447108 h 9096817"/>
              <a:gd name="connsiteX123" fmla="*/ 2934108 w 8149731"/>
              <a:gd name="connsiteY123" fmla="*/ 1148950 h 9096817"/>
              <a:gd name="connsiteX124" fmla="*/ 1890847 w 8149731"/>
              <a:gd name="connsiteY124" fmla="*/ 1922616 h 9096817"/>
              <a:gd name="connsiteX125" fmla="*/ 1434408 w 8149731"/>
              <a:gd name="connsiteY125" fmla="*/ 2227748 h 9096817"/>
              <a:gd name="connsiteX126" fmla="*/ 1564655 w 8149731"/>
              <a:gd name="connsiteY126" fmla="*/ 1966225 h 9096817"/>
              <a:gd name="connsiteX127" fmla="*/ 1693549 w 8149731"/>
              <a:gd name="connsiteY127" fmla="*/ 1753256 h 9096817"/>
              <a:gd name="connsiteX128" fmla="*/ 1795040 w 8149731"/>
              <a:gd name="connsiteY128" fmla="*/ 1676397 h 9096817"/>
              <a:gd name="connsiteX129" fmla="*/ 2153168 w 8149731"/>
              <a:gd name="connsiteY129" fmla="*/ 1450629 h 9096817"/>
              <a:gd name="connsiteX130" fmla="*/ 1890847 w 8149731"/>
              <a:gd name="connsiteY130" fmla="*/ 1922616 h 9096817"/>
              <a:gd name="connsiteX131" fmla="*/ 1888547 w 8149731"/>
              <a:gd name="connsiteY131" fmla="*/ 1927762 h 9096817"/>
              <a:gd name="connsiteX132" fmla="*/ 1746460 w 8149731"/>
              <a:gd name="connsiteY132" fmla="*/ 2302305 h 9096817"/>
              <a:gd name="connsiteX133" fmla="*/ 1703630 w 8149731"/>
              <a:gd name="connsiteY133" fmla="*/ 2451824 h 9096817"/>
              <a:gd name="connsiteX134" fmla="*/ 1470066 w 8149731"/>
              <a:gd name="connsiteY134" fmla="*/ 2599243 h 9096817"/>
              <a:gd name="connsiteX135" fmla="*/ 1250777 w 8149731"/>
              <a:gd name="connsiteY135" fmla="*/ 2764405 h 9096817"/>
              <a:gd name="connsiteX136" fmla="*/ 1431702 w 8149731"/>
              <a:gd name="connsiteY136" fmla="*/ 2234520 h 9096817"/>
              <a:gd name="connsiteX137" fmla="*/ 1888547 w 8149731"/>
              <a:gd name="connsiteY137" fmla="*/ 1927762 h 9096817"/>
              <a:gd name="connsiteX138" fmla="*/ 1246379 w 8149731"/>
              <a:gd name="connsiteY138" fmla="*/ 2767994 h 9096817"/>
              <a:gd name="connsiteX139" fmla="*/ 857127 w 8149731"/>
              <a:gd name="connsiteY139" fmla="*/ 3146870 h 9096817"/>
              <a:gd name="connsiteX140" fmla="*/ 939267 w 8149731"/>
              <a:gd name="connsiteY140" fmla="*/ 2861037 h 9096817"/>
              <a:gd name="connsiteX141" fmla="*/ 1034804 w 8149731"/>
              <a:gd name="connsiteY141" fmla="*/ 2611568 h 9096817"/>
              <a:gd name="connsiteX142" fmla="*/ 1112479 w 8149731"/>
              <a:gd name="connsiteY142" fmla="*/ 2527328 h 9096817"/>
              <a:gd name="connsiteX143" fmla="*/ 1425951 w 8149731"/>
              <a:gd name="connsiteY143" fmla="*/ 2239057 h 9096817"/>
              <a:gd name="connsiteX144" fmla="*/ 1246379 w 8149731"/>
              <a:gd name="connsiteY144" fmla="*/ 2767994 h 9096817"/>
              <a:gd name="connsiteX145" fmla="*/ 1245026 w 8149731"/>
              <a:gd name="connsiteY145" fmla="*/ 2773479 h 9096817"/>
              <a:gd name="connsiteX146" fmla="*/ 1174456 w 8149731"/>
              <a:gd name="connsiteY146" fmla="*/ 3160346 h 9096817"/>
              <a:gd name="connsiteX147" fmla="*/ 1159165 w 8149731"/>
              <a:gd name="connsiteY147" fmla="*/ 3316095 h 9096817"/>
              <a:gd name="connsiteX148" fmla="*/ 959633 w 8149731"/>
              <a:gd name="connsiteY148" fmla="*/ 3500149 h 9096817"/>
              <a:gd name="connsiteX149" fmla="*/ 774175 w 8149731"/>
              <a:gd name="connsiteY149" fmla="*/ 3701675 h 9096817"/>
              <a:gd name="connsiteX150" fmla="*/ 855368 w 8149731"/>
              <a:gd name="connsiteY150" fmla="*/ 3153777 h 9096817"/>
              <a:gd name="connsiteX151" fmla="*/ 1244958 w 8149731"/>
              <a:gd name="connsiteY151" fmla="*/ 2773479 h 9096817"/>
              <a:gd name="connsiteX152" fmla="*/ 770521 w 8149731"/>
              <a:gd name="connsiteY152" fmla="*/ 3706212 h 9096817"/>
              <a:gd name="connsiteX153" fmla="*/ 447035 w 8149731"/>
              <a:gd name="connsiteY153" fmla="*/ 4164113 h 9096817"/>
              <a:gd name="connsiteX154" fmla="*/ 476874 w 8149731"/>
              <a:gd name="connsiteY154" fmla="*/ 3858033 h 9096817"/>
              <a:gd name="connsiteX155" fmla="*/ 521191 w 8149731"/>
              <a:gd name="connsiteY155" fmla="*/ 3616283 h 9096817"/>
              <a:gd name="connsiteX156" fmla="*/ 594468 w 8149731"/>
              <a:gd name="connsiteY156" fmla="*/ 3499404 h 9096817"/>
              <a:gd name="connsiteX157" fmla="*/ 850632 w 8149731"/>
              <a:gd name="connsiteY157" fmla="*/ 3159533 h 9096817"/>
              <a:gd name="connsiteX158" fmla="*/ 770521 w 8149731"/>
              <a:gd name="connsiteY158" fmla="*/ 3706212 h 9096817"/>
              <a:gd name="connsiteX159" fmla="*/ 770521 w 8149731"/>
              <a:gd name="connsiteY159" fmla="*/ 3711832 h 9096817"/>
              <a:gd name="connsiteX160" fmla="*/ 770521 w 8149731"/>
              <a:gd name="connsiteY160" fmla="*/ 4106080 h 9096817"/>
              <a:gd name="connsiteX161" fmla="*/ 4234027 w 8149731"/>
              <a:gd name="connsiteY161" fmla="*/ 7184423 h 9096817"/>
              <a:gd name="connsiteX162" fmla="*/ 6409569 w 8149731"/>
              <a:gd name="connsiteY162" fmla="*/ 6175374 h 9096817"/>
              <a:gd name="connsiteX163" fmla="*/ 6425469 w 8149731"/>
              <a:gd name="connsiteY163" fmla="*/ 6166841 h 9096817"/>
              <a:gd name="connsiteX164" fmla="*/ 1878215 w 8149731"/>
              <a:gd name="connsiteY164" fmla="*/ 7037952 h 9096817"/>
              <a:gd name="connsiteX165" fmla="*/ 446562 w 8149731"/>
              <a:gd name="connsiteY165" fmla="*/ 4171765 h 9096817"/>
              <a:gd name="connsiteX166" fmla="*/ 770183 w 8149731"/>
              <a:gd name="connsiteY166" fmla="*/ 3711832 h 9096817"/>
              <a:gd name="connsiteX167" fmla="*/ 535197 w 8149731"/>
              <a:gd name="connsiteY167" fmla="*/ 5113031 h 9096817"/>
              <a:gd name="connsiteX168" fmla="*/ 4495664 w 8149731"/>
              <a:gd name="connsiteY168" fmla="*/ 7515627 h 9096817"/>
              <a:gd name="connsiteX169" fmla="*/ 6431897 w 8149731"/>
              <a:gd name="connsiteY169" fmla="*/ 6163387 h 9096817"/>
              <a:gd name="connsiteX170" fmla="*/ 6456255 w 8149731"/>
              <a:gd name="connsiteY170" fmla="*/ 6149844 h 9096817"/>
              <a:gd name="connsiteX171" fmla="*/ 2318463 w 8149731"/>
              <a:gd name="connsiteY171" fmla="*/ 7851367 h 9096817"/>
              <a:gd name="connsiteX172" fmla="*/ 208667 w 8149731"/>
              <a:gd name="connsiteY172" fmla="*/ 4910963 h 9096817"/>
              <a:gd name="connsiteX173" fmla="*/ 208261 w 8149731"/>
              <a:gd name="connsiteY173" fmla="*/ 4675647 h 9096817"/>
              <a:gd name="connsiteX174" fmla="*/ 260630 w 8149731"/>
              <a:gd name="connsiteY174" fmla="*/ 4544005 h 9096817"/>
              <a:gd name="connsiteX175" fmla="*/ 442976 w 8149731"/>
              <a:gd name="connsiteY175" fmla="*/ 4177792 h 9096817"/>
              <a:gd name="connsiteX176" fmla="*/ 535197 w 8149731"/>
              <a:gd name="connsiteY176" fmla="*/ 5113031 h 9096817"/>
              <a:gd name="connsiteX177" fmla="*/ 6435957 w 8149731"/>
              <a:gd name="connsiteY177" fmla="*/ 6157293 h 9096817"/>
              <a:gd name="connsiteX178" fmla="*/ 6449489 w 8149731"/>
              <a:gd name="connsiteY178" fmla="*/ 6136978 h 9096817"/>
              <a:gd name="connsiteX179" fmla="*/ 6469043 w 8149731"/>
              <a:gd name="connsiteY179" fmla="*/ 6121538 h 9096817"/>
              <a:gd name="connsiteX180" fmla="*/ 6458420 w 8149731"/>
              <a:gd name="connsiteY180" fmla="*/ 6145172 h 9096817"/>
              <a:gd name="connsiteX181" fmla="*/ 6435957 w 8149731"/>
              <a:gd name="connsiteY181" fmla="*/ 6157293 h 9096817"/>
              <a:gd name="connsiteX182" fmla="*/ 6474862 w 8149731"/>
              <a:gd name="connsiteY182" fmla="*/ 6116663 h 9096817"/>
              <a:gd name="connsiteX183" fmla="*/ 6505647 w 8149731"/>
              <a:gd name="connsiteY183" fmla="*/ 6091676 h 9096817"/>
              <a:gd name="connsiteX184" fmla="*/ 6497798 w 8149731"/>
              <a:gd name="connsiteY184" fmla="*/ 6122825 h 9096817"/>
              <a:gd name="connsiteX185" fmla="*/ 6463495 w 8149731"/>
              <a:gd name="connsiteY185" fmla="*/ 6142124 h 9096817"/>
              <a:gd name="connsiteX186" fmla="*/ 6475132 w 8149731"/>
              <a:gd name="connsiteY186" fmla="*/ 6116730 h 9096817"/>
              <a:gd name="connsiteX187" fmla="*/ 6477839 w 8149731"/>
              <a:gd name="connsiteY187" fmla="*/ 6109891 h 9096817"/>
              <a:gd name="connsiteX188" fmla="*/ 6484943 w 8149731"/>
              <a:gd name="connsiteY188" fmla="*/ 6093436 h 9096817"/>
              <a:gd name="connsiteX189" fmla="*/ 6492521 w 8149731"/>
              <a:gd name="connsiteY189" fmla="*/ 6084904 h 9096817"/>
              <a:gd name="connsiteX190" fmla="*/ 6512819 w 8149731"/>
              <a:gd name="connsiteY190" fmla="*/ 6061677 h 9096817"/>
              <a:gd name="connsiteX191" fmla="*/ 6506865 w 8149731"/>
              <a:gd name="connsiteY191" fmla="*/ 6086123 h 9096817"/>
              <a:gd name="connsiteX192" fmla="*/ 6477839 w 8149731"/>
              <a:gd name="connsiteY192" fmla="*/ 6110027 h 9096817"/>
              <a:gd name="connsiteX193" fmla="*/ 6490018 w 8149731"/>
              <a:gd name="connsiteY193" fmla="*/ 6082805 h 9096817"/>
              <a:gd name="connsiteX194" fmla="*/ 6489206 w 8149731"/>
              <a:gd name="connsiteY194" fmla="*/ 6083685 h 9096817"/>
              <a:gd name="connsiteX195" fmla="*/ 6500370 w 8149731"/>
              <a:gd name="connsiteY195" fmla="*/ 6057275 h 9096817"/>
              <a:gd name="connsiteX196" fmla="*/ 6519247 w 8149731"/>
              <a:gd name="connsiteY196" fmla="*/ 6026464 h 9096817"/>
              <a:gd name="connsiteX197" fmla="*/ 6522292 w 8149731"/>
              <a:gd name="connsiteY197" fmla="*/ 6021318 h 9096817"/>
              <a:gd name="connsiteX198" fmla="*/ 6514646 w 8149731"/>
              <a:gd name="connsiteY198" fmla="*/ 6054702 h 9096817"/>
              <a:gd name="connsiteX199" fmla="*/ 6490018 w 8149731"/>
              <a:gd name="connsiteY199" fmla="*/ 6082805 h 9096817"/>
              <a:gd name="connsiteX200" fmla="*/ 6527840 w 8149731"/>
              <a:gd name="connsiteY200" fmla="*/ 6012108 h 9096817"/>
              <a:gd name="connsiteX201" fmla="*/ 6545635 w 8149731"/>
              <a:gd name="connsiteY201" fmla="*/ 5982042 h 9096817"/>
              <a:gd name="connsiteX202" fmla="*/ 6543469 w 8149731"/>
              <a:gd name="connsiteY202" fmla="*/ 6020911 h 9096817"/>
              <a:gd name="connsiteX203" fmla="*/ 6519382 w 8149731"/>
              <a:gd name="connsiteY203" fmla="*/ 6049217 h 9096817"/>
              <a:gd name="connsiteX204" fmla="*/ 6527840 w 8149731"/>
              <a:gd name="connsiteY204" fmla="*/ 6012108 h 9096817"/>
              <a:gd name="connsiteX205" fmla="*/ 2409602 w 8149731"/>
              <a:gd name="connsiteY205" fmla="*/ 977694 h 9096817"/>
              <a:gd name="connsiteX206" fmla="*/ 2912863 w 8149731"/>
              <a:gd name="connsiteY206" fmla="*/ 652653 h 9096817"/>
              <a:gd name="connsiteX207" fmla="*/ 2507372 w 8149731"/>
              <a:gd name="connsiteY207" fmla="*/ 1011078 h 9096817"/>
              <a:gd name="connsiteX208" fmla="*/ 2050595 w 8149731"/>
              <a:gd name="connsiteY208" fmla="*/ 1304157 h 9096817"/>
              <a:gd name="connsiteX209" fmla="*/ 2409602 w 8149731"/>
              <a:gd name="connsiteY209" fmla="*/ 977694 h 9096817"/>
              <a:gd name="connsiteX210" fmla="*/ 2035709 w 8149731"/>
              <a:gd name="connsiteY210" fmla="*/ 1319529 h 9096817"/>
              <a:gd name="connsiteX211" fmla="*/ 2499997 w 8149731"/>
              <a:gd name="connsiteY211" fmla="*/ 1018527 h 9096817"/>
              <a:gd name="connsiteX212" fmla="*/ 2342889 w 8149731"/>
              <a:gd name="connsiteY212" fmla="*/ 1196284 h 9096817"/>
              <a:gd name="connsiteX213" fmla="*/ 2157769 w 8149731"/>
              <a:gd name="connsiteY213" fmla="*/ 1444534 h 9096817"/>
              <a:gd name="connsiteX214" fmla="*/ 1793619 w 8149731"/>
              <a:gd name="connsiteY214" fmla="*/ 1673621 h 9096817"/>
              <a:gd name="connsiteX215" fmla="*/ 1699638 w 8149731"/>
              <a:gd name="connsiteY215" fmla="*/ 1744317 h 9096817"/>
              <a:gd name="connsiteX216" fmla="*/ 2035709 w 8149731"/>
              <a:gd name="connsiteY216" fmla="*/ 1319529 h 9096817"/>
              <a:gd name="connsiteX217" fmla="*/ 1592058 w 8149731"/>
              <a:gd name="connsiteY217" fmla="*/ 1736191 h 9096817"/>
              <a:gd name="connsiteX218" fmla="*/ 2018659 w 8149731"/>
              <a:gd name="connsiteY218" fmla="*/ 1332937 h 9096817"/>
              <a:gd name="connsiteX219" fmla="*/ 1691519 w 8149731"/>
              <a:gd name="connsiteY219" fmla="*/ 1750886 h 9096817"/>
              <a:gd name="connsiteX220" fmla="*/ 1309777 w 8149731"/>
              <a:gd name="connsiteY220" fmla="*/ 2103691 h 9096817"/>
              <a:gd name="connsiteX221" fmla="*/ 1592058 w 8149731"/>
              <a:gd name="connsiteY221" fmla="*/ 1736191 h 9096817"/>
              <a:gd name="connsiteX222" fmla="*/ 1297801 w 8149731"/>
              <a:gd name="connsiteY222" fmla="*/ 2121500 h 9096817"/>
              <a:gd name="connsiteX223" fmla="*/ 1685362 w 8149731"/>
              <a:gd name="connsiteY223" fmla="*/ 1759824 h 9096817"/>
              <a:gd name="connsiteX224" fmla="*/ 1561881 w 8149731"/>
              <a:gd name="connsiteY224" fmla="*/ 1964600 h 9096817"/>
              <a:gd name="connsiteX225" fmla="*/ 1428928 w 8149731"/>
              <a:gd name="connsiteY225" fmla="*/ 2232353 h 9096817"/>
              <a:gd name="connsiteX226" fmla="*/ 1110043 w 8149731"/>
              <a:gd name="connsiteY226" fmla="*/ 2525026 h 9096817"/>
              <a:gd name="connsiteX227" fmla="*/ 1039067 w 8149731"/>
              <a:gd name="connsiteY227" fmla="*/ 2601681 h 9096817"/>
              <a:gd name="connsiteX228" fmla="*/ 1297801 w 8149731"/>
              <a:gd name="connsiteY228" fmla="*/ 2121500 h 9096817"/>
              <a:gd name="connsiteX229" fmla="*/ 916195 w 8149731"/>
              <a:gd name="connsiteY229" fmla="*/ 2633982 h 9096817"/>
              <a:gd name="connsiteX230" fmla="*/ 1283525 w 8149731"/>
              <a:gd name="connsiteY230" fmla="*/ 2137346 h 9096817"/>
              <a:gd name="connsiteX231" fmla="*/ 1031895 w 8149731"/>
              <a:gd name="connsiteY231" fmla="*/ 2609739 h 9096817"/>
              <a:gd name="connsiteX232" fmla="*/ 704687 w 8149731"/>
              <a:gd name="connsiteY232" fmla="*/ 3046107 h 9096817"/>
              <a:gd name="connsiteX233" fmla="*/ 916195 w 8149731"/>
              <a:gd name="connsiteY233" fmla="*/ 2633982 h 9096817"/>
              <a:gd name="connsiteX234" fmla="*/ 696162 w 8149731"/>
              <a:gd name="connsiteY234" fmla="*/ 3066219 h 9096817"/>
              <a:gd name="connsiteX235" fmla="*/ 1027700 w 8149731"/>
              <a:gd name="connsiteY235" fmla="*/ 2619287 h 9096817"/>
              <a:gd name="connsiteX236" fmla="*/ 936087 w 8149731"/>
              <a:gd name="connsiteY236" fmla="*/ 2859682 h 9096817"/>
              <a:gd name="connsiteX237" fmla="*/ 852323 w 8149731"/>
              <a:gd name="connsiteY237" fmla="*/ 3152152 h 9096817"/>
              <a:gd name="connsiteX238" fmla="*/ 591626 w 8149731"/>
              <a:gd name="connsiteY238" fmla="*/ 3497508 h 9096817"/>
              <a:gd name="connsiteX239" fmla="*/ 523492 w 8149731"/>
              <a:gd name="connsiteY239" fmla="*/ 3605855 h 9096817"/>
              <a:gd name="connsiteX240" fmla="*/ 696162 w 8149731"/>
              <a:gd name="connsiteY240" fmla="*/ 3066219 h 9096817"/>
              <a:gd name="connsiteX241" fmla="*/ 420174 w 8149731"/>
              <a:gd name="connsiteY241" fmla="*/ 3627863 h 9096817"/>
              <a:gd name="connsiteX242" fmla="*/ 684727 w 8149731"/>
              <a:gd name="connsiteY242" fmla="*/ 3084909 h 9096817"/>
              <a:gd name="connsiteX243" fmla="*/ 518011 w 8149731"/>
              <a:gd name="connsiteY243" fmla="*/ 3614997 h 9096817"/>
              <a:gd name="connsiteX244" fmla="*/ 279778 w 8149731"/>
              <a:gd name="connsiteY244" fmla="*/ 4101137 h 9096817"/>
              <a:gd name="connsiteX245" fmla="*/ 420174 w 8149731"/>
              <a:gd name="connsiteY245" fmla="*/ 3627863 h 9096817"/>
              <a:gd name="connsiteX246" fmla="*/ 275312 w 8149731"/>
              <a:gd name="connsiteY246" fmla="*/ 4122197 h 9096817"/>
              <a:gd name="connsiteX247" fmla="*/ 515643 w 8149731"/>
              <a:gd name="connsiteY247" fmla="*/ 3625628 h 9096817"/>
              <a:gd name="connsiteX248" fmla="*/ 473491 w 8149731"/>
              <a:gd name="connsiteY248" fmla="*/ 3857694 h 9096817"/>
              <a:gd name="connsiteX249" fmla="*/ 443314 w 8149731"/>
              <a:gd name="connsiteY249" fmla="*/ 4170546 h 9096817"/>
              <a:gd name="connsiteX250" fmla="*/ 257450 w 8149731"/>
              <a:gd name="connsiteY250" fmla="*/ 4542990 h 9096817"/>
              <a:gd name="connsiteX251" fmla="*/ 208667 w 8149731"/>
              <a:gd name="connsiteY251" fmla="*/ 4665286 h 9096817"/>
              <a:gd name="connsiteX252" fmla="*/ 275312 w 8149731"/>
              <a:gd name="connsiteY252" fmla="*/ 4122061 h 9096817"/>
              <a:gd name="connsiteX253" fmla="*/ 111776 w 8149731"/>
              <a:gd name="connsiteY253" fmla="*/ 4706729 h 9096817"/>
              <a:gd name="connsiteX254" fmla="*/ 267734 w 8149731"/>
              <a:gd name="connsiteY254" fmla="*/ 4141902 h 9096817"/>
              <a:gd name="connsiteX255" fmla="*/ 204878 w 8149731"/>
              <a:gd name="connsiteY255" fmla="*/ 4674834 h 9096817"/>
              <a:gd name="connsiteX256" fmla="*/ 59069 w 8149731"/>
              <a:gd name="connsiteY256" fmla="*/ 5194968 h 9096817"/>
              <a:gd name="connsiteX257" fmla="*/ 111776 w 8149731"/>
              <a:gd name="connsiteY257" fmla="*/ 4706729 h 9096817"/>
              <a:gd name="connsiteX258" fmla="*/ 58460 w 8149731"/>
              <a:gd name="connsiteY258" fmla="*/ 5216570 h 9096817"/>
              <a:gd name="connsiteX259" fmla="*/ 204539 w 8149731"/>
              <a:gd name="connsiteY259" fmla="*/ 4685669 h 9096817"/>
              <a:gd name="connsiteX260" fmla="*/ 205284 w 8149731"/>
              <a:gd name="connsiteY260" fmla="*/ 4911099 h 9096817"/>
              <a:gd name="connsiteX261" fmla="*/ 3603963 w 8149731"/>
              <a:gd name="connsiteY261" fmla="*/ 8065217 h 9096817"/>
              <a:gd name="connsiteX262" fmla="*/ 5848865 w 8149731"/>
              <a:gd name="connsiteY262" fmla="*/ 7054610 h 9096817"/>
              <a:gd name="connsiteX263" fmla="*/ 6461194 w 8149731"/>
              <a:gd name="connsiteY263" fmla="*/ 6147203 h 9096817"/>
              <a:gd name="connsiteX264" fmla="*/ 6496581 w 8149731"/>
              <a:gd name="connsiteY264" fmla="*/ 6127295 h 9096817"/>
              <a:gd name="connsiteX265" fmla="*/ 2740260 w 8149731"/>
              <a:gd name="connsiteY265" fmla="*/ 8519191 h 9096817"/>
              <a:gd name="connsiteX266" fmla="*/ 58460 w 8149731"/>
              <a:gd name="connsiteY266" fmla="*/ 5216570 h 9096817"/>
              <a:gd name="connsiteX267" fmla="*/ 6292448 w 8149731"/>
              <a:gd name="connsiteY267" fmla="*/ 7094224 h 9096817"/>
              <a:gd name="connsiteX268" fmla="*/ 2000329 w 8149731"/>
              <a:gd name="connsiteY268" fmla="*/ 8835226 h 9096817"/>
              <a:gd name="connsiteX269" fmla="*/ 260765 w 8149731"/>
              <a:gd name="connsiteY269" fmla="*/ 7094224 h 9096817"/>
              <a:gd name="connsiteX270" fmla="*/ 3655 w 8149731"/>
              <a:gd name="connsiteY270" fmla="*/ 5819115 h 9096817"/>
              <a:gd name="connsiteX271" fmla="*/ 54806 w 8149731"/>
              <a:gd name="connsiteY271" fmla="*/ 5237765 h 9096817"/>
              <a:gd name="connsiteX272" fmla="*/ 2740057 w 8149731"/>
              <a:gd name="connsiteY272" fmla="*/ 8522509 h 9096817"/>
              <a:gd name="connsiteX273" fmla="*/ 6500979 w 8149731"/>
              <a:gd name="connsiteY273" fmla="*/ 6125331 h 9096817"/>
              <a:gd name="connsiteX274" fmla="*/ 6537718 w 8149731"/>
              <a:gd name="connsiteY274" fmla="*/ 6104000 h 9096817"/>
              <a:gd name="connsiteX275" fmla="*/ 6292448 w 8149731"/>
              <a:gd name="connsiteY275" fmla="*/ 7094224 h 9096817"/>
              <a:gd name="connsiteX276" fmla="*/ 6537786 w 8149731"/>
              <a:gd name="connsiteY276" fmla="*/ 6099666 h 9096817"/>
              <a:gd name="connsiteX277" fmla="*/ 6501858 w 8149731"/>
              <a:gd name="connsiteY277" fmla="*/ 6120523 h 9096817"/>
              <a:gd name="connsiteX278" fmla="*/ 6510045 w 8149731"/>
              <a:gd name="connsiteY278" fmla="*/ 6088154 h 9096817"/>
              <a:gd name="connsiteX279" fmla="*/ 6540763 w 8149731"/>
              <a:gd name="connsiteY279" fmla="*/ 6062557 h 9096817"/>
              <a:gd name="connsiteX280" fmla="*/ 6537786 w 8149731"/>
              <a:gd name="connsiteY280" fmla="*/ 6099666 h 9096817"/>
              <a:gd name="connsiteX281" fmla="*/ 6511398 w 8149731"/>
              <a:gd name="connsiteY281" fmla="*/ 6082669 h 9096817"/>
              <a:gd name="connsiteX282" fmla="*/ 6517691 w 8149731"/>
              <a:gd name="connsiteY282" fmla="*/ 6056327 h 9096817"/>
              <a:gd name="connsiteX283" fmla="*/ 6543131 w 8149731"/>
              <a:gd name="connsiteY283" fmla="*/ 6026599 h 9096817"/>
              <a:gd name="connsiteX284" fmla="*/ 6541101 w 8149731"/>
              <a:gd name="connsiteY284" fmla="*/ 6057885 h 9096817"/>
              <a:gd name="connsiteX285" fmla="*/ 7996890 w 8149731"/>
              <a:gd name="connsiteY285" fmla="*/ 4256141 h 9096817"/>
              <a:gd name="connsiteX286" fmla="*/ 6541372 w 8149731"/>
              <a:gd name="connsiteY286" fmla="*/ 6097567 h 9096817"/>
              <a:gd name="connsiteX287" fmla="*/ 6544349 w 8149731"/>
              <a:gd name="connsiteY287" fmla="*/ 6059510 h 9096817"/>
              <a:gd name="connsiteX288" fmla="*/ 6923588 w 8149731"/>
              <a:gd name="connsiteY288" fmla="*/ 1436530 h 9096817"/>
              <a:gd name="connsiteX289" fmla="*/ 3570525 w 8149731"/>
              <a:gd name="connsiteY289" fmla="*/ 391604 h 9096817"/>
              <a:gd name="connsiteX290" fmla="*/ 2949332 w 8149731"/>
              <a:gd name="connsiteY290" fmla="*/ 629697 h 9096817"/>
              <a:gd name="connsiteX291" fmla="*/ 3354417 w 8149731"/>
              <a:gd name="connsiteY291" fmla="*/ 378738 h 9096817"/>
              <a:gd name="connsiteX292" fmla="*/ 7771512 w 8149731"/>
              <a:gd name="connsiteY292" fmla="*/ 1756080 h 9096817"/>
              <a:gd name="connsiteX293" fmla="*/ 7996890 w 8149731"/>
              <a:gd name="connsiteY293" fmla="*/ 4256141 h 90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8149731" h="9096817">
                <a:moveTo>
                  <a:pt x="8138639" y="3007983"/>
                </a:moveTo>
                <a:cubicBezTo>
                  <a:pt x="7989785" y="1204011"/>
                  <a:pt x="6407972" y="-137654"/>
                  <a:pt x="4605491" y="11294"/>
                </a:cubicBezTo>
                <a:cubicBezTo>
                  <a:pt x="4167732" y="47469"/>
                  <a:pt x="3741713" y="171416"/>
                  <a:pt x="3352793" y="375758"/>
                </a:cubicBezTo>
                <a:cubicBezTo>
                  <a:pt x="3205475" y="452895"/>
                  <a:pt x="3064186" y="541042"/>
                  <a:pt x="2930116" y="639448"/>
                </a:cubicBezTo>
                <a:cubicBezTo>
                  <a:pt x="2594993" y="812790"/>
                  <a:pt x="2291764" y="1041917"/>
                  <a:pt x="2033409" y="1317023"/>
                </a:cubicBezTo>
                <a:cubicBezTo>
                  <a:pt x="1744964" y="1542108"/>
                  <a:pt x="1495519" y="1813192"/>
                  <a:pt x="1295095" y="2119401"/>
                </a:cubicBezTo>
                <a:cubicBezTo>
                  <a:pt x="1042429" y="2398165"/>
                  <a:pt x="838818" y="2717775"/>
                  <a:pt x="692914" y="3064662"/>
                </a:cubicBezTo>
                <a:cubicBezTo>
                  <a:pt x="493053" y="3390007"/>
                  <a:pt x="350624" y="3747350"/>
                  <a:pt x="271862" y="4121045"/>
                </a:cubicBezTo>
                <a:cubicBezTo>
                  <a:pt x="138458" y="4471250"/>
                  <a:pt x="65163" y="4841506"/>
                  <a:pt x="55077" y="5216163"/>
                </a:cubicBezTo>
                <a:cubicBezTo>
                  <a:pt x="18282" y="5414940"/>
                  <a:pt x="-154" y="5616682"/>
                  <a:pt x="1" y="5818844"/>
                </a:cubicBezTo>
                <a:cubicBezTo>
                  <a:pt x="1159" y="7630407"/>
                  <a:pt x="1469416" y="9097967"/>
                  <a:pt x="3279449" y="9096817"/>
                </a:cubicBezTo>
                <a:cubicBezTo>
                  <a:pt x="4595078" y="9096004"/>
                  <a:pt x="5782692" y="8307847"/>
                  <a:pt x="6295493" y="7095240"/>
                </a:cubicBezTo>
                <a:cubicBezTo>
                  <a:pt x="6429279" y="6779137"/>
                  <a:pt x="6512156" y="6443783"/>
                  <a:pt x="6541034" y="6101697"/>
                </a:cubicBezTo>
                <a:cubicBezTo>
                  <a:pt x="7621305" y="5461481"/>
                  <a:pt x="8241618" y="4260251"/>
                  <a:pt x="8138639" y="3007983"/>
                </a:cubicBezTo>
                <a:close/>
                <a:moveTo>
                  <a:pt x="2931943" y="642360"/>
                </a:moveTo>
                <a:cubicBezTo>
                  <a:pt x="4541856" y="-182495"/>
                  <a:pt x="6515065" y="455005"/>
                  <a:pt x="7339227" y="2066257"/>
                </a:cubicBezTo>
                <a:cubicBezTo>
                  <a:pt x="7836331" y="3038001"/>
                  <a:pt x="7817318" y="4193658"/>
                  <a:pt x="7288549" y="5148514"/>
                </a:cubicBezTo>
                <a:cubicBezTo>
                  <a:pt x="7097611" y="5493274"/>
                  <a:pt x="6845507" y="5800364"/>
                  <a:pt x="6544688" y="6054770"/>
                </a:cubicBezTo>
                <a:cubicBezTo>
                  <a:pt x="6545432" y="6043935"/>
                  <a:pt x="6546176" y="6033100"/>
                  <a:pt x="6546785" y="6022266"/>
                </a:cubicBezTo>
                <a:cubicBezTo>
                  <a:pt x="7712038" y="4635978"/>
                  <a:pt x="7533752" y="2566786"/>
                  <a:pt x="6148588" y="1400600"/>
                </a:cubicBezTo>
                <a:cubicBezTo>
                  <a:pt x="5164991" y="572475"/>
                  <a:pt x="3788508" y="396232"/>
                  <a:pt x="2628282" y="949862"/>
                </a:cubicBezTo>
                <a:cubicBezTo>
                  <a:pt x="2590751" y="967922"/>
                  <a:pt x="2553605" y="986545"/>
                  <a:pt x="2516845" y="1005729"/>
                </a:cubicBezTo>
                <a:cubicBezTo>
                  <a:pt x="2644622" y="872997"/>
                  <a:pt x="2783489" y="751431"/>
                  <a:pt x="2931943" y="642360"/>
                </a:cubicBezTo>
                <a:close/>
                <a:moveTo>
                  <a:pt x="6470599" y="6104609"/>
                </a:moveTo>
                <a:cubicBezTo>
                  <a:pt x="6476824" y="6094946"/>
                  <a:pt x="6483001" y="6085222"/>
                  <a:pt x="6489138" y="6075423"/>
                </a:cubicBezTo>
                <a:lnTo>
                  <a:pt x="6482372" y="6091743"/>
                </a:lnTo>
                <a:close/>
                <a:moveTo>
                  <a:pt x="6477906" y="6101562"/>
                </a:moveTo>
                <a:cubicBezTo>
                  <a:pt x="6476012" y="6105896"/>
                  <a:pt x="6474117" y="6110230"/>
                  <a:pt x="6472155" y="6114564"/>
                </a:cubicBezTo>
                <a:cubicBezTo>
                  <a:pt x="6466675" y="6119033"/>
                  <a:pt x="6461126" y="6123435"/>
                  <a:pt x="6455578" y="6128107"/>
                </a:cubicBezTo>
                <a:lnTo>
                  <a:pt x="6459232" y="6122419"/>
                </a:lnTo>
                <a:close/>
                <a:moveTo>
                  <a:pt x="6456593" y="6120049"/>
                </a:moveTo>
                <a:cubicBezTo>
                  <a:pt x="6448880" y="6128446"/>
                  <a:pt x="6441166" y="6136843"/>
                  <a:pt x="6433453" y="6145104"/>
                </a:cubicBezTo>
                <a:cubicBezTo>
                  <a:pt x="6413920" y="6160361"/>
                  <a:pt x="6394210" y="6175326"/>
                  <a:pt x="6374318" y="6190000"/>
                </a:cubicBezTo>
                <a:cubicBezTo>
                  <a:pt x="4768695" y="7020210"/>
                  <a:pt x="2794646" y="6390469"/>
                  <a:pt x="1965159" y="4783520"/>
                </a:cubicBezTo>
                <a:cubicBezTo>
                  <a:pt x="1681248" y="4233489"/>
                  <a:pt x="1558918" y="3614191"/>
                  <a:pt x="1612356" y="2997419"/>
                </a:cubicBezTo>
                <a:cubicBezTo>
                  <a:pt x="3168241" y="2077180"/>
                  <a:pt x="5174917" y="2593514"/>
                  <a:pt x="6094392" y="4150692"/>
                </a:cubicBezTo>
                <a:cubicBezTo>
                  <a:pt x="6392742" y="4655969"/>
                  <a:pt x="6549951" y="5232199"/>
                  <a:pt x="6549559" y="5819115"/>
                </a:cubicBezTo>
                <a:cubicBezTo>
                  <a:pt x="6549559" y="5843493"/>
                  <a:pt x="6549289" y="5867824"/>
                  <a:pt x="6548747" y="5892114"/>
                </a:cubicBezTo>
                <a:cubicBezTo>
                  <a:pt x="6544552" y="5915002"/>
                  <a:pt x="6540039" y="5937822"/>
                  <a:pt x="6535215" y="5960575"/>
                </a:cubicBezTo>
                <a:cubicBezTo>
                  <a:pt x="6522989" y="5992538"/>
                  <a:pt x="6510316" y="6024250"/>
                  <a:pt x="6497190" y="6055718"/>
                </a:cubicBezTo>
                <a:cubicBezTo>
                  <a:pt x="6483928" y="6077340"/>
                  <a:pt x="6470376" y="6098786"/>
                  <a:pt x="6456526" y="6120049"/>
                </a:cubicBezTo>
                <a:close/>
                <a:moveTo>
                  <a:pt x="2621516" y="2099628"/>
                </a:moveTo>
                <a:cubicBezTo>
                  <a:pt x="4385208" y="1706890"/>
                  <a:pt x="6133074" y="2819445"/>
                  <a:pt x="6525486" y="4584602"/>
                </a:cubicBezTo>
                <a:cubicBezTo>
                  <a:pt x="6619513" y="5007535"/>
                  <a:pt x="6628729" y="5444938"/>
                  <a:pt x="6552604" y="5871460"/>
                </a:cubicBezTo>
                <a:cubicBezTo>
                  <a:pt x="6552874" y="5854036"/>
                  <a:pt x="6553010" y="5836633"/>
                  <a:pt x="6553010" y="5819250"/>
                </a:cubicBezTo>
                <a:cubicBezTo>
                  <a:pt x="6553740" y="4008351"/>
                  <a:pt x="5087526" y="2539740"/>
                  <a:pt x="3278129" y="2539009"/>
                </a:cubicBezTo>
                <a:cubicBezTo>
                  <a:pt x="2692370" y="2538772"/>
                  <a:pt x="2117261" y="2695713"/>
                  <a:pt x="1612694" y="2993491"/>
                </a:cubicBezTo>
                <a:cubicBezTo>
                  <a:pt x="1628838" y="2811441"/>
                  <a:pt x="1660206" y="2631063"/>
                  <a:pt x="1706472" y="2454261"/>
                </a:cubicBezTo>
                <a:cubicBezTo>
                  <a:pt x="1991818" y="2290427"/>
                  <a:pt x="2300337" y="2170859"/>
                  <a:pt x="2621516" y="2099628"/>
                </a:cubicBezTo>
                <a:close/>
                <a:moveTo>
                  <a:pt x="1707690" y="2449453"/>
                </a:moveTo>
                <a:cubicBezTo>
                  <a:pt x="1720545" y="2400562"/>
                  <a:pt x="1734531" y="2351853"/>
                  <a:pt x="1749640" y="2303320"/>
                </a:cubicBezTo>
                <a:cubicBezTo>
                  <a:pt x="1789830" y="2174408"/>
                  <a:pt x="1837869" y="2048088"/>
                  <a:pt x="1893486" y="1925054"/>
                </a:cubicBezTo>
                <a:cubicBezTo>
                  <a:pt x="1972649" y="1881220"/>
                  <a:pt x="2053842" y="1840590"/>
                  <a:pt x="2137065" y="1803163"/>
                </a:cubicBezTo>
                <a:cubicBezTo>
                  <a:pt x="3784191" y="1060234"/>
                  <a:pt x="5721209" y="1794333"/>
                  <a:pt x="6463522" y="3442827"/>
                </a:cubicBezTo>
                <a:cubicBezTo>
                  <a:pt x="6815466" y="4224416"/>
                  <a:pt x="6847063" y="5112990"/>
                  <a:pt x="6551521" y="5917643"/>
                </a:cubicBezTo>
                <a:cubicBezTo>
                  <a:pt x="6551521" y="5909246"/>
                  <a:pt x="6551995" y="5900849"/>
                  <a:pt x="6552130" y="5892452"/>
                </a:cubicBezTo>
                <a:cubicBezTo>
                  <a:pt x="6552130" y="5891301"/>
                  <a:pt x="6552536" y="5890150"/>
                  <a:pt x="6552807" y="5888999"/>
                </a:cubicBezTo>
                <a:cubicBezTo>
                  <a:pt x="6880487" y="4108836"/>
                  <a:pt x="5704159" y="2399898"/>
                  <a:pt x="3925473" y="2071979"/>
                </a:cubicBezTo>
                <a:cubicBezTo>
                  <a:pt x="3164872" y="1931751"/>
                  <a:pt x="2379223" y="2065471"/>
                  <a:pt x="1707690" y="2449453"/>
                </a:cubicBezTo>
                <a:close/>
                <a:moveTo>
                  <a:pt x="1609108" y="2995387"/>
                </a:moveTo>
                <a:cubicBezTo>
                  <a:pt x="1451614" y="3088627"/>
                  <a:pt x="1302233" y="3194956"/>
                  <a:pt x="1162548" y="3313250"/>
                </a:cubicBezTo>
                <a:cubicBezTo>
                  <a:pt x="1166384" y="3262463"/>
                  <a:pt x="1171411" y="3211628"/>
                  <a:pt x="1177636" y="3160752"/>
                </a:cubicBezTo>
                <a:cubicBezTo>
                  <a:pt x="1193678" y="3029185"/>
                  <a:pt x="1217630" y="2898708"/>
                  <a:pt x="1249356" y="2770025"/>
                </a:cubicBezTo>
                <a:cubicBezTo>
                  <a:pt x="1320853" y="2711335"/>
                  <a:pt x="1395030" y="2655381"/>
                  <a:pt x="1471892" y="2602155"/>
                </a:cubicBezTo>
                <a:cubicBezTo>
                  <a:pt x="1547084" y="2550284"/>
                  <a:pt x="1623906" y="2501751"/>
                  <a:pt x="1702345" y="2456564"/>
                </a:cubicBezTo>
                <a:cubicBezTo>
                  <a:pt x="1656302" y="2633251"/>
                  <a:pt x="1625110" y="2813493"/>
                  <a:pt x="1609108" y="2995387"/>
                </a:cubicBezTo>
                <a:close/>
                <a:moveTo>
                  <a:pt x="1609108" y="2999518"/>
                </a:moveTo>
                <a:cubicBezTo>
                  <a:pt x="1453299" y="4802901"/>
                  <a:pt x="2787711" y="6391241"/>
                  <a:pt x="4589597" y="6547180"/>
                </a:cubicBezTo>
                <a:cubicBezTo>
                  <a:pt x="5199558" y="6599972"/>
                  <a:pt x="5812091" y="6480567"/>
                  <a:pt x="6357673" y="6202528"/>
                </a:cubicBezTo>
                <a:cubicBezTo>
                  <a:pt x="4899335" y="7270423"/>
                  <a:pt x="2852137" y="6952967"/>
                  <a:pt x="1785121" y="5493390"/>
                </a:cubicBezTo>
                <a:cubicBezTo>
                  <a:pt x="1325921" y="4865261"/>
                  <a:pt x="1105280" y="4093965"/>
                  <a:pt x="1162751" y="3317787"/>
                </a:cubicBezTo>
                <a:cubicBezTo>
                  <a:pt x="1302213" y="3199330"/>
                  <a:pt x="1451418" y="3092866"/>
                  <a:pt x="1608770" y="2999518"/>
                </a:cubicBezTo>
                <a:close/>
                <a:moveTo>
                  <a:pt x="1263362" y="4414260"/>
                </a:moveTo>
                <a:cubicBezTo>
                  <a:pt x="1734964" y="6162060"/>
                  <a:pt x="3532973" y="7196342"/>
                  <a:pt x="5279324" y="6724314"/>
                </a:cubicBezTo>
                <a:cubicBezTo>
                  <a:pt x="5674902" y="6617402"/>
                  <a:pt x="6046921" y="6437147"/>
                  <a:pt x="6376077" y="6192912"/>
                </a:cubicBezTo>
                <a:lnTo>
                  <a:pt x="6393736" y="6183703"/>
                </a:lnTo>
                <a:lnTo>
                  <a:pt x="6400096" y="6180384"/>
                </a:lnTo>
                <a:cubicBezTo>
                  <a:pt x="5148373" y="7484815"/>
                  <a:pt x="3077075" y="7526732"/>
                  <a:pt x="1773727" y="6273942"/>
                </a:cubicBezTo>
                <a:cubicBezTo>
                  <a:pt x="1179686" y="5702953"/>
                  <a:pt x="822654" y="4928746"/>
                  <a:pt x="773904" y="4105877"/>
                </a:cubicBezTo>
                <a:cubicBezTo>
                  <a:pt x="765887" y="3973226"/>
                  <a:pt x="765887" y="3840217"/>
                  <a:pt x="773904" y="3707566"/>
                </a:cubicBezTo>
                <a:cubicBezTo>
                  <a:pt x="833534" y="3636917"/>
                  <a:pt x="896282" y="3568658"/>
                  <a:pt x="962136" y="3502790"/>
                </a:cubicBezTo>
                <a:cubicBezTo>
                  <a:pt x="1025555" y="3439271"/>
                  <a:pt x="1091145" y="3378685"/>
                  <a:pt x="1158894" y="3321038"/>
                </a:cubicBezTo>
                <a:cubicBezTo>
                  <a:pt x="1131748" y="3688734"/>
                  <a:pt x="1167067" y="4058380"/>
                  <a:pt x="1263362" y="4414260"/>
                </a:cubicBezTo>
                <a:close/>
                <a:moveTo>
                  <a:pt x="6392924" y="6180317"/>
                </a:moveTo>
                <a:lnTo>
                  <a:pt x="6418906" y="6160611"/>
                </a:lnTo>
                <a:lnTo>
                  <a:pt x="6407472" y="6172597"/>
                </a:lnTo>
                <a:close/>
                <a:moveTo>
                  <a:pt x="6435686" y="6147610"/>
                </a:moveTo>
                <a:lnTo>
                  <a:pt x="6441234" y="6143276"/>
                </a:lnTo>
                <a:cubicBezTo>
                  <a:pt x="6437377" y="6149167"/>
                  <a:pt x="6433453" y="6154991"/>
                  <a:pt x="6429529" y="6160814"/>
                </a:cubicBezTo>
                <a:lnTo>
                  <a:pt x="6416944" y="6167586"/>
                </a:lnTo>
                <a:cubicBezTo>
                  <a:pt x="6423237" y="6160950"/>
                  <a:pt x="6429461" y="6154314"/>
                  <a:pt x="6435686" y="6147610"/>
                </a:cubicBezTo>
                <a:close/>
                <a:moveTo>
                  <a:pt x="6548274" y="5913241"/>
                </a:moveTo>
                <a:cubicBezTo>
                  <a:pt x="6548274" y="5918049"/>
                  <a:pt x="6548274" y="5922857"/>
                  <a:pt x="6547800" y="5927597"/>
                </a:cubicBezTo>
                <a:cubicBezTo>
                  <a:pt x="6546176" y="5932067"/>
                  <a:pt x="6544485" y="5936536"/>
                  <a:pt x="6542861" y="5941141"/>
                </a:cubicBezTo>
                <a:cubicBezTo>
                  <a:pt x="6544688" y="5931728"/>
                  <a:pt x="6546447" y="5922518"/>
                  <a:pt x="6548274" y="5913241"/>
                </a:cubicBezTo>
                <a:close/>
                <a:moveTo>
                  <a:pt x="6531156" y="5980958"/>
                </a:moveTo>
                <a:cubicBezTo>
                  <a:pt x="6528990" y="5990845"/>
                  <a:pt x="6526893" y="6000799"/>
                  <a:pt x="6524389" y="6010686"/>
                </a:cubicBezTo>
                <a:lnTo>
                  <a:pt x="6516067" y="6024229"/>
                </a:lnTo>
                <a:cubicBezTo>
                  <a:pt x="6513496" y="6028496"/>
                  <a:pt x="6510925" y="6032762"/>
                  <a:pt x="6508286" y="6037028"/>
                </a:cubicBezTo>
                <a:cubicBezTo>
                  <a:pt x="6516270" y="6018812"/>
                  <a:pt x="6523780" y="6000122"/>
                  <a:pt x="6531156" y="5981094"/>
                </a:cubicBezTo>
                <a:close/>
                <a:moveTo>
                  <a:pt x="6538666" y="5961388"/>
                </a:moveTo>
                <a:lnTo>
                  <a:pt x="6541913" y="5952856"/>
                </a:lnTo>
                <a:cubicBezTo>
                  <a:pt x="6543808" y="5947980"/>
                  <a:pt x="6545635" y="5943037"/>
                  <a:pt x="6547462" y="5938161"/>
                </a:cubicBezTo>
                <a:cubicBezTo>
                  <a:pt x="6546988" y="5950283"/>
                  <a:pt x="6546514" y="5962472"/>
                  <a:pt x="6545973" y="5974593"/>
                </a:cubicBezTo>
                <a:cubicBezTo>
                  <a:pt x="6540784" y="5983619"/>
                  <a:pt x="6535506" y="5992653"/>
                  <a:pt x="6530140" y="6001679"/>
                </a:cubicBezTo>
                <a:cubicBezTo>
                  <a:pt x="6533030" y="5988319"/>
                  <a:pt x="6535871" y="5974932"/>
                  <a:pt x="6538666" y="5961523"/>
                </a:cubicBezTo>
                <a:close/>
                <a:moveTo>
                  <a:pt x="6549289" y="5975609"/>
                </a:moveTo>
                <a:cubicBezTo>
                  <a:pt x="7456821" y="4408301"/>
                  <a:pt x="6922979" y="2401462"/>
                  <a:pt x="5356965" y="1493203"/>
                </a:cubicBezTo>
                <a:cubicBezTo>
                  <a:pt x="4373739" y="922952"/>
                  <a:pt x="3165528" y="903171"/>
                  <a:pt x="2164197" y="1440945"/>
                </a:cubicBezTo>
                <a:cubicBezTo>
                  <a:pt x="2220673" y="1357566"/>
                  <a:pt x="2281094" y="1276685"/>
                  <a:pt x="2345460" y="1198316"/>
                </a:cubicBezTo>
                <a:cubicBezTo>
                  <a:pt x="2397965" y="1134391"/>
                  <a:pt x="2452635" y="1072721"/>
                  <a:pt x="2509470" y="1013313"/>
                </a:cubicBezTo>
                <a:cubicBezTo>
                  <a:pt x="2549071" y="992368"/>
                  <a:pt x="2589174" y="972189"/>
                  <a:pt x="2629770" y="952774"/>
                </a:cubicBezTo>
                <a:cubicBezTo>
                  <a:pt x="4260259" y="171696"/>
                  <a:pt x="6214693" y="861377"/>
                  <a:pt x="6995105" y="2493219"/>
                </a:cubicBezTo>
                <a:cubicBezTo>
                  <a:pt x="7550126" y="3653731"/>
                  <a:pt x="7374952" y="5031953"/>
                  <a:pt x="6547326" y="6016442"/>
                </a:cubicBezTo>
                <a:cubicBezTo>
                  <a:pt x="6548003" y="6002946"/>
                  <a:pt x="6548747" y="5989376"/>
                  <a:pt x="6549559" y="5975744"/>
                </a:cubicBezTo>
                <a:close/>
                <a:moveTo>
                  <a:pt x="2934108" y="1148950"/>
                </a:moveTo>
                <a:cubicBezTo>
                  <a:pt x="4688240" y="715460"/>
                  <a:pt x="6461370" y="1787236"/>
                  <a:pt x="6894493" y="3542831"/>
                </a:cubicBezTo>
                <a:cubicBezTo>
                  <a:pt x="7097475" y="4365551"/>
                  <a:pt x="6973859" y="5234989"/>
                  <a:pt x="6549559" y="5968363"/>
                </a:cubicBezTo>
                <a:cubicBezTo>
                  <a:pt x="6550168" y="5954819"/>
                  <a:pt x="6550641" y="5941682"/>
                  <a:pt x="6551115" y="5928275"/>
                </a:cubicBezTo>
                <a:cubicBezTo>
                  <a:pt x="7180157" y="4231174"/>
                  <a:pt x="6315460" y="2345034"/>
                  <a:pt x="4619767" y="1715470"/>
                </a:cubicBezTo>
                <a:cubicBezTo>
                  <a:pt x="3812838" y="1415883"/>
                  <a:pt x="2920502" y="1446268"/>
                  <a:pt x="2135779" y="1800048"/>
                </a:cubicBezTo>
                <a:cubicBezTo>
                  <a:pt x="2053822" y="1836886"/>
                  <a:pt x="1973847" y="1876819"/>
                  <a:pt x="1895855" y="1919839"/>
                </a:cubicBezTo>
                <a:cubicBezTo>
                  <a:pt x="1970653" y="1755179"/>
                  <a:pt x="2059059" y="1597053"/>
                  <a:pt x="2160137" y="1447108"/>
                </a:cubicBezTo>
                <a:cubicBezTo>
                  <a:pt x="2404453" y="1315283"/>
                  <a:pt x="2664535" y="1215096"/>
                  <a:pt x="2934108" y="1148950"/>
                </a:cubicBezTo>
                <a:close/>
                <a:moveTo>
                  <a:pt x="1890847" y="1922616"/>
                </a:moveTo>
                <a:cubicBezTo>
                  <a:pt x="1730410" y="2011318"/>
                  <a:pt x="1577720" y="2113388"/>
                  <a:pt x="1434408" y="2227748"/>
                </a:cubicBezTo>
                <a:cubicBezTo>
                  <a:pt x="1473787" y="2138951"/>
                  <a:pt x="1517205" y="2051772"/>
                  <a:pt x="1564655" y="1966225"/>
                </a:cubicBezTo>
                <a:cubicBezTo>
                  <a:pt x="1605252" y="1893362"/>
                  <a:pt x="1648216" y="1822374"/>
                  <a:pt x="1693549" y="1753256"/>
                </a:cubicBezTo>
                <a:cubicBezTo>
                  <a:pt x="1726885" y="1726982"/>
                  <a:pt x="1760716" y="1701364"/>
                  <a:pt x="1795040" y="1676397"/>
                </a:cubicBezTo>
                <a:cubicBezTo>
                  <a:pt x="1909414" y="1593471"/>
                  <a:pt x="2029038" y="1518055"/>
                  <a:pt x="2153168" y="1450629"/>
                </a:cubicBezTo>
                <a:cubicBezTo>
                  <a:pt x="2052787" y="1600398"/>
                  <a:pt x="1965044" y="1758274"/>
                  <a:pt x="1890847" y="1922616"/>
                </a:cubicBezTo>
                <a:close/>
                <a:moveTo>
                  <a:pt x="1888547" y="1927762"/>
                </a:moveTo>
                <a:cubicBezTo>
                  <a:pt x="1833708" y="2049639"/>
                  <a:pt x="1786264" y="2174712"/>
                  <a:pt x="1746460" y="2302305"/>
                </a:cubicBezTo>
                <a:cubicBezTo>
                  <a:pt x="1730945" y="2351961"/>
                  <a:pt x="1716669" y="2401801"/>
                  <a:pt x="1703630" y="2451824"/>
                </a:cubicBezTo>
                <a:cubicBezTo>
                  <a:pt x="1624061" y="2497465"/>
                  <a:pt x="1546204" y="2546607"/>
                  <a:pt x="1470066" y="2599243"/>
                </a:cubicBezTo>
                <a:cubicBezTo>
                  <a:pt x="1393927" y="2651880"/>
                  <a:pt x="1320826" y="2706934"/>
                  <a:pt x="1250777" y="2764405"/>
                </a:cubicBezTo>
                <a:cubicBezTo>
                  <a:pt x="1295758" y="2582903"/>
                  <a:pt x="1356287" y="2405614"/>
                  <a:pt x="1431702" y="2234520"/>
                </a:cubicBezTo>
                <a:cubicBezTo>
                  <a:pt x="1575048" y="2119530"/>
                  <a:pt x="1727880" y="2016912"/>
                  <a:pt x="1888547" y="1927762"/>
                </a:cubicBezTo>
                <a:close/>
                <a:moveTo>
                  <a:pt x="1246379" y="2767994"/>
                </a:moveTo>
                <a:cubicBezTo>
                  <a:pt x="1106315" y="2883221"/>
                  <a:pt x="976115" y="3009953"/>
                  <a:pt x="857127" y="3146870"/>
                </a:cubicBezTo>
                <a:cubicBezTo>
                  <a:pt x="880044" y="3050712"/>
                  <a:pt x="907419" y="2955434"/>
                  <a:pt x="939267" y="2861037"/>
                </a:cubicBezTo>
                <a:cubicBezTo>
                  <a:pt x="967820" y="2776343"/>
                  <a:pt x="999668" y="2693187"/>
                  <a:pt x="1034804" y="2611568"/>
                </a:cubicBezTo>
                <a:cubicBezTo>
                  <a:pt x="1060197" y="2583039"/>
                  <a:pt x="1086091" y="2554956"/>
                  <a:pt x="1112479" y="2527328"/>
                </a:cubicBezTo>
                <a:cubicBezTo>
                  <a:pt x="1210620" y="2424547"/>
                  <a:pt x="1315332" y="2328254"/>
                  <a:pt x="1425951" y="2239057"/>
                </a:cubicBezTo>
                <a:cubicBezTo>
                  <a:pt x="1351044" y="2409886"/>
                  <a:pt x="1290961" y="2586851"/>
                  <a:pt x="1246379" y="2767994"/>
                </a:cubicBezTo>
                <a:close/>
                <a:moveTo>
                  <a:pt x="1245026" y="2773479"/>
                </a:moveTo>
                <a:cubicBezTo>
                  <a:pt x="1213848" y="2900915"/>
                  <a:pt x="1190282" y="3030099"/>
                  <a:pt x="1174456" y="3160346"/>
                </a:cubicBezTo>
                <a:cubicBezTo>
                  <a:pt x="1168143" y="3212352"/>
                  <a:pt x="1163041" y="3264271"/>
                  <a:pt x="1159165" y="3316095"/>
                </a:cubicBezTo>
                <a:cubicBezTo>
                  <a:pt x="1090469" y="3374466"/>
                  <a:pt x="1023958" y="3435818"/>
                  <a:pt x="959633" y="3500149"/>
                </a:cubicBezTo>
                <a:cubicBezTo>
                  <a:pt x="895308" y="3564480"/>
                  <a:pt x="833493" y="3631655"/>
                  <a:pt x="774175" y="3701675"/>
                </a:cubicBezTo>
                <a:cubicBezTo>
                  <a:pt x="785623" y="3517065"/>
                  <a:pt x="812789" y="3333769"/>
                  <a:pt x="855368" y="3153777"/>
                </a:cubicBezTo>
                <a:cubicBezTo>
                  <a:pt x="974390" y="3016339"/>
                  <a:pt x="1104711" y="2889132"/>
                  <a:pt x="1244958" y="2773479"/>
                </a:cubicBezTo>
                <a:close/>
                <a:moveTo>
                  <a:pt x="770521" y="3706212"/>
                </a:moveTo>
                <a:cubicBezTo>
                  <a:pt x="649757" y="3849270"/>
                  <a:pt x="541529" y="4002466"/>
                  <a:pt x="447035" y="4164113"/>
                </a:cubicBezTo>
                <a:cubicBezTo>
                  <a:pt x="452178" y="4061996"/>
                  <a:pt x="462124" y="3959967"/>
                  <a:pt x="476874" y="3858033"/>
                </a:cubicBezTo>
                <a:cubicBezTo>
                  <a:pt x="488647" y="3776772"/>
                  <a:pt x="503419" y="3696190"/>
                  <a:pt x="521191" y="3616283"/>
                </a:cubicBezTo>
                <a:cubicBezTo>
                  <a:pt x="544737" y="3576872"/>
                  <a:pt x="569163" y="3537915"/>
                  <a:pt x="594468" y="3499404"/>
                </a:cubicBezTo>
                <a:cubicBezTo>
                  <a:pt x="672390" y="3380669"/>
                  <a:pt x="757957" y="3267135"/>
                  <a:pt x="850632" y="3159533"/>
                </a:cubicBezTo>
                <a:cubicBezTo>
                  <a:pt x="808506" y="3339159"/>
                  <a:pt x="781706" y="3522042"/>
                  <a:pt x="770521" y="3706212"/>
                </a:cubicBezTo>
                <a:close/>
                <a:moveTo>
                  <a:pt x="770521" y="3711832"/>
                </a:moveTo>
                <a:cubicBezTo>
                  <a:pt x="762706" y="3843128"/>
                  <a:pt x="762706" y="3974784"/>
                  <a:pt x="770521" y="4106080"/>
                </a:cubicBezTo>
                <a:cubicBezTo>
                  <a:pt x="877588" y="5913357"/>
                  <a:pt x="2428256" y="7291551"/>
                  <a:pt x="4234027" y="7184423"/>
                </a:cubicBezTo>
                <a:cubicBezTo>
                  <a:pt x="5060577" y="7135396"/>
                  <a:pt x="5837890" y="6774871"/>
                  <a:pt x="6409569" y="6175374"/>
                </a:cubicBezTo>
                <a:lnTo>
                  <a:pt x="6425469" y="6166841"/>
                </a:lnTo>
                <a:cubicBezTo>
                  <a:pt x="5410126" y="7664130"/>
                  <a:pt x="3374255" y="8054111"/>
                  <a:pt x="1878215" y="7037952"/>
                </a:cubicBezTo>
                <a:cubicBezTo>
                  <a:pt x="934917" y="6397201"/>
                  <a:pt x="392592" y="5311468"/>
                  <a:pt x="446562" y="4171765"/>
                </a:cubicBezTo>
                <a:cubicBezTo>
                  <a:pt x="540996" y="4009407"/>
                  <a:pt x="649273" y="3855527"/>
                  <a:pt x="770183" y="3711832"/>
                </a:cubicBezTo>
                <a:close/>
                <a:moveTo>
                  <a:pt x="535197" y="5113031"/>
                </a:moveTo>
                <a:cubicBezTo>
                  <a:pt x="965932" y="6871029"/>
                  <a:pt x="2739097" y="7946780"/>
                  <a:pt x="4495664" y="7515627"/>
                </a:cubicBezTo>
                <a:cubicBezTo>
                  <a:pt x="5286631" y="7321550"/>
                  <a:pt x="5976946" y="6839406"/>
                  <a:pt x="6431897" y="6163387"/>
                </a:cubicBezTo>
                <a:lnTo>
                  <a:pt x="6456255" y="6149844"/>
                </a:lnTo>
                <a:cubicBezTo>
                  <a:pt x="5741189" y="7720403"/>
                  <a:pt x="3930250" y="8465085"/>
                  <a:pt x="2318463" y="7851367"/>
                </a:cubicBezTo>
                <a:cubicBezTo>
                  <a:pt x="1089224" y="7383917"/>
                  <a:pt x="258446" y="6226087"/>
                  <a:pt x="208667" y="4910963"/>
                </a:cubicBezTo>
                <a:cubicBezTo>
                  <a:pt x="205690" y="4832276"/>
                  <a:pt x="205554" y="4753840"/>
                  <a:pt x="208261" y="4675647"/>
                </a:cubicBezTo>
                <a:cubicBezTo>
                  <a:pt x="224680" y="4631496"/>
                  <a:pt x="242136" y="4587615"/>
                  <a:pt x="260630" y="4544005"/>
                </a:cubicBezTo>
                <a:cubicBezTo>
                  <a:pt x="313716" y="4418242"/>
                  <a:pt x="374617" y="4295931"/>
                  <a:pt x="442976" y="4177792"/>
                </a:cubicBezTo>
                <a:cubicBezTo>
                  <a:pt x="428611" y="4492358"/>
                  <a:pt x="459671" y="4807350"/>
                  <a:pt x="535197" y="5113031"/>
                </a:cubicBezTo>
                <a:close/>
                <a:moveTo>
                  <a:pt x="6435957" y="6157293"/>
                </a:moveTo>
                <a:cubicBezTo>
                  <a:pt x="6440558" y="6150522"/>
                  <a:pt x="6445091" y="6143750"/>
                  <a:pt x="6449489" y="6136978"/>
                </a:cubicBezTo>
                <a:cubicBezTo>
                  <a:pt x="6456255" y="6131832"/>
                  <a:pt x="6462547" y="6126753"/>
                  <a:pt x="6469043" y="6121538"/>
                </a:cubicBezTo>
                <a:cubicBezTo>
                  <a:pt x="6465525" y="6129461"/>
                  <a:pt x="6462277" y="6137317"/>
                  <a:pt x="6458420" y="6145172"/>
                </a:cubicBezTo>
                <a:cubicBezTo>
                  <a:pt x="6451045" y="6149099"/>
                  <a:pt x="6443535" y="6153230"/>
                  <a:pt x="6435957" y="6157293"/>
                </a:cubicBezTo>
                <a:close/>
                <a:moveTo>
                  <a:pt x="6474862" y="6116663"/>
                </a:moveTo>
                <a:cubicBezTo>
                  <a:pt x="6485214" y="6108401"/>
                  <a:pt x="6495160" y="6100072"/>
                  <a:pt x="6505647" y="6091676"/>
                </a:cubicBezTo>
                <a:cubicBezTo>
                  <a:pt x="6503076" y="6102104"/>
                  <a:pt x="6500437" y="6112465"/>
                  <a:pt x="6497798" y="6122825"/>
                </a:cubicBezTo>
                <a:cubicBezTo>
                  <a:pt x="6486432" y="6129326"/>
                  <a:pt x="6474997" y="6135759"/>
                  <a:pt x="6463495" y="6142124"/>
                </a:cubicBezTo>
                <a:cubicBezTo>
                  <a:pt x="6467351" y="6133727"/>
                  <a:pt x="6471140" y="6125195"/>
                  <a:pt x="6475132" y="6116730"/>
                </a:cubicBezTo>
                <a:close/>
                <a:moveTo>
                  <a:pt x="6477839" y="6109891"/>
                </a:moveTo>
                <a:lnTo>
                  <a:pt x="6484943" y="6093436"/>
                </a:lnTo>
                <a:lnTo>
                  <a:pt x="6492521" y="6084904"/>
                </a:lnTo>
                <a:cubicBezTo>
                  <a:pt x="6499335" y="6077184"/>
                  <a:pt x="6506101" y="6069444"/>
                  <a:pt x="6512819" y="6061677"/>
                </a:cubicBezTo>
                <a:cubicBezTo>
                  <a:pt x="6510857" y="6069870"/>
                  <a:pt x="6508895" y="6077997"/>
                  <a:pt x="6506865" y="6086123"/>
                </a:cubicBezTo>
                <a:cubicBezTo>
                  <a:pt x="6497325" y="6094249"/>
                  <a:pt x="6487649" y="6102104"/>
                  <a:pt x="6477839" y="6110027"/>
                </a:cubicBezTo>
                <a:close/>
                <a:moveTo>
                  <a:pt x="6490018" y="6082805"/>
                </a:moveTo>
                <a:lnTo>
                  <a:pt x="6489206" y="6083685"/>
                </a:lnTo>
                <a:cubicBezTo>
                  <a:pt x="6492995" y="6074949"/>
                  <a:pt x="6496716" y="6066078"/>
                  <a:pt x="6500370" y="6057275"/>
                </a:cubicBezTo>
                <a:cubicBezTo>
                  <a:pt x="6506730" y="6047030"/>
                  <a:pt x="6513022" y="6036757"/>
                  <a:pt x="6519247" y="6026464"/>
                </a:cubicBezTo>
                <a:lnTo>
                  <a:pt x="6522292" y="6021318"/>
                </a:lnTo>
                <a:cubicBezTo>
                  <a:pt x="6519768" y="6032511"/>
                  <a:pt x="6517217" y="6043644"/>
                  <a:pt x="6514646" y="6054702"/>
                </a:cubicBezTo>
                <a:cubicBezTo>
                  <a:pt x="6506344" y="6064135"/>
                  <a:pt x="6498137" y="6073507"/>
                  <a:pt x="6490018" y="6082805"/>
                </a:cubicBezTo>
                <a:close/>
                <a:moveTo>
                  <a:pt x="6527840" y="6012108"/>
                </a:moveTo>
                <a:cubicBezTo>
                  <a:pt x="6533794" y="6002086"/>
                  <a:pt x="6539748" y="5992132"/>
                  <a:pt x="6545635" y="5982042"/>
                </a:cubicBezTo>
                <a:cubicBezTo>
                  <a:pt x="6544958" y="5994976"/>
                  <a:pt x="6544281" y="6007977"/>
                  <a:pt x="6543469" y="6020911"/>
                </a:cubicBezTo>
                <a:cubicBezTo>
                  <a:pt x="6535533" y="6030391"/>
                  <a:pt x="6527502" y="6039824"/>
                  <a:pt x="6519382" y="6049217"/>
                </a:cubicBezTo>
                <a:cubicBezTo>
                  <a:pt x="6522495" y="6036825"/>
                  <a:pt x="6525066" y="6024500"/>
                  <a:pt x="6527840" y="6012108"/>
                </a:cubicBezTo>
                <a:close/>
                <a:moveTo>
                  <a:pt x="2409602" y="977694"/>
                </a:moveTo>
                <a:cubicBezTo>
                  <a:pt x="2567144" y="854273"/>
                  <a:pt x="2735592" y="745479"/>
                  <a:pt x="2912863" y="652653"/>
                </a:cubicBezTo>
                <a:cubicBezTo>
                  <a:pt x="2767940" y="760587"/>
                  <a:pt x="2632301" y="880480"/>
                  <a:pt x="2507372" y="1011078"/>
                </a:cubicBezTo>
                <a:cubicBezTo>
                  <a:pt x="2347185" y="1095806"/>
                  <a:pt x="2194387" y="1193840"/>
                  <a:pt x="2050595" y="1304157"/>
                </a:cubicBezTo>
                <a:cubicBezTo>
                  <a:pt x="2162113" y="1186682"/>
                  <a:pt x="2282109" y="1077570"/>
                  <a:pt x="2409602" y="977694"/>
                </a:cubicBezTo>
                <a:close/>
                <a:moveTo>
                  <a:pt x="2035709" y="1319529"/>
                </a:moveTo>
                <a:cubicBezTo>
                  <a:pt x="2181586" y="1206096"/>
                  <a:pt x="2336921" y="1105394"/>
                  <a:pt x="2499997" y="1018527"/>
                </a:cubicBezTo>
                <a:cubicBezTo>
                  <a:pt x="2445868" y="1075680"/>
                  <a:pt x="2393499" y="1134933"/>
                  <a:pt x="2342889" y="1196284"/>
                </a:cubicBezTo>
                <a:cubicBezTo>
                  <a:pt x="2277075" y="1276414"/>
                  <a:pt x="2215369" y="1359164"/>
                  <a:pt x="2157769" y="1444534"/>
                </a:cubicBezTo>
                <a:cubicBezTo>
                  <a:pt x="2031501" y="1512827"/>
                  <a:pt x="1909860" y="1589354"/>
                  <a:pt x="1793619" y="1673621"/>
                </a:cubicBezTo>
                <a:cubicBezTo>
                  <a:pt x="1761819" y="1696692"/>
                  <a:pt x="1730492" y="1720257"/>
                  <a:pt x="1699638" y="1744317"/>
                </a:cubicBezTo>
                <a:cubicBezTo>
                  <a:pt x="1799593" y="1593566"/>
                  <a:pt x="1912012" y="1451469"/>
                  <a:pt x="2035709" y="1319529"/>
                </a:cubicBezTo>
                <a:close/>
                <a:moveTo>
                  <a:pt x="1592058" y="1736191"/>
                </a:moveTo>
                <a:cubicBezTo>
                  <a:pt x="1721980" y="1589333"/>
                  <a:pt x="1864744" y="1454374"/>
                  <a:pt x="2018659" y="1332937"/>
                </a:cubicBezTo>
                <a:cubicBezTo>
                  <a:pt x="1898351" y="1463048"/>
                  <a:pt x="1788937" y="1602836"/>
                  <a:pt x="1691519" y="1750886"/>
                </a:cubicBezTo>
                <a:cubicBezTo>
                  <a:pt x="1555034" y="1858068"/>
                  <a:pt x="1427378" y="1976044"/>
                  <a:pt x="1309777" y="2103691"/>
                </a:cubicBezTo>
                <a:cubicBezTo>
                  <a:pt x="1395192" y="1974751"/>
                  <a:pt x="1489511" y="1851953"/>
                  <a:pt x="1592058" y="1736191"/>
                </a:cubicBezTo>
                <a:close/>
                <a:moveTo>
                  <a:pt x="1297801" y="2121500"/>
                </a:moveTo>
                <a:cubicBezTo>
                  <a:pt x="1416925" y="1990570"/>
                  <a:pt x="1546542" y="1869607"/>
                  <a:pt x="1685362" y="1759824"/>
                </a:cubicBezTo>
                <a:cubicBezTo>
                  <a:pt x="1641836" y="1826370"/>
                  <a:pt x="1600671" y="1894628"/>
                  <a:pt x="1561881" y="1964600"/>
                </a:cubicBezTo>
                <a:cubicBezTo>
                  <a:pt x="1513348" y="2052179"/>
                  <a:pt x="1469030" y="2141430"/>
                  <a:pt x="1428928" y="2232353"/>
                </a:cubicBezTo>
                <a:cubicBezTo>
                  <a:pt x="1316307" y="2322775"/>
                  <a:pt x="1209781" y="2420545"/>
                  <a:pt x="1110043" y="2525026"/>
                </a:cubicBezTo>
                <a:cubicBezTo>
                  <a:pt x="1085956" y="2550216"/>
                  <a:pt x="1062295" y="2575766"/>
                  <a:pt x="1039067" y="2601681"/>
                </a:cubicBezTo>
                <a:cubicBezTo>
                  <a:pt x="1111673" y="2434630"/>
                  <a:pt x="1198225" y="2273999"/>
                  <a:pt x="1297801" y="2121500"/>
                </a:cubicBezTo>
                <a:close/>
                <a:moveTo>
                  <a:pt x="916195" y="2633982"/>
                </a:moveTo>
                <a:cubicBezTo>
                  <a:pt x="1022794" y="2457268"/>
                  <a:pt x="1145781" y="2290989"/>
                  <a:pt x="1283525" y="2137346"/>
                </a:cubicBezTo>
                <a:cubicBezTo>
                  <a:pt x="1186770" y="2287590"/>
                  <a:pt x="1102607" y="2445594"/>
                  <a:pt x="1031895" y="2609739"/>
                </a:cubicBezTo>
                <a:cubicBezTo>
                  <a:pt x="910768" y="2745735"/>
                  <a:pt x="801314" y="2891706"/>
                  <a:pt x="704687" y="3046107"/>
                </a:cubicBezTo>
                <a:cubicBezTo>
                  <a:pt x="765467" y="2903949"/>
                  <a:pt x="836139" y="2766233"/>
                  <a:pt x="916195" y="2633982"/>
                </a:cubicBezTo>
                <a:close/>
                <a:moveTo>
                  <a:pt x="696162" y="3066219"/>
                </a:moveTo>
                <a:cubicBezTo>
                  <a:pt x="793648" y="2907992"/>
                  <a:pt x="904571" y="2758459"/>
                  <a:pt x="1027700" y="2619287"/>
                </a:cubicBezTo>
                <a:cubicBezTo>
                  <a:pt x="994140" y="2697974"/>
                  <a:pt x="963605" y="2778104"/>
                  <a:pt x="936087" y="2859682"/>
                </a:cubicBezTo>
                <a:cubicBezTo>
                  <a:pt x="903522" y="2956199"/>
                  <a:pt x="875598" y="3053692"/>
                  <a:pt x="852323" y="3152152"/>
                </a:cubicBezTo>
                <a:cubicBezTo>
                  <a:pt x="757916" y="3261393"/>
                  <a:pt x="670827" y="3376769"/>
                  <a:pt x="591626" y="3497508"/>
                </a:cubicBezTo>
                <a:cubicBezTo>
                  <a:pt x="568170" y="3533175"/>
                  <a:pt x="545459" y="3569288"/>
                  <a:pt x="523492" y="3605855"/>
                </a:cubicBezTo>
                <a:cubicBezTo>
                  <a:pt x="565172" y="3421272"/>
                  <a:pt x="622950" y="3240699"/>
                  <a:pt x="696162" y="3066219"/>
                </a:cubicBezTo>
                <a:close/>
                <a:moveTo>
                  <a:pt x="420174" y="3627863"/>
                </a:moveTo>
                <a:cubicBezTo>
                  <a:pt x="491528" y="3439136"/>
                  <a:pt x="580085" y="3257384"/>
                  <a:pt x="684727" y="3084909"/>
                </a:cubicBezTo>
                <a:cubicBezTo>
                  <a:pt x="614052" y="3256490"/>
                  <a:pt x="558274" y="3433841"/>
                  <a:pt x="518011" y="3614997"/>
                </a:cubicBezTo>
                <a:cubicBezTo>
                  <a:pt x="425193" y="3770109"/>
                  <a:pt x="345504" y="3932725"/>
                  <a:pt x="279778" y="4101137"/>
                </a:cubicBezTo>
                <a:cubicBezTo>
                  <a:pt x="314722" y="3940099"/>
                  <a:pt x="361652" y="3781899"/>
                  <a:pt x="420174" y="3627863"/>
                </a:cubicBezTo>
                <a:close/>
                <a:moveTo>
                  <a:pt x="275312" y="4122197"/>
                </a:moveTo>
                <a:cubicBezTo>
                  <a:pt x="341179" y="3950141"/>
                  <a:pt x="421580" y="3784018"/>
                  <a:pt x="515643" y="3625628"/>
                </a:cubicBezTo>
                <a:cubicBezTo>
                  <a:pt x="498863" y="3702372"/>
                  <a:pt x="484812" y="3779732"/>
                  <a:pt x="473491" y="3857694"/>
                </a:cubicBezTo>
                <a:cubicBezTo>
                  <a:pt x="458380" y="3961843"/>
                  <a:pt x="448321" y="4066127"/>
                  <a:pt x="443314" y="4170546"/>
                </a:cubicBezTo>
                <a:cubicBezTo>
                  <a:pt x="373567" y="4290642"/>
                  <a:pt x="311488" y="4415038"/>
                  <a:pt x="257450" y="4542990"/>
                </a:cubicBezTo>
                <a:cubicBezTo>
                  <a:pt x="240354" y="4583620"/>
                  <a:pt x="224093" y="4624385"/>
                  <a:pt x="208667" y="4665286"/>
                </a:cubicBezTo>
                <a:cubicBezTo>
                  <a:pt x="215525" y="4482654"/>
                  <a:pt x="237820" y="4300929"/>
                  <a:pt x="275312" y="4122061"/>
                </a:cubicBezTo>
                <a:close/>
                <a:moveTo>
                  <a:pt x="111776" y="4706729"/>
                </a:moveTo>
                <a:cubicBezTo>
                  <a:pt x="146889" y="4514190"/>
                  <a:pt x="199081" y="4325165"/>
                  <a:pt x="267734" y="4141902"/>
                </a:cubicBezTo>
                <a:cubicBezTo>
                  <a:pt x="232084" y="4317499"/>
                  <a:pt x="211059" y="4495757"/>
                  <a:pt x="204878" y="4674834"/>
                </a:cubicBezTo>
                <a:cubicBezTo>
                  <a:pt x="141904" y="4843849"/>
                  <a:pt x="93132" y="5017834"/>
                  <a:pt x="59069" y="5194968"/>
                </a:cubicBezTo>
                <a:cubicBezTo>
                  <a:pt x="64525" y="5031140"/>
                  <a:pt x="82142" y="4867943"/>
                  <a:pt x="111776" y="4706729"/>
                </a:cubicBezTo>
                <a:close/>
                <a:moveTo>
                  <a:pt x="58460" y="5216570"/>
                </a:moveTo>
                <a:cubicBezTo>
                  <a:pt x="91999" y="5035772"/>
                  <a:pt x="140869" y="4858164"/>
                  <a:pt x="204539" y="4685669"/>
                </a:cubicBezTo>
                <a:cubicBezTo>
                  <a:pt x="202239" y="4760564"/>
                  <a:pt x="202487" y="4835709"/>
                  <a:pt x="205284" y="4911099"/>
                </a:cubicBezTo>
                <a:cubicBezTo>
                  <a:pt x="273542" y="6721382"/>
                  <a:pt x="1795182" y="8133544"/>
                  <a:pt x="3603963" y="8065217"/>
                </a:cubicBezTo>
                <a:cubicBezTo>
                  <a:pt x="4455040" y="8033051"/>
                  <a:pt x="5260189" y="7670630"/>
                  <a:pt x="5848865" y="7054610"/>
                </a:cubicBezTo>
                <a:cubicBezTo>
                  <a:pt x="6102836" y="6789024"/>
                  <a:pt x="6309885" y="6482185"/>
                  <a:pt x="6461194" y="6147203"/>
                </a:cubicBezTo>
                <a:cubicBezTo>
                  <a:pt x="6473055" y="6140614"/>
                  <a:pt x="6484855" y="6133978"/>
                  <a:pt x="6496581" y="6127295"/>
                </a:cubicBezTo>
                <a:cubicBezTo>
                  <a:pt x="6063938" y="7786359"/>
                  <a:pt x="4425121" y="8829876"/>
                  <a:pt x="2740260" y="8519191"/>
                </a:cubicBezTo>
                <a:cubicBezTo>
                  <a:pt x="1155809" y="8229295"/>
                  <a:pt x="18037" y="6828097"/>
                  <a:pt x="58460" y="5216570"/>
                </a:cubicBezTo>
                <a:close/>
                <a:moveTo>
                  <a:pt x="6292448" y="7094224"/>
                </a:moveTo>
                <a:cubicBezTo>
                  <a:pt x="5587579" y="8761211"/>
                  <a:pt x="3665933" y="9540700"/>
                  <a:pt x="2000329" y="8835226"/>
                </a:cubicBezTo>
                <a:cubicBezTo>
                  <a:pt x="1216433" y="8503210"/>
                  <a:pt x="592504" y="7878793"/>
                  <a:pt x="260765" y="7094224"/>
                </a:cubicBezTo>
                <a:cubicBezTo>
                  <a:pt x="90204" y="6690835"/>
                  <a:pt x="2754" y="6257135"/>
                  <a:pt x="3655" y="5819115"/>
                </a:cubicBezTo>
                <a:cubicBezTo>
                  <a:pt x="3514" y="5624199"/>
                  <a:pt x="20631" y="5429655"/>
                  <a:pt x="54806" y="5237765"/>
                </a:cubicBezTo>
                <a:cubicBezTo>
                  <a:pt x="24589" y="6843333"/>
                  <a:pt x="1161594" y="8234171"/>
                  <a:pt x="2740057" y="8522509"/>
                </a:cubicBezTo>
                <a:cubicBezTo>
                  <a:pt x="4427739" y="8833668"/>
                  <a:pt x="6069019" y="7787510"/>
                  <a:pt x="6500979" y="6125331"/>
                </a:cubicBezTo>
                <a:cubicBezTo>
                  <a:pt x="6513293" y="6118288"/>
                  <a:pt x="6525540" y="6111178"/>
                  <a:pt x="6537718" y="6104000"/>
                </a:cubicBezTo>
                <a:cubicBezTo>
                  <a:pt x="6508665" y="6444955"/>
                  <a:pt x="6425882" y="6779137"/>
                  <a:pt x="6292448" y="7094224"/>
                </a:cubicBezTo>
                <a:close/>
                <a:moveTo>
                  <a:pt x="6537786" y="6099666"/>
                </a:moveTo>
                <a:cubicBezTo>
                  <a:pt x="6525878" y="6106438"/>
                  <a:pt x="6513902" y="6113616"/>
                  <a:pt x="6501858" y="6120523"/>
                </a:cubicBezTo>
                <a:cubicBezTo>
                  <a:pt x="6504632" y="6109756"/>
                  <a:pt x="6507339" y="6098989"/>
                  <a:pt x="6510045" y="6088154"/>
                </a:cubicBezTo>
                <a:cubicBezTo>
                  <a:pt x="6520330" y="6079710"/>
                  <a:pt x="6530567" y="6071177"/>
                  <a:pt x="6540763" y="6062557"/>
                </a:cubicBezTo>
                <a:cubicBezTo>
                  <a:pt x="6539816" y="6074949"/>
                  <a:pt x="6538869" y="6087274"/>
                  <a:pt x="6537786" y="6099666"/>
                </a:cubicBezTo>
                <a:close/>
                <a:moveTo>
                  <a:pt x="6511398" y="6082669"/>
                </a:moveTo>
                <a:cubicBezTo>
                  <a:pt x="6513564" y="6073866"/>
                  <a:pt x="6515661" y="6065130"/>
                  <a:pt x="6517691" y="6056327"/>
                </a:cubicBezTo>
                <a:cubicBezTo>
                  <a:pt x="6526264" y="6046441"/>
                  <a:pt x="6534741" y="6036534"/>
                  <a:pt x="6543131" y="6026599"/>
                </a:cubicBezTo>
                <a:cubicBezTo>
                  <a:pt x="6542543" y="6037028"/>
                  <a:pt x="6541866" y="6047456"/>
                  <a:pt x="6541101" y="6057885"/>
                </a:cubicBezTo>
                <a:close/>
                <a:moveTo>
                  <a:pt x="7996890" y="4256141"/>
                </a:moveTo>
                <a:cubicBezTo>
                  <a:pt x="7756762" y="5029400"/>
                  <a:pt x="7238007" y="5685706"/>
                  <a:pt x="6541372" y="6097567"/>
                </a:cubicBezTo>
                <a:cubicBezTo>
                  <a:pt x="6542455" y="6084904"/>
                  <a:pt x="6543402" y="6072173"/>
                  <a:pt x="6544349" y="6059510"/>
                </a:cubicBezTo>
                <a:cubicBezTo>
                  <a:pt x="7924628" y="4887716"/>
                  <a:pt x="8094388" y="2817935"/>
                  <a:pt x="6923588" y="1436530"/>
                </a:cubicBezTo>
                <a:cubicBezTo>
                  <a:pt x="6102410" y="467695"/>
                  <a:pt x="4796084" y="60595"/>
                  <a:pt x="3570525" y="391604"/>
                </a:cubicBezTo>
                <a:cubicBezTo>
                  <a:pt x="3355858" y="449455"/>
                  <a:pt x="3147700" y="529238"/>
                  <a:pt x="2949332" y="629697"/>
                </a:cubicBezTo>
                <a:cubicBezTo>
                  <a:pt x="3078151" y="536401"/>
                  <a:pt x="3213534" y="452530"/>
                  <a:pt x="3354417" y="378738"/>
                </a:cubicBezTo>
                <a:cubicBezTo>
                  <a:pt x="4954200" y="-461690"/>
                  <a:pt x="6931842" y="154966"/>
                  <a:pt x="7771512" y="1756080"/>
                </a:cubicBezTo>
                <a:cubicBezTo>
                  <a:pt x="8175514" y="2526373"/>
                  <a:pt x="8256639" y="3425918"/>
                  <a:pt x="7996890" y="4256141"/>
                </a:cubicBezTo>
                <a:close/>
              </a:path>
            </a:pathLst>
          </a:custGeom>
          <a:gradFill flip="none" rotWithShape="1">
            <a:gsLst>
              <a:gs pos="0">
                <a:srgbClr val="FF6D70"/>
              </a:gs>
              <a:gs pos="66000">
                <a:srgbClr val="2C1F56"/>
              </a:gs>
              <a:gs pos="26000">
                <a:schemeClr val="accent1">
                  <a:lumMod val="45000"/>
                  <a:lumOff val="55000"/>
                </a:schemeClr>
              </a:gs>
            </a:gsLst>
            <a:lin ang="0" scaled="0"/>
            <a:tileRect/>
          </a:gradFill>
          <a:ln w="6758" cap="flat">
            <a:noFill/>
            <a:prstDash val="solid"/>
            <a:miter/>
          </a:ln>
        </p:spPr>
        <p:txBody>
          <a:bodyPr rtlCol="0" anchor="ctr"/>
          <a:lstStyle/>
          <a:p>
            <a:endParaRPr lang="en-US" sz="2400"/>
          </a:p>
        </p:txBody>
      </p:sp>
      <p:sp>
        <p:nvSpPr>
          <p:cNvPr id="2" name="Title 1">
            <a:extLst>
              <a:ext uri="{FF2B5EF4-FFF2-40B4-BE49-F238E27FC236}">
                <a16:creationId xmlns:a16="http://schemas.microsoft.com/office/drawing/2014/main" id="{1731944A-0D3C-514A-A98E-4FD741224354}"/>
              </a:ext>
            </a:extLst>
          </p:cNvPr>
          <p:cNvSpPr>
            <a:spLocks noGrp="1"/>
          </p:cNvSpPr>
          <p:nvPr>
            <p:ph type="title" hasCustomPrompt="1"/>
          </p:nvPr>
        </p:nvSpPr>
        <p:spPr>
          <a:xfrm>
            <a:off x="508000" y="365677"/>
            <a:ext cx="11176000" cy="517001"/>
          </a:xfrm>
        </p:spPr>
        <p:txBody>
          <a:bodyPr/>
          <a:lstStyle>
            <a:lvl1pPr>
              <a:defRPr>
                <a:solidFill>
                  <a:schemeClr val="bg1"/>
                </a:solidFill>
              </a:defRPr>
            </a:lvl1pPr>
          </a:lstStyle>
          <a:p>
            <a:r>
              <a:rPr lang="en-US" dirty="0"/>
              <a:t>Click to edit master title style</a:t>
            </a:r>
          </a:p>
        </p:txBody>
      </p:sp>
      <p:sp>
        <p:nvSpPr>
          <p:cNvPr id="7" name="Date Placeholder 2">
            <a:extLst>
              <a:ext uri="{FF2B5EF4-FFF2-40B4-BE49-F238E27FC236}">
                <a16:creationId xmlns:a16="http://schemas.microsoft.com/office/drawing/2014/main" id="{B1BE08C3-486D-4D29-A4CC-55058E6CAD49}"/>
              </a:ext>
            </a:extLst>
          </p:cNvPr>
          <p:cNvSpPr>
            <a:spLocks noGrp="1"/>
          </p:cNvSpPr>
          <p:nvPr>
            <p:ph type="dt" sz="half" idx="10"/>
          </p:nvPr>
        </p:nvSpPr>
        <p:spPr>
          <a:xfrm>
            <a:off x="508000" y="6356351"/>
            <a:ext cx="814269" cy="365125"/>
          </a:xfrm>
        </p:spPr>
        <p:txBody>
          <a:bodyPr/>
          <a:lstStyle>
            <a:lvl1pPr>
              <a:defRPr>
                <a:solidFill>
                  <a:schemeClr val="bg1"/>
                </a:solidFill>
              </a:defRPr>
            </a:lvl1pPr>
          </a:lstStyle>
          <a:p>
            <a:fld id="{B01F1F41-2107-2B4A-AFD3-0A9C893A5C18}" type="datetimeFigureOut">
              <a:rPr lang="en-US" smtClean="0"/>
              <a:pPr/>
              <a:t>7/16/2021</a:t>
            </a:fld>
            <a:endParaRPr lang="en-US"/>
          </a:p>
        </p:txBody>
      </p:sp>
      <p:sp>
        <p:nvSpPr>
          <p:cNvPr id="9" name="Footer Placeholder 3">
            <a:extLst>
              <a:ext uri="{FF2B5EF4-FFF2-40B4-BE49-F238E27FC236}">
                <a16:creationId xmlns:a16="http://schemas.microsoft.com/office/drawing/2014/main" id="{4FD8289E-60DA-49A2-ACD5-817042829A10}"/>
              </a:ext>
            </a:extLst>
          </p:cNvPr>
          <p:cNvSpPr>
            <a:spLocks noGrp="1"/>
          </p:cNvSpPr>
          <p:nvPr>
            <p:ph type="ftr" sz="quarter" idx="11"/>
          </p:nvPr>
        </p:nvSpPr>
        <p:spPr>
          <a:xfrm>
            <a:off x="1340532" y="6356351"/>
            <a:ext cx="2823179" cy="365125"/>
          </a:xfrm>
        </p:spPr>
        <p:txBody>
          <a:bodyPr/>
          <a:lstStyle/>
          <a:p>
            <a:r>
              <a:rPr lang="en-US">
                <a:solidFill>
                  <a:schemeClr val="tx2"/>
                </a:solidFill>
              </a:rPr>
              <a:t>|</a:t>
            </a:r>
            <a:r>
              <a:rPr lang="en-US"/>
              <a:t>  </a:t>
            </a:r>
            <a:r>
              <a:rPr lang="en-US">
                <a:solidFill>
                  <a:schemeClr val="bg1"/>
                </a:solidFill>
              </a:rPr>
              <a:t>Footer</a:t>
            </a:r>
          </a:p>
        </p:txBody>
      </p:sp>
      <p:pic>
        <p:nvPicPr>
          <p:cNvPr id="11" name="Graphic 10">
            <a:extLst>
              <a:ext uri="{FF2B5EF4-FFF2-40B4-BE49-F238E27FC236}">
                <a16:creationId xmlns:a16="http://schemas.microsoft.com/office/drawing/2014/main" id="{B1B20BC1-BF3E-48DF-8D38-782E26BEB7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429112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Engage CTA">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10" name="Text Placeholder 9">
            <a:extLst>
              <a:ext uri="{FF2B5EF4-FFF2-40B4-BE49-F238E27FC236}">
                <a16:creationId xmlns:a16="http://schemas.microsoft.com/office/drawing/2014/main" id="{DB6FC22D-6295-4A49-BC29-503E7C2A5F37}"/>
              </a:ext>
            </a:extLst>
          </p:cNvPr>
          <p:cNvSpPr>
            <a:spLocks noGrp="1"/>
          </p:cNvSpPr>
          <p:nvPr>
            <p:ph type="body" sz="quarter" idx="10"/>
          </p:nvPr>
        </p:nvSpPr>
        <p:spPr>
          <a:xfrm>
            <a:off x="5723348" y="736600"/>
            <a:ext cx="5960653" cy="4150784"/>
          </a:xfrm>
        </p:spPr>
        <p:txBody>
          <a:bodyPr>
            <a:normAutofit/>
          </a:bodyPr>
          <a:lstStyle>
            <a:lvl1pPr marL="0" indent="383108">
              <a:spcAft>
                <a:spcPts val="2400"/>
              </a:spcAft>
              <a:buFontTx/>
              <a:buBlip>
                <a:blip r:embed="rId3"/>
              </a:buBlip>
              <a:tabLst/>
              <a:defRPr sz="2133">
                <a:solidFill>
                  <a:schemeClr val="accent5"/>
                </a:solidFill>
                <a:latin typeface="+mn-lt"/>
              </a:defRPr>
            </a:lvl1pPr>
            <a:lvl2pPr marL="0" indent="383108">
              <a:spcAft>
                <a:spcPts val="2400"/>
              </a:spcAft>
              <a:buFontTx/>
              <a:buBlip>
                <a:blip r:embed="rId3"/>
              </a:buBlip>
              <a:tabLst/>
              <a:defRPr sz="2133">
                <a:solidFill>
                  <a:schemeClr val="accent5"/>
                </a:solidFill>
                <a:latin typeface="+mn-lt"/>
              </a:defRPr>
            </a:lvl2pPr>
            <a:lvl3pPr marL="0" indent="383108">
              <a:spcAft>
                <a:spcPts val="2400"/>
              </a:spcAft>
              <a:buFontTx/>
              <a:buBlip>
                <a:blip r:embed="rId3"/>
              </a:buBlip>
              <a:tabLst/>
              <a:defRPr sz="2133">
                <a:solidFill>
                  <a:schemeClr val="accent5"/>
                </a:solidFill>
                <a:latin typeface="+mn-lt"/>
              </a:defRPr>
            </a:lvl3pPr>
            <a:lvl4pPr marL="0" indent="383108">
              <a:spcAft>
                <a:spcPts val="2400"/>
              </a:spcAft>
              <a:buFontTx/>
              <a:buBlip>
                <a:blip r:embed="rId3"/>
              </a:buBlip>
              <a:tabLst/>
              <a:defRPr sz="2133">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5980022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7531181"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6016579" y="2019357"/>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5551891" y="5442395"/>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5551891" y="5367695"/>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spTree>
    <p:extLst>
      <p:ext uri="{BB962C8B-B14F-4D97-AF65-F5344CB8AC3E}">
        <p14:creationId xmlns:p14="http://schemas.microsoft.com/office/powerpoint/2010/main" val="58266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65" name="Group 64">
            <a:extLst>
              <a:ext uri="{FF2B5EF4-FFF2-40B4-BE49-F238E27FC236}">
                <a16:creationId xmlns:a16="http://schemas.microsoft.com/office/drawing/2014/main" id="{CC0EE77F-062F-7044-B649-E334A4557711}"/>
              </a:ext>
            </a:extLst>
          </p:cNvPr>
          <p:cNvGrpSpPr/>
          <p:nvPr userDrawn="1"/>
        </p:nvGrpSpPr>
        <p:grpSpPr>
          <a:xfrm>
            <a:off x="5551891" y="1"/>
            <a:ext cx="7959877" cy="7591636"/>
            <a:chOff x="7994577" y="0"/>
            <a:chExt cx="11462017" cy="10932307"/>
          </a:xfrm>
        </p:grpSpPr>
        <p:grpSp>
          <p:nvGrpSpPr>
            <p:cNvPr id="8" name="Circle">
              <a:extLst>
                <a:ext uri="{FF2B5EF4-FFF2-40B4-BE49-F238E27FC236}">
                  <a16:creationId xmlns:a16="http://schemas.microsoft.com/office/drawing/2014/main" id="{4970906B-47AF-9543-A23B-58EC8065A7D2}"/>
                </a:ext>
              </a:extLst>
            </p:cNvPr>
            <p:cNvGrpSpPr/>
            <p:nvPr userDrawn="1"/>
          </p:nvGrpSpPr>
          <p:grpSpPr>
            <a:xfrm>
              <a:off x="9956627" y="1432340"/>
              <a:ext cx="9499967" cy="9499967"/>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14" name="one lump">
              <a:extLst>
                <a:ext uri="{FF2B5EF4-FFF2-40B4-BE49-F238E27FC236}">
                  <a16:creationId xmlns:a16="http://schemas.microsoft.com/office/drawing/2014/main" id="{4CA3D591-3B0F-8948-88A0-ACCBF374FB5D}"/>
                </a:ext>
              </a:extLst>
            </p:cNvPr>
            <p:cNvGrpSpPr/>
            <p:nvPr userDrawn="1"/>
          </p:nvGrpSpPr>
          <p:grpSpPr>
            <a:xfrm rot="10800000">
              <a:off x="14016662" y="0"/>
              <a:ext cx="3562164" cy="4398387"/>
              <a:chOff x="2328672" y="2862072"/>
              <a:chExt cx="1847682" cy="2281428"/>
            </a:xfrm>
          </p:grpSpPr>
          <p:sp>
            <p:nvSpPr>
              <p:cNvPr id="15" name="Graphic 6" hidden="1">
                <a:extLst>
                  <a:ext uri="{FF2B5EF4-FFF2-40B4-BE49-F238E27FC236}">
                    <a16:creationId xmlns:a16="http://schemas.microsoft.com/office/drawing/2014/main" id="{918EB62E-DBF3-B948-B499-9E979886B8C6}"/>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16" name="Graphic 6">
                <a:extLst>
                  <a:ext uri="{FF2B5EF4-FFF2-40B4-BE49-F238E27FC236}">
                    <a16:creationId xmlns:a16="http://schemas.microsoft.com/office/drawing/2014/main" id="{216FA2DA-94DF-9540-9EB3-655F51D1AC9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37" name="4 Xs">
              <a:extLst>
                <a:ext uri="{FF2B5EF4-FFF2-40B4-BE49-F238E27FC236}">
                  <a16:creationId xmlns:a16="http://schemas.microsoft.com/office/drawing/2014/main" id="{2428E0FC-1648-9543-BAF3-57967B99CAF3}"/>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38" name="Graphic 37">
                <a:extLst>
                  <a:ext uri="{FF2B5EF4-FFF2-40B4-BE49-F238E27FC236}">
                    <a16:creationId xmlns:a16="http://schemas.microsoft.com/office/drawing/2014/main" id="{890E5B45-35A6-E24C-892F-F944E2F1576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39" name="Graphic 37">
                <a:extLst>
                  <a:ext uri="{FF2B5EF4-FFF2-40B4-BE49-F238E27FC236}">
                    <a16:creationId xmlns:a16="http://schemas.microsoft.com/office/drawing/2014/main" id="{4C913FCA-D8CF-0544-8BEA-D9483D1026D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0" name="Graphic 37">
                <a:extLst>
                  <a:ext uri="{FF2B5EF4-FFF2-40B4-BE49-F238E27FC236}">
                    <a16:creationId xmlns:a16="http://schemas.microsoft.com/office/drawing/2014/main" id="{FE4A9092-A59B-2B4B-992A-B70F0727CE4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1" name="Graphic 37">
                <a:extLst>
                  <a:ext uri="{FF2B5EF4-FFF2-40B4-BE49-F238E27FC236}">
                    <a16:creationId xmlns:a16="http://schemas.microsoft.com/office/drawing/2014/main" id="{8885AE4E-A2DB-B34B-9080-690ED54CEB4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1284446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reserve="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35" name="4 Xs">
            <a:extLst>
              <a:ext uri="{FF2B5EF4-FFF2-40B4-BE49-F238E27FC236}">
                <a16:creationId xmlns:a16="http://schemas.microsoft.com/office/drawing/2014/main" id="{6B49B282-FF20-8449-BA31-484C4E7A5229}"/>
              </a:ext>
            </a:extLst>
          </p:cNvPr>
          <p:cNvGrpSpPr/>
          <p:nvPr userDrawn="1"/>
        </p:nvGrpSpPr>
        <p:grpSpPr>
          <a:xfrm>
            <a:off x="10281533" y="2246882"/>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3" y="5548188"/>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grpSp>
      <p:grpSp>
        <p:nvGrpSpPr>
          <p:cNvPr id="44" name="waves">
            <a:extLst>
              <a:ext uri="{FF2B5EF4-FFF2-40B4-BE49-F238E27FC236}">
                <a16:creationId xmlns:a16="http://schemas.microsoft.com/office/drawing/2014/main" id="{3E36DA55-C2AD-DB4B-B056-C8D8A465ACBC}"/>
              </a:ext>
            </a:extLst>
          </p:cNvPr>
          <p:cNvGrpSpPr/>
          <p:nvPr userDrawn="1"/>
        </p:nvGrpSpPr>
        <p:grpSpPr>
          <a:xfrm>
            <a:off x="6096001" y="4542732"/>
            <a:ext cx="7779727" cy="2330729"/>
            <a:chOff x="4253152" y="151074"/>
            <a:chExt cx="6930220" cy="2076330"/>
          </a:xfrm>
        </p:grpSpPr>
        <p:sp>
          <p:nvSpPr>
            <p:cNvPr id="45" name="coral">
              <a:extLst>
                <a:ext uri="{FF2B5EF4-FFF2-40B4-BE49-F238E27FC236}">
                  <a16:creationId xmlns:a16="http://schemas.microsoft.com/office/drawing/2014/main" id="{2D6DBFE9-65EF-3D48-B26A-C68DFA974FD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Source Sans Pro" panose="020B0503030403020204" pitchFamily="34" charset="0"/>
              </a:endParaRPr>
            </a:p>
          </p:txBody>
        </p:sp>
        <p:sp>
          <p:nvSpPr>
            <p:cNvPr id="46" name="green">
              <a:extLst>
                <a:ext uri="{FF2B5EF4-FFF2-40B4-BE49-F238E27FC236}">
                  <a16:creationId xmlns:a16="http://schemas.microsoft.com/office/drawing/2014/main" id="{2C2D7C0F-291B-4C40-BA4D-FEDF4CBE20C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latin typeface="Source Sans Pro" panose="020B0503030403020204" pitchFamily="34" charset="0"/>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0"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gr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66"/>
            <a:ext cx="6980716" cy="1111535"/>
          </a:xfrm>
          <a:prstGeom prst="rect">
            <a:avLst/>
          </a:prstGeom>
        </p:spPr>
        <p:txBody>
          <a:bodyPr anchor="ctr" anchorCtr="0">
            <a:normAutofit/>
          </a:bodyPr>
          <a:lstStyle>
            <a:lvl1pPr algn="l">
              <a:defRPr sz="4583">
                <a:solidFill>
                  <a:schemeClr val="accent5"/>
                </a:solidFill>
                <a:latin typeface="Source Sans Pro" panose="020B0503030403020204" pitchFamily="34" charset="0"/>
              </a:defRPr>
            </a:lvl1pPr>
          </a:lstStyle>
          <a:p>
            <a:r>
              <a:rPr lang="en-US" dirty="0"/>
              <a:t>First Last</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5" y="3826100"/>
            <a:ext cx="6875983" cy="532587"/>
          </a:xfrm>
          <a:prstGeom prst="rect">
            <a:avLst/>
          </a:prstGeom>
        </p:spPr>
        <p:txBody>
          <a:bodyPr/>
          <a:lstStyle>
            <a:lvl1pPr marL="0" indent="0" algn="l">
              <a:buNone/>
              <a:defRPr sz="2400">
                <a:solidFill>
                  <a:schemeClr val="bg2"/>
                </a:solidFill>
                <a:latin typeface="Source Sans Pro" panose="020B0503030403020204" pitchFamily="34" charset="0"/>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Title, Company</a:t>
            </a:r>
          </a:p>
        </p:txBody>
      </p:sp>
      <p:pic>
        <p:nvPicPr>
          <p:cNvPr id="6" name="Picture 5">
            <a:extLst>
              <a:ext uri="{FF2B5EF4-FFF2-40B4-BE49-F238E27FC236}">
                <a16:creationId xmlns:a16="http://schemas.microsoft.com/office/drawing/2014/main" id="{513E09BB-3A34-7645-AFFB-D25C8E2D5F72}"/>
              </a:ext>
            </a:extLst>
          </p:cNvPr>
          <p:cNvPicPr>
            <a:picLocks noChangeAspect="1"/>
          </p:cNvPicPr>
          <p:nvPr userDrawn="1"/>
        </p:nvPicPr>
        <p:blipFill>
          <a:blip r:embed="rId2"/>
          <a:stretch>
            <a:fillRect/>
          </a:stretch>
        </p:blipFill>
        <p:spPr>
          <a:xfrm>
            <a:off x="508229" y="563421"/>
            <a:ext cx="927403" cy="927401"/>
          </a:xfrm>
          <a:prstGeom prst="rect">
            <a:avLst/>
          </a:prstGeom>
        </p:spPr>
      </p:pic>
      <p:grpSp>
        <p:nvGrpSpPr>
          <p:cNvPr id="7" name="Photo">
            <a:extLst>
              <a:ext uri="{FF2B5EF4-FFF2-40B4-BE49-F238E27FC236}">
                <a16:creationId xmlns:a16="http://schemas.microsoft.com/office/drawing/2014/main" id="{2199EC45-4F3B-724E-97CC-7FC956B4B86B}"/>
              </a:ext>
            </a:extLst>
          </p:cNvPr>
          <p:cNvGrpSpPr/>
          <p:nvPr userDrawn="1"/>
        </p:nvGrpSpPr>
        <p:grpSpPr>
          <a:xfrm>
            <a:off x="1209262" y="1953610"/>
            <a:ext cx="2952036" cy="2951885"/>
            <a:chOff x="2925896" y="913502"/>
            <a:chExt cx="3630630" cy="3630630"/>
          </a:xfrm>
        </p:grpSpPr>
        <p:sp>
          <p:nvSpPr>
            <p:cNvPr id="8" name="Oval 7">
              <a:extLst>
                <a:ext uri="{FF2B5EF4-FFF2-40B4-BE49-F238E27FC236}">
                  <a16:creationId xmlns:a16="http://schemas.microsoft.com/office/drawing/2014/main" id="{3F3B23D8-7258-B541-90BD-1AD09EC73516}"/>
                </a:ext>
              </a:extLst>
            </p:cNvPr>
            <p:cNvSpPr/>
            <p:nvPr/>
          </p:nvSpPr>
          <p:spPr>
            <a:xfrm>
              <a:off x="2925896" y="913502"/>
              <a:ext cx="3630630" cy="3630630"/>
            </a:xfrm>
            <a:prstGeom prst="ellipse">
              <a:avLst/>
            </a:prstGeom>
            <a:gradFill flip="none" rotWithShape="1">
              <a:gsLst>
                <a:gs pos="0">
                  <a:srgbClr val="4D80A4"/>
                </a:gs>
                <a:gs pos="72000">
                  <a:srgbClr val="22415F"/>
                </a:gs>
                <a:gs pos="99000">
                  <a:schemeClr val="tx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8070" rtl="0" eaLnBrk="1" fontAlgn="auto" latinLnBrk="0" hangingPunct="1">
                <a:lnSpc>
                  <a:spcPct val="100000"/>
                </a:lnSpc>
                <a:spcBef>
                  <a:spcPts val="0"/>
                </a:spcBef>
                <a:spcAft>
                  <a:spcPts val="0"/>
                </a:spcAft>
                <a:buClrTx/>
                <a:buSzTx/>
                <a:buFontTx/>
                <a:buNone/>
                <a:tabLst/>
                <a:defRPr/>
              </a:pPr>
              <a:endParaRPr kumimoji="0" lang="en-US" sz="740" u="none" strike="noStrike" kern="1200" cap="none" spc="0" normalizeH="0" baseline="0" noProof="0" dirty="0">
                <a:ln>
                  <a:noFill/>
                </a:ln>
                <a:solidFill>
                  <a:srgbClr val="F8F3EF"/>
                </a:solidFill>
                <a:effectLst/>
                <a:uLnTx/>
                <a:uFillTx/>
                <a:latin typeface="Source Sans Pro" panose="020B0503030403020204" pitchFamily="34" charset="0"/>
                <a:ea typeface="+mn-ea"/>
                <a:cs typeface="+mn-cs"/>
              </a:endParaRPr>
            </a:p>
          </p:txBody>
        </p:sp>
        <p:pic>
          <p:nvPicPr>
            <p:cNvPr id="9" name="Picture 8">
              <a:extLst>
                <a:ext uri="{FF2B5EF4-FFF2-40B4-BE49-F238E27FC236}">
                  <a16:creationId xmlns:a16="http://schemas.microsoft.com/office/drawing/2014/main" id="{309D3969-35AE-BA42-959F-89CC45BB343C}"/>
                </a:ext>
              </a:extLst>
            </p:cNvPr>
            <p:cNvPicPr>
              <a:picLocks noChangeAspect="1"/>
            </p:cNvPicPr>
            <p:nvPr/>
          </p:nvPicPr>
          <p:blipFill rotWithShape="1">
            <a:blip r:embed="rId3"/>
            <a:srcRect l="5686" t="25971" r="24859" b="20353"/>
            <a:stretch/>
          </p:blipFill>
          <p:spPr>
            <a:xfrm>
              <a:off x="2925896" y="913502"/>
              <a:ext cx="3630630" cy="3630630"/>
            </a:xfrm>
            <a:prstGeom prst="ellipse">
              <a:avLst/>
            </a:prstGeom>
          </p:spPr>
        </p:pic>
      </p:grpSp>
    </p:spTree>
    <p:extLst>
      <p:ext uri="{BB962C8B-B14F-4D97-AF65-F5344CB8AC3E}">
        <p14:creationId xmlns:p14="http://schemas.microsoft.com/office/powerpoint/2010/main" val="25801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decel="50000" fill="hold" nodeType="withEffect">
                                  <p:stCondLst>
                                    <p:cond delay="0"/>
                                  </p:stCondLst>
                                  <p:childTnLst>
                                    <p:animScale>
                                      <p:cBhvr>
                                        <p:cTn id="9" dur="5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 preserve="1">
  <p:cSld name="2_Divid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1693304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roduct">
    <p:bg>
      <p:bgPr>
        <a:solidFill>
          <a:schemeClr val="accent5"/>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294677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Divider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27481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 preserve="1">
  <p:cSld name="1_Divider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tx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1">
                  <a:lumMod val="60000"/>
                  <a:lumOff val="40000"/>
                </a:schemeClr>
              </a:gs>
              <a:gs pos="100000">
                <a:schemeClr val="accent3">
                  <a:lumMod val="40000"/>
                  <a:lumOff val="60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44" name="Group 43">
            <a:extLst>
              <a:ext uri="{FF2B5EF4-FFF2-40B4-BE49-F238E27FC236}">
                <a16:creationId xmlns:a16="http://schemas.microsoft.com/office/drawing/2014/main" id="{9F385DED-ED43-A743-AE64-BC03522DC7DC}"/>
              </a:ext>
            </a:extLst>
          </p:cNvPr>
          <p:cNvGrpSpPr/>
          <p:nvPr userDrawn="1"/>
        </p:nvGrpSpPr>
        <p:grpSpPr>
          <a:xfrm>
            <a:off x="-733314" y="5049600"/>
            <a:ext cx="19125951" cy="1808401"/>
            <a:chOff x="7994577" y="7729729"/>
            <a:chExt cx="9753466" cy="2185140"/>
          </a:xfrm>
        </p:grpSpPr>
        <p:sp>
          <p:nvSpPr>
            <p:cNvPr id="45" name="Graphic 56">
              <a:extLst>
                <a:ext uri="{FF2B5EF4-FFF2-40B4-BE49-F238E27FC236}">
                  <a16:creationId xmlns:a16="http://schemas.microsoft.com/office/drawing/2014/main" id="{3FA4DCE2-42D3-F848-9A47-7D27C5A6AF7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46" name="Graphic 61">
              <a:extLst>
                <a:ext uri="{FF2B5EF4-FFF2-40B4-BE49-F238E27FC236}">
                  <a16:creationId xmlns:a16="http://schemas.microsoft.com/office/drawing/2014/main" id="{329069BE-19D3-3845-8A43-23C29D6BB37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60552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grpSp>
        <p:nvGrpSpPr>
          <p:cNvPr id="56" name="dot and strokes">
            <a:extLst>
              <a:ext uri="{FF2B5EF4-FFF2-40B4-BE49-F238E27FC236}">
                <a16:creationId xmlns:a16="http://schemas.microsoft.com/office/drawing/2014/main" id="{777B85B1-2E82-5D42-B38D-7114B297ECC0}"/>
              </a:ext>
            </a:extLst>
          </p:cNvPr>
          <p:cNvGrpSpPr/>
          <p:nvPr userDrawn="1"/>
        </p:nvGrpSpPr>
        <p:grpSpPr>
          <a:xfrm>
            <a:off x="389550" y="4724217"/>
            <a:ext cx="1015173" cy="2143992"/>
            <a:chOff x="8220065" y="840135"/>
            <a:chExt cx="539621" cy="1139708"/>
          </a:xfrm>
          <a:gradFill>
            <a:gsLst>
              <a:gs pos="100000">
                <a:srgbClr val="F9F8F6">
                  <a:alpha val="0"/>
                </a:srgbClr>
              </a:gs>
              <a:gs pos="0">
                <a:srgbClr val="F9F8F6">
                  <a:alpha val="14955"/>
                </a:srgbClr>
              </a:gs>
            </a:gsLst>
            <a:lin ang="16200000" scaled="1"/>
          </a:gradFill>
        </p:grpSpPr>
        <p:sp>
          <p:nvSpPr>
            <p:cNvPr id="57" name="Graphic 43">
              <a:extLst>
                <a:ext uri="{FF2B5EF4-FFF2-40B4-BE49-F238E27FC236}">
                  <a16:creationId xmlns:a16="http://schemas.microsoft.com/office/drawing/2014/main" id="{0F90D69D-036E-9E44-8CA4-05F80CD58109}"/>
                </a:ext>
              </a:extLst>
            </p:cNvPr>
            <p:cNvSpPr/>
            <p:nvPr/>
          </p:nvSpPr>
          <p:spPr>
            <a:xfrm>
              <a:off x="8220065" y="840135"/>
              <a:ext cx="117197" cy="1139708"/>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pFill/>
            <a:ln w="6872" cap="flat">
              <a:noFill/>
              <a:prstDash val="solid"/>
              <a:miter/>
            </a:ln>
          </p:spPr>
          <p:txBody>
            <a:bodyPr rtlCol="0" anchor="ctr"/>
            <a:lstStyle/>
            <a:p>
              <a:endParaRPr lang="en-US" sz="1249"/>
            </a:p>
          </p:txBody>
        </p:sp>
        <p:sp>
          <p:nvSpPr>
            <p:cNvPr id="58" name="Graphic 43">
              <a:extLst>
                <a:ext uri="{FF2B5EF4-FFF2-40B4-BE49-F238E27FC236}">
                  <a16:creationId xmlns:a16="http://schemas.microsoft.com/office/drawing/2014/main" id="{262D4C59-3E26-F149-B57B-1CA347E5F237}"/>
                </a:ext>
              </a:extLst>
            </p:cNvPr>
            <p:cNvSpPr/>
            <p:nvPr/>
          </p:nvSpPr>
          <p:spPr>
            <a:xfrm>
              <a:off x="8431277" y="904252"/>
              <a:ext cx="117197" cy="1075591"/>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pFill/>
            <a:ln w="6872" cap="flat">
              <a:noFill/>
              <a:prstDash val="solid"/>
              <a:miter/>
            </a:ln>
          </p:spPr>
          <p:txBody>
            <a:bodyPr rtlCol="0" anchor="ctr"/>
            <a:lstStyle/>
            <a:p>
              <a:endParaRPr lang="en-US" sz="1249"/>
            </a:p>
          </p:txBody>
        </p:sp>
        <p:sp>
          <p:nvSpPr>
            <p:cNvPr id="59" name="Graphic 43">
              <a:extLst>
                <a:ext uri="{FF2B5EF4-FFF2-40B4-BE49-F238E27FC236}">
                  <a16:creationId xmlns:a16="http://schemas.microsoft.com/office/drawing/2014/main" id="{3BA89126-75DF-AF40-AEB6-F04F1BC8C6CC}"/>
                </a:ext>
              </a:extLst>
            </p:cNvPr>
            <p:cNvSpPr/>
            <p:nvPr/>
          </p:nvSpPr>
          <p:spPr>
            <a:xfrm>
              <a:off x="8642488" y="988262"/>
              <a:ext cx="117198" cy="99158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pFill/>
            <a:ln w="6872" cap="flat">
              <a:noFill/>
              <a:prstDash val="solid"/>
              <a:miter/>
            </a:ln>
          </p:spPr>
          <p:txBody>
            <a:bodyPr rtlCol="0" anchor="ctr"/>
            <a:lstStyle/>
            <a:p>
              <a:endParaRPr lang="en-US" sz="1249"/>
            </a:p>
          </p:txBody>
        </p:sp>
      </p:grpSp>
      <p:sp>
        <p:nvSpPr>
          <p:cNvPr id="41" name="!!Title 1">
            <a:extLst>
              <a:ext uri="{FF2B5EF4-FFF2-40B4-BE49-F238E27FC236}">
                <a16:creationId xmlns:a16="http://schemas.microsoft.com/office/drawing/2014/main" id="{20CCBE6A-1302-704E-9371-712B8AF5B5B1}"/>
              </a:ext>
            </a:extLst>
          </p:cNvPr>
          <p:cNvSpPr txBox="1">
            <a:spLocks/>
          </p:cNvSpPr>
          <p:nvPr userDrawn="1"/>
        </p:nvSpPr>
        <p:spPr>
          <a:xfrm>
            <a:off x="542903" y="538142"/>
            <a:ext cx="2771799" cy="854849"/>
          </a:xfrm>
          <a:prstGeom prst="rect">
            <a:avLst/>
          </a:prstGeom>
        </p:spPr>
        <p:txBody>
          <a:bodyPr vert="horz" wrap="square" lIns="0" tIns="0" rIns="0" bIns="0" rtlCol="0" anchor="t" anchorCtr="0">
            <a:spAutoFit/>
          </a:bodyPr>
          <a:lstStyle>
            <a:lvl1pPr algn="l" defTabSz="685800" rtl="0" eaLnBrk="1" latinLnBrk="0" hangingPunct="1">
              <a:lnSpc>
                <a:spcPct val="90000"/>
              </a:lnSpc>
              <a:spcBef>
                <a:spcPct val="0"/>
              </a:spcBef>
              <a:buNone/>
              <a:defRPr sz="2800" b="1" i="0" kern="1200">
                <a:solidFill>
                  <a:schemeClr val="tx1"/>
                </a:solidFill>
                <a:latin typeface="+mj-lt"/>
                <a:ea typeface="+mj-ea"/>
                <a:cs typeface="+mj-cs"/>
              </a:defRPr>
            </a:lvl1pPr>
          </a:lstStyle>
          <a:p>
            <a:pPr marL="0" marR="0" lvl="0" indent="0" algn="l" defTabSz="914318" rtl="0" eaLnBrk="1" fontAlgn="auto" latinLnBrk="0" hangingPunct="1">
              <a:lnSpc>
                <a:spcPct val="100000"/>
              </a:lnSpc>
              <a:spcBef>
                <a:spcPct val="0"/>
              </a:spcBef>
              <a:spcAft>
                <a:spcPts val="0"/>
              </a:spcAft>
              <a:buClrTx/>
              <a:buSzTx/>
              <a:buFontTx/>
              <a:buNone/>
              <a:tabLst/>
              <a:defRPr/>
            </a:pPr>
            <a:r>
              <a:rPr kumimoji="0" lang="en-US" sz="5555" b="1" i="0" u="none" strike="noStrike" kern="1200" cap="none" spc="0" normalizeH="0" baseline="0" noProof="0" dirty="0">
                <a:ln>
                  <a:noFill/>
                </a:ln>
                <a:solidFill>
                  <a:srgbClr val="F8F3EF"/>
                </a:solidFill>
                <a:effectLst/>
                <a:uLnTx/>
                <a:uFillTx/>
                <a:latin typeface="+mn-lt"/>
                <a:ea typeface="+mj-ea"/>
                <a:cs typeface="+mj-cs"/>
              </a:rPr>
              <a:t>Agenda</a:t>
            </a:r>
          </a:p>
        </p:txBody>
      </p:sp>
      <p:grpSp>
        <p:nvGrpSpPr>
          <p:cNvPr id="4" name="Group 3">
            <a:extLst>
              <a:ext uri="{FF2B5EF4-FFF2-40B4-BE49-F238E27FC236}">
                <a16:creationId xmlns:a16="http://schemas.microsoft.com/office/drawing/2014/main" id="{4BFCADD9-4881-604B-8EB8-6C1A2638D8E7}"/>
              </a:ext>
            </a:extLst>
          </p:cNvPr>
          <p:cNvGrpSpPr/>
          <p:nvPr userDrawn="1"/>
        </p:nvGrpSpPr>
        <p:grpSpPr>
          <a:xfrm>
            <a:off x="4172707" y="807293"/>
            <a:ext cx="7511064" cy="5370624"/>
            <a:chOff x="3147293" y="773464"/>
            <a:chExt cx="5029200" cy="3596201"/>
          </a:xfrm>
        </p:grpSpPr>
        <p:grpSp>
          <p:nvGrpSpPr>
            <p:cNvPr id="16" name="Group 15">
              <a:extLst>
                <a:ext uri="{FF2B5EF4-FFF2-40B4-BE49-F238E27FC236}">
                  <a16:creationId xmlns:a16="http://schemas.microsoft.com/office/drawing/2014/main" id="{70E88F39-C460-2540-9D74-F35CBBFA4E98}"/>
                </a:ext>
              </a:extLst>
            </p:cNvPr>
            <p:cNvGrpSpPr/>
            <p:nvPr userDrawn="1"/>
          </p:nvGrpSpPr>
          <p:grpSpPr>
            <a:xfrm>
              <a:off x="3147293" y="773464"/>
              <a:ext cx="5029200" cy="444441"/>
              <a:chOff x="3289965" y="773464"/>
              <a:chExt cx="5029200" cy="444441"/>
            </a:xfrm>
          </p:grpSpPr>
          <p:sp>
            <p:nvSpPr>
              <p:cNvPr id="17" name="Rectangle 16">
                <a:extLst>
                  <a:ext uri="{FF2B5EF4-FFF2-40B4-BE49-F238E27FC236}">
                    <a16:creationId xmlns:a16="http://schemas.microsoft.com/office/drawing/2014/main" id="{5DF7AB99-02BE-5943-B626-BE44176C382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18" name="Rectangle 17">
                <a:extLst>
                  <a:ext uri="{FF2B5EF4-FFF2-40B4-BE49-F238E27FC236}">
                    <a16:creationId xmlns:a16="http://schemas.microsoft.com/office/drawing/2014/main" id="{FEEA5CC3-760F-3A45-986F-7390E5F15629}"/>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19" name="Straight Connector 18">
                <a:extLst>
                  <a:ext uri="{FF2B5EF4-FFF2-40B4-BE49-F238E27FC236}">
                    <a16:creationId xmlns:a16="http://schemas.microsoft.com/office/drawing/2014/main" id="{ACDE1167-B544-2F44-A630-23A8276B4E38}"/>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5BE498E3-0F9B-D548-8B27-BC6DF4EC9B8B}"/>
                </a:ext>
              </a:extLst>
            </p:cNvPr>
            <p:cNvGrpSpPr/>
            <p:nvPr userDrawn="1"/>
          </p:nvGrpSpPr>
          <p:grpSpPr>
            <a:xfrm>
              <a:off x="3147293" y="1298757"/>
              <a:ext cx="5029200" cy="444441"/>
              <a:chOff x="3289965" y="773464"/>
              <a:chExt cx="5029200" cy="444441"/>
            </a:xfrm>
          </p:grpSpPr>
          <p:sp>
            <p:nvSpPr>
              <p:cNvPr id="21" name="Rectangle 20">
                <a:extLst>
                  <a:ext uri="{FF2B5EF4-FFF2-40B4-BE49-F238E27FC236}">
                    <a16:creationId xmlns:a16="http://schemas.microsoft.com/office/drawing/2014/main" id="{DCDA2227-6D8F-AC43-B17C-0F496F95681F}"/>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2" name="Rectangle 21">
                <a:extLst>
                  <a:ext uri="{FF2B5EF4-FFF2-40B4-BE49-F238E27FC236}">
                    <a16:creationId xmlns:a16="http://schemas.microsoft.com/office/drawing/2014/main" id="{CDBE0476-A6EC-DF44-ABDA-BE99371562B6}"/>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3" name="Straight Connector 22">
                <a:extLst>
                  <a:ext uri="{FF2B5EF4-FFF2-40B4-BE49-F238E27FC236}">
                    <a16:creationId xmlns:a16="http://schemas.microsoft.com/office/drawing/2014/main" id="{2CBE9C63-E0CE-2E43-8C2E-C35ADF208BB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8D8D7322-B958-964E-8B8C-9192588194CA}"/>
                </a:ext>
              </a:extLst>
            </p:cNvPr>
            <p:cNvGrpSpPr/>
            <p:nvPr userDrawn="1"/>
          </p:nvGrpSpPr>
          <p:grpSpPr>
            <a:xfrm>
              <a:off x="3147293" y="1824051"/>
              <a:ext cx="5029200" cy="444441"/>
              <a:chOff x="3289965" y="773464"/>
              <a:chExt cx="5029200" cy="444441"/>
            </a:xfrm>
          </p:grpSpPr>
          <p:sp>
            <p:nvSpPr>
              <p:cNvPr id="25" name="Rectangle 24">
                <a:extLst>
                  <a:ext uri="{FF2B5EF4-FFF2-40B4-BE49-F238E27FC236}">
                    <a16:creationId xmlns:a16="http://schemas.microsoft.com/office/drawing/2014/main" id="{C791330F-BDF6-2E49-85E0-1C48472A201B}"/>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6" name="Rectangle 25">
                <a:extLst>
                  <a:ext uri="{FF2B5EF4-FFF2-40B4-BE49-F238E27FC236}">
                    <a16:creationId xmlns:a16="http://schemas.microsoft.com/office/drawing/2014/main" id="{5B2F4183-33A8-224A-A443-8F2527418F0C}"/>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7" name="Straight Connector 26">
                <a:extLst>
                  <a:ext uri="{FF2B5EF4-FFF2-40B4-BE49-F238E27FC236}">
                    <a16:creationId xmlns:a16="http://schemas.microsoft.com/office/drawing/2014/main" id="{E9E735A5-C4E1-2F4B-BDED-418827467CAD}"/>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A330632E-6C0F-6C4D-B1FE-F7EDC5F4D184}"/>
                </a:ext>
              </a:extLst>
            </p:cNvPr>
            <p:cNvGrpSpPr/>
            <p:nvPr userDrawn="1"/>
          </p:nvGrpSpPr>
          <p:grpSpPr>
            <a:xfrm>
              <a:off x="3147293" y="2349344"/>
              <a:ext cx="5029200" cy="444441"/>
              <a:chOff x="3289965" y="773464"/>
              <a:chExt cx="5029200" cy="444441"/>
            </a:xfrm>
          </p:grpSpPr>
          <p:sp>
            <p:nvSpPr>
              <p:cNvPr id="29" name="Rectangle 28">
                <a:extLst>
                  <a:ext uri="{FF2B5EF4-FFF2-40B4-BE49-F238E27FC236}">
                    <a16:creationId xmlns:a16="http://schemas.microsoft.com/office/drawing/2014/main" id="{50C1BABE-EBEC-9B4E-9E43-DC7585F46A58}"/>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0" name="Rectangle 29">
                <a:extLst>
                  <a:ext uri="{FF2B5EF4-FFF2-40B4-BE49-F238E27FC236}">
                    <a16:creationId xmlns:a16="http://schemas.microsoft.com/office/drawing/2014/main" id="{5B6F25F9-E801-AB42-BE21-F9E1408A4E0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1" name="Straight Connector 30">
                <a:extLst>
                  <a:ext uri="{FF2B5EF4-FFF2-40B4-BE49-F238E27FC236}">
                    <a16:creationId xmlns:a16="http://schemas.microsoft.com/office/drawing/2014/main" id="{C208CCBF-FCE0-6143-9629-AD31C02BB80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01BBE74D-B5EC-9443-9C9A-4BD991427D8F}"/>
                </a:ext>
              </a:extLst>
            </p:cNvPr>
            <p:cNvGrpSpPr/>
            <p:nvPr userDrawn="1"/>
          </p:nvGrpSpPr>
          <p:grpSpPr>
            <a:xfrm>
              <a:off x="3147293" y="2874637"/>
              <a:ext cx="5029200" cy="444441"/>
              <a:chOff x="3289965" y="773464"/>
              <a:chExt cx="5029200" cy="444441"/>
            </a:xfrm>
          </p:grpSpPr>
          <p:sp>
            <p:nvSpPr>
              <p:cNvPr id="33" name="Rectangle 32">
                <a:extLst>
                  <a:ext uri="{FF2B5EF4-FFF2-40B4-BE49-F238E27FC236}">
                    <a16:creationId xmlns:a16="http://schemas.microsoft.com/office/drawing/2014/main" id="{6C145362-781B-0449-8DA6-5B30A6E1ADD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4" name="Rectangle 33">
                <a:extLst>
                  <a:ext uri="{FF2B5EF4-FFF2-40B4-BE49-F238E27FC236}">
                    <a16:creationId xmlns:a16="http://schemas.microsoft.com/office/drawing/2014/main" id="{C17FE23F-751A-2E43-8393-8780EF906E6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5" name="Straight Connector 34">
                <a:extLst>
                  <a:ext uri="{FF2B5EF4-FFF2-40B4-BE49-F238E27FC236}">
                    <a16:creationId xmlns:a16="http://schemas.microsoft.com/office/drawing/2014/main" id="{AC49855D-1F75-7A44-B1AB-4C19DF741BC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2FCC83A-22AF-3441-B243-A44A4B8146E4}"/>
                </a:ext>
              </a:extLst>
            </p:cNvPr>
            <p:cNvGrpSpPr/>
            <p:nvPr userDrawn="1"/>
          </p:nvGrpSpPr>
          <p:grpSpPr>
            <a:xfrm>
              <a:off x="3147293" y="3393446"/>
              <a:ext cx="5029200" cy="444441"/>
              <a:chOff x="3289965" y="773464"/>
              <a:chExt cx="5029200" cy="444441"/>
            </a:xfrm>
          </p:grpSpPr>
          <p:sp>
            <p:nvSpPr>
              <p:cNvPr id="37" name="Rectangle 36">
                <a:extLst>
                  <a:ext uri="{FF2B5EF4-FFF2-40B4-BE49-F238E27FC236}">
                    <a16:creationId xmlns:a16="http://schemas.microsoft.com/office/drawing/2014/main" id="{1E045387-A767-EA44-8486-5E8171EFA239}"/>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8" name="Rectangle 37">
                <a:extLst>
                  <a:ext uri="{FF2B5EF4-FFF2-40B4-BE49-F238E27FC236}">
                    <a16:creationId xmlns:a16="http://schemas.microsoft.com/office/drawing/2014/main" id="{B8D58236-0418-D747-BAD3-43F04C594E1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9" name="Straight Connector 38">
                <a:extLst>
                  <a:ext uri="{FF2B5EF4-FFF2-40B4-BE49-F238E27FC236}">
                    <a16:creationId xmlns:a16="http://schemas.microsoft.com/office/drawing/2014/main" id="{EBF363B8-2878-2044-B1AC-6737706B5FB3}"/>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B022F0C3-B8F9-7543-98A7-F67CA8C3FD38}"/>
                </a:ext>
              </a:extLst>
            </p:cNvPr>
            <p:cNvGrpSpPr/>
            <p:nvPr userDrawn="1"/>
          </p:nvGrpSpPr>
          <p:grpSpPr>
            <a:xfrm>
              <a:off x="3147293" y="3925224"/>
              <a:ext cx="5029200" cy="444441"/>
              <a:chOff x="3289965" y="773464"/>
              <a:chExt cx="5029200" cy="444441"/>
            </a:xfrm>
          </p:grpSpPr>
          <p:sp>
            <p:nvSpPr>
              <p:cNvPr id="42" name="Rectangle 41">
                <a:extLst>
                  <a:ext uri="{FF2B5EF4-FFF2-40B4-BE49-F238E27FC236}">
                    <a16:creationId xmlns:a16="http://schemas.microsoft.com/office/drawing/2014/main" id="{763C5C9A-E187-414D-B0C1-06E6F2FFC731}"/>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43" name="Rectangle 42">
                <a:extLst>
                  <a:ext uri="{FF2B5EF4-FFF2-40B4-BE49-F238E27FC236}">
                    <a16:creationId xmlns:a16="http://schemas.microsoft.com/office/drawing/2014/main" id="{3ABE93C9-68C2-C84D-83F8-CCF17419700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44" name="Straight Connector 43">
                <a:extLst>
                  <a:ext uri="{FF2B5EF4-FFF2-40B4-BE49-F238E27FC236}">
                    <a16:creationId xmlns:a16="http://schemas.microsoft.com/office/drawing/2014/main" id="{D4DCE20A-7D09-E447-9DF9-7502974647F0}"/>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0" name="one hump">
            <a:extLst>
              <a:ext uri="{FF2B5EF4-FFF2-40B4-BE49-F238E27FC236}">
                <a16:creationId xmlns:a16="http://schemas.microsoft.com/office/drawing/2014/main" id="{21E1BD3D-DFAF-6749-B9A7-D4B5A6014991}"/>
              </a:ext>
            </a:extLst>
          </p:cNvPr>
          <p:cNvSpPr/>
          <p:nvPr userDrawn="1"/>
        </p:nvSpPr>
        <p:spPr>
          <a:xfrm>
            <a:off x="1" y="3995061"/>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1249" dirty="0"/>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800547" y="4071512"/>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739390280"/>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41"/>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BE92D8BB-EA7F-DB42-896F-417FCFEA167C}"/>
              </a:ext>
            </a:extLst>
          </p:cNvPr>
          <p:cNvSpPr/>
          <p:nvPr userDrawn="1"/>
        </p:nvSpPr>
        <p:spPr>
          <a:xfrm flipH="1">
            <a:off x="-1194343" y="3423382"/>
            <a:ext cx="4109992" cy="4109785"/>
          </a:xfrm>
          <a:prstGeom prst="ellipse">
            <a:avLst/>
          </a:prstGeom>
          <a:gradFill flip="none" rotWithShape="1">
            <a:gsLst>
              <a:gs pos="50000">
                <a:schemeClr val="accent1">
                  <a:lumMod val="75000"/>
                  <a:alpha val="18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2" y="5394434"/>
            <a:ext cx="5282068" cy="277804"/>
          </a:xfrm>
        </p:spPr>
        <p:txBody>
          <a:bodyPr>
            <a:noAutofit/>
          </a:bodyPr>
          <a:lstStyle>
            <a:lvl1pPr>
              <a:defRPr sz="2223">
                <a:solidFill>
                  <a:schemeClr val="tx2"/>
                </a:solidFill>
              </a:defRPr>
            </a:lvl1pPr>
          </a:lstStyle>
          <a:p>
            <a:r>
              <a:rPr lang="en-US" dirty="0"/>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2" y="1498157"/>
            <a:ext cx="7386348" cy="3444388"/>
          </a:xfrm>
        </p:spPr>
        <p:txBody>
          <a:bodyPr>
            <a:normAutofit/>
          </a:bodyPr>
          <a:lstStyle>
            <a:lvl1pPr>
              <a:defRPr sz="3333"/>
            </a:lvl1pPr>
          </a:lstStyle>
          <a:p>
            <a:endParaRPr lang="en-US" dirty="0"/>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401052"/>
            <a:chOff x="5283035" y="1188441"/>
            <a:chExt cx="1038225" cy="1203159"/>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8"/>
              <a:ext cx="570673" cy="886852"/>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6111" dirty="0">
                  <a:solidFill>
                    <a:srgbClr val="FF6D70"/>
                  </a:solidFill>
                  <a:latin typeface="+mn-lt"/>
                </a:rPr>
                <a:t>“</a:t>
              </a:r>
              <a:endParaRPr lang="en-US" sz="7985" dirty="0">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0" y="825520"/>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4" name="waves">
            <a:extLst>
              <a:ext uri="{FF2B5EF4-FFF2-40B4-BE49-F238E27FC236}">
                <a16:creationId xmlns:a16="http://schemas.microsoft.com/office/drawing/2014/main" id="{90AB9E35-83B3-FE47-AC3F-0AC4CC70C1D3}"/>
              </a:ext>
            </a:extLst>
          </p:cNvPr>
          <p:cNvGrpSpPr/>
          <p:nvPr userDrawn="1"/>
        </p:nvGrpSpPr>
        <p:grpSpPr>
          <a:xfrm rot="5400000">
            <a:off x="-2804257" y="2453977"/>
            <a:ext cx="7120597" cy="1687452"/>
            <a:chOff x="4253152" y="151074"/>
            <a:chExt cx="6930220" cy="2076330"/>
          </a:xfrm>
        </p:grpSpPr>
        <p:sp>
          <p:nvSpPr>
            <p:cNvPr id="35" name="coral">
              <a:extLst>
                <a:ext uri="{FF2B5EF4-FFF2-40B4-BE49-F238E27FC236}">
                  <a16:creationId xmlns:a16="http://schemas.microsoft.com/office/drawing/2014/main" id="{8303D869-46DF-1C40-BBF8-3AED65A75F8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6" name="green">
              <a:extLst>
                <a:ext uri="{FF2B5EF4-FFF2-40B4-BE49-F238E27FC236}">
                  <a16:creationId xmlns:a16="http://schemas.microsoft.com/office/drawing/2014/main" id="{E35618F7-242C-4148-A231-0E9002E01B7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7" name="Text Placeholder 6">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7"/>
            <a:ext cx="2330580" cy="1436420"/>
          </a:xfrm>
        </p:spPr>
        <p:txBody>
          <a:bodyPr>
            <a:noAutofit/>
          </a:bodyPr>
          <a:lstStyle>
            <a:lvl1pPr>
              <a:defRPr sz="5555" b="1">
                <a:solidFill>
                  <a:schemeClr val="accent5"/>
                </a:solidFill>
              </a:defRPr>
            </a:lvl1pPr>
          </a:lstStyle>
          <a:p>
            <a:pPr lvl="0"/>
            <a:r>
              <a:rPr lang="en-US" dirty="0"/>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967131" y="5478273"/>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91153117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1"/>
            <a:ext cx="5427349" cy="2913763"/>
          </a:xfrm>
        </p:spPr>
        <p:txBody>
          <a:bodyPr anchor="ctr" anchorCtr="0">
            <a:noAutofit/>
          </a:bodyPr>
          <a:lstStyle>
            <a:lvl1pPr algn="r">
              <a:defRPr sz="23887" b="1">
                <a:solidFill>
                  <a:schemeClr val="bg1"/>
                </a:solidFill>
                <a:latin typeface="+mn-lt"/>
              </a:defRPr>
            </a:lvl1pPr>
            <a:lvl2pPr algn="r">
              <a:defRPr/>
            </a:lvl2pPr>
            <a:lvl3pPr algn="r">
              <a:defRPr/>
            </a:lvl3pPr>
            <a:lvl4pPr algn="r">
              <a:defRPr/>
            </a:lvl4pPr>
            <a:lvl5pPr algn="r">
              <a:defRPr/>
            </a:lvl5pPr>
          </a:lstStyle>
          <a:p>
            <a:pPr lvl="0"/>
            <a:r>
              <a:rPr lang="en-US" dirty="0"/>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2" y="1972671"/>
            <a:ext cx="1791325" cy="2913763"/>
          </a:xfrm>
        </p:spPr>
        <p:txBody>
          <a:bodyPr anchor="ctr" anchorCtr="0">
            <a:noAutofit/>
          </a:bodyPr>
          <a:lstStyle>
            <a:lvl1pPr algn="l">
              <a:defRPr sz="11944"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dirty="0"/>
              <a:t>it</a:t>
            </a:r>
          </a:p>
        </p:txBody>
      </p:sp>
      <p:grpSp>
        <p:nvGrpSpPr>
          <p:cNvPr id="20" name="waves">
            <a:extLst>
              <a:ext uri="{FF2B5EF4-FFF2-40B4-BE49-F238E27FC236}">
                <a16:creationId xmlns:a16="http://schemas.microsoft.com/office/drawing/2014/main" id="{091EAC0F-F6B6-804E-81C1-DC14DB0CFEB4}"/>
              </a:ext>
            </a:extLst>
          </p:cNvPr>
          <p:cNvGrpSpPr/>
          <p:nvPr userDrawn="1"/>
        </p:nvGrpSpPr>
        <p:grpSpPr>
          <a:xfrm>
            <a:off x="2563907" y="4742329"/>
            <a:ext cx="11311821" cy="2131131"/>
            <a:chOff x="4253152" y="151074"/>
            <a:chExt cx="6930220" cy="2076330"/>
          </a:xfrm>
        </p:grpSpPr>
        <p:sp>
          <p:nvSpPr>
            <p:cNvPr id="21" name="coral">
              <a:extLst>
                <a:ext uri="{FF2B5EF4-FFF2-40B4-BE49-F238E27FC236}">
                  <a16:creationId xmlns:a16="http://schemas.microsoft.com/office/drawing/2014/main" id="{5544ED0D-A342-F44A-8373-4300D2A9FC5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6981805-0618-3A4E-BF33-F709D396003A}"/>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7" y="1490445"/>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7" y="5369819"/>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5" y="5396784"/>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70421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Oval 6">
            <a:extLst>
              <a:ext uri="{FF2B5EF4-FFF2-40B4-BE49-F238E27FC236}">
                <a16:creationId xmlns:a16="http://schemas.microsoft.com/office/drawing/2014/main" id="{26F17582-2F62-A148-8696-1C39223CE799}"/>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62203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9268B40-4CED-5446-BECA-119CE8F3CD72}"/>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8" name="3 Xs">
            <a:extLst>
              <a:ext uri="{FF2B5EF4-FFF2-40B4-BE49-F238E27FC236}">
                <a16:creationId xmlns:a16="http://schemas.microsoft.com/office/drawing/2014/main" id="{41CADA79-152E-724D-8B57-FD7B7338D609}"/>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048E5BB7-1C8E-6C4D-B676-D37BA28DDBD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10" name="Freeform 9">
              <a:extLst>
                <a:ext uri="{FF2B5EF4-FFF2-40B4-BE49-F238E27FC236}">
                  <a16:creationId xmlns:a16="http://schemas.microsoft.com/office/drawing/2014/main" id="{2D574E84-0116-584A-8A38-A4721963F891}"/>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11" name="Freeform 10">
              <a:extLst>
                <a:ext uri="{FF2B5EF4-FFF2-40B4-BE49-F238E27FC236}">
                  <a16:creationId xmlns:a16="http://schemas.microsoft.com/office/drawing/2014/main" id="{BB7A9C06-6BC6-A345-80A2-F3C9B691A533}"/>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726682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tx1">
                    <a:lumMod val="50000"/>
                  </a:schemeClr>
                </a:solidFill>
                <a:latin typeface="+mn-lt"/>
              </a:defRPr>
            </a:lvl1pPr>
          </a:lstStyle>
          <a:p>
            <a:r>
              <a:rPr lang="en-US" dirty="0"/>
              <a:t>Click to edit master title style</a:t>
            </a:r>
            <a:endParaRPr lang="en-ID" dirty="0"/>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tx1"/>
                </a:solidFill>
              </a:defRPr>
            </a:lvl1pPr>
            <a:lvl2pPr marL="320779" indent="-320779">
              <a:buClr>
                <a:schemeClr val="tx2"/>
              </a:buClr>
              <a:buSzPct val="80000"/>
              <a:buFont typeface="System Font Regular"/>
              <a:buChar char="→"/>
              <a:tabLst/>
              <a:defRPr>
                <a:solidFill>
                  <a:schemeClr val="tx1"/>
                </a:solidFill>
              </a:defRPr>
            </a:lvl2pPr>
            <a:lvl3pPr marL="477311" indent="-156531">
              <a:buClr>
                <a:schemeClr val="tx2"/>
              </a:buClr>
              <a:buSzPct val="80000"/>
              <a:tabLst/>
              <a:defRPr>
                <a:solidFill>
                  <a:schemeClr val="tx1"/>
                </a:solidFill>
              </a:defRPr>
            </a:lvl3pPr>
            <a:lvl4pPr marL="642660" indent="-165351">
              <a:buClr>
                <a:schemeClr val="tx2"/>
              </a:buClr>
              <a:buSzPct val="80000"/>
              <a:tabLst/>
              <a:defRPr>
                <a:solidFill>
                  <a:schemeClr val="tx1"/>
                </a:solidFill>
              </a:defRPr>
            </a:lvl4pPr>
            <a:lvl5pPr marL="799192" indent="-156531">
              <a:buClr>
                <a:schemeClr val="tx2"/>
              </a:buClr>
              <a:buSzPct val="80000"/>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3577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w/ Subhead and cont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noFill/>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tx1"/>
                </a:solidFill>
                <a:latin typeface="+mn-lt"/>
                <a:ea typeface="Source Sans Pro" panose="020B0503030403020204" pitchFamily="34" charset="0"/>
                <a:cs typeface="Calibri" charset="0"/>
              </a:defRPr>
            </a:lvl1pPr>
            <a:lvl2pPr>
              <a:buClr>
                <a:schemeClr val="tx2"/>
              </a:buClr>
              <a:defRPr b="0" i="0">
                <a:solidFill>
                  <a:schemeClr val="tx1"/>
                </a:solidFill>
                <a:latin typeface="+mn-lt"/>
                <a:ea typeface="Source Sans Pro" panose="020B0503030403020204" pitchFamily="34" charset="0"/>
                <a:cs typeface="Calibri" charset="0"/>
              </a:defRPr>
            </a:lvl2pPr>
            <a:lvl3pPr>
              <a:buClr>
                <a:schemeClr val="tx2"/>
              </a:buClr>
              <a:defRPr b="0" i="0">
                <a:solidFill>
                  <a:schemeClr val="tx1"/>
                </a:solidFill>
                <a:latin typeface="+mn-lt"/>
                <a:ea typeface="Source Sans Pro" panose="020B0503030403020204" pitchFamily="34" charset="0"/>
                <a:cs typeface="Calibri" charset="0"/>
              </a:defRPr>
            </a:lvl3pPr>
            <a:lvl4pPr>
              <a:buClr>
                <a:schemeClr val="tx2"/>
              </a:buClr>
              <a:defRPr b="0" i="0">
                <a:solidFill>
                  <a:schemeClr val="tx1"/>
                </a:solidFill>
                <a:latin typeface="+mn-lt"/>
                <a:ea typeface="Source Sans Pro" panose="020B0503030403020204" pitchFamily="34" charset="0"/>
                <a:cs typeface="Calibri" charset="0"/>
              </a:defRPr>
            </a:lvl4pPr>
            <a:lvl5pPr marL="634944" indent="-114642">
              <a:buClr>
                <a:schemeClr val="tx2"/>
              </a:buCl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533700068"/>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4" y="5049600"/>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91061978"/>
      </p:ext>
    </p:extLst>
  </p:cSld>
  <p:clrMapOvr>
    <a:masterClrMapping/>
  </p:clrMapOvr>
  <p:transition spd="slow">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bg1"/>
                </a:solidFill>
              </a:defRPr>
            </a:lvl1pPr>
          </a:lstStyle>
          <a:p>
            <a:pPr lvl="0"/>
            <a:r>
              <a:rPr lang="en-US"/>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177752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574088085"/>
      </p:ext>
    </p:extLst>
  </p:cSld>
  <p:clrMapOvr>
    <a:masterClrMapping/>
  </p:clrMapOvr>
  <p:transition spd="slow">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237046"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2pPr>
            <a:lvl3pPr marL="461392"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87856" indent="-226464">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924902" indent="-2370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759980613"/>
      </p:ext>
    </p:extLst>
  </p:cSld>
  <p:clrMapOvr>
    <a:masterClrMapping/>
  </p:clrMapOvr>
  <p:transition spd="slow">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007487783"/>
      </p:ext>
    </p:extLst>
  </p:cSld>
  <p:clrMapOvr>
    <a:masterClrMapping/>
  </p:clrMapOvr>
  <p:transition spd="slow">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2_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856005076"/>
      </p:ext>
    </p:extLst>
  </p:cSld>
  <p:clrMapOvr>
    <a:masterClrMapping/>
  </p:clrMapOvr>
  <p:transition spd="slow">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6" name="Group 5">
            <a:extLst>
              <a:ext uri="{FF2B5EF4-FFF2-40B4-BE49-F238E27FC236}">
                <a16:creationId xmlns:a16="http://schemas.microsoft.com/office/drawing/2014/main" id="{D76051AA-9C2D-8C43-AF09-1E6B18B30A5D}"/>
              </a:ext>
            </a:extLst>
          </p:cNvPr>
          <p:cNvGrpSpPr/>
          <p:nvPr userDrawn="1"/>
        </p:nvGrpSpPr>
        <p:grpSpPr>
          <a:xfrm>
            <a:off x="-733314" y="5049600"/>
            <a:ext cx="19125951" cy="1808401"/>
            <a:chOff x="7994577" y="7729729"/>
            <a:chExt cx="9753466" cy="2185140"/>
          </a:xfrm>
        </p:grpSpPr>
        <p:sp>
          <p:nvSpPr>
            <p:cNvPr id="7" name="Graphic 56">
              <a:extLst>
                <a:ext uri="{FF2B5EF4-FFF2-40B4-BE49-F238E27FC236}">
                  <a16:creationId xmlns:a16="http://schemas.microsoft.com/office/drawing/2014/main" id="{F3C9DC2F-356D-DD47-AD36-0F2AA59DC60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8" name="Graphic 61">
              <a:extLst>
                <a:ext uri="{FF2B5EF4-FFF2-40B4-BE49-F238E27FC236}">
                  <a16:creationId xmlns:a16="http://schemas.microsoft.com/office/drawing/2014/main" id="{5D6171E4-29D4-DB41-B1FB-920130A16DAC}"/>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821808699"/>
      </p:ext>
    </p:extLst>
  </p:cSld>
  <p:clrMapOvr>
    <a:masterClrMapping/>
  </p:clrMapOvr>
  <p:transition spd="slow">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758949704"/>
      </p:ext>
    </p:extLst>
  </p:cSld>
  <p:clrMapOvr>
    <a:masterClrMapping/>
  </p:clrMapOvr>
  <p:transition spd="slow">
    <p:wipe dir="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4">
            <a:extLst>
              <a:ext uri="{FF2B5EF4-FFF2-40B4-BE49-F238E27FC236}">
                <a16:creationId xmlns:a16="http://schemas.microsoft.com/office/drawing/2014/main" id="{6C13FDC1-9BBE-384A-AFA5-8C43E0454C50}"/>
              </a:ext>
            </a:extLst>
          </p:cNvPr>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tabLst>
                <a:tab pos="2259782" algn="l"/>
              </a:tabLst>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8682898"/>
      </p:ext>
    </p:extLst>
  </p:cSld>
  <p:clrMapOvr>
    <a:masterClrMapping/>
  </p:clrMapOvr>
  <p:transition spd="slow">
    <p:wipe dir="r"/>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3_Three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9" name="Text Placeholder 5"/>
          <p:cNvSpPr>
            <a:spLocks noGrp="1"/>
          </p:cNvSpPr>
          <p:nvPr>
            <p:ph type="body" sz="quarter" idx="10" hasCustomPrompt="1"/>
          </p:nvPr>
        </p:nvSpPr>
        <p:spPr>
          <a:xfrm>
            <a:off x="50800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23" name="Text Placeholder 5">
            <a:extLst>
              <a:ext uri="{FF2B5EF4-FFF2-40B4-BE49-F238E27FC236}">
                <a16:creationId xmlns:a16="http://schemas.microsoft.com/office/drawing/2014/main" id="{782F6130-624B-C94C-9345-64A60B72D3C4}"/>
              </a:ext>
            </a:extLst>
          </p:cNvPr>
          <p:cNvSpPr>
            <a:spLocks noGrp="1"/>
          </p:cNvSpPr>
          <p:nvPr>
            <p:ph type="body" sz="quarter" idx="12" hasCustomPrompt="1"/>
          </p:nvPr>
        </p:nvSpPr>
        <p:spPr>
          <a:xfrm>
            <a:off x="4441373"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5" name="Text Placeholder 5">
            <a:extLst>
              <a:ext uri="{FF2B5EF4-FFF2-40B4-BE49-F238E27FC236}">
                <a16:creationId xmlns:a16="http://schemas.microsoft.com/office/drawing/2014/main" id="{59B4166D-BAA9-A841-87DF-92E32A96E696}"/>
              </a:ext>
            </a:extLst>
          </p:cNvPr>
          <p:cNvSpPr>
            <a:spLocks noGrp="1"/>
          </p:cNvSpPr>
          <p:nvPr>
            <p:ph type="body" sz="quarter" idx="14" hasCustomPrompt="1"/>
          </p:nvPr>
        </p:nvSpPr>
        <p:spPr>
          <a:xfrm>
            <a:off x="837051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Tree>
    <p:extLst>
      <p:ext uri="{BB962C8B-B14F-4D97-AF65-F5344CB8AC3E}">
        <p14:creationId xmlns:p14="http://schemas.microsoft.com/office/powerpoint/2010/main" val="769532897"/>
      </p:ext>
    </p:extLst>
  </p:cSld>
  <p:clrMapOvr>
    <a:masterClrMapping/>
  </p:clrMapOvr>
  <p:transition spd="slow">
    <p:wipe dir="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15" name="Text Placeholder 5">
            <a:extLst>
              <a:ext uri="{FF2B5EF4-FFF2-40B4-BE49-F238E27FC236}">
                <a16:creationId xmlns:a16="http://schemas.microsoft.com/office/drawing/2014/main" id="{1DBEBA93-80C3-964D-AF2C-2D8C9BF3CFE4}"/>
              </a:ext>
            </a:extLst>
          </p:cNvPr>
          <p:cNvSpPr>
            <a:spLocks noGrp="1"/>
          </p:cNvSpPr>
          <p:nvPr>
            <p:ph type="body" sz="quarter" idx="22" hasCustomPrompt="1"/>
          </p:nvPr>
        </p:nvSpPr>
        <p:spPr>
          <a:xfrm>
            <a:off x="617935"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16" name="Text Placeholder 5">
            <a:extLst>
              <a:ext uri="{FF2B5EF4-FFF2-40B4-BE49-F238E27FC236}">
                <a16:creationId xmlns:a16="http://schemas.microsoft.com/office/drawing/2014/main" id="{4CD20D2B-0F2E-4043-9739-90A491FA2E51}"/>
              </a:ext>
            </a:extLst>
          </p:cNvPr>
          <p:cNvSpPr>
            <a:spLocks noGrp="1"/>
          </p:cNvSpPr>
          <p:nvPr>
            <p:ph type="body" sz="quarter" idx="23" hasCustomPrompt="1"/>
          </p:nvPr>
        </p:nvSpPr>
        <p:spPr>
          <a:xfrm>
            <a:off x="3484250"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17" name="Text Placeholder 5">
            <a:extLst>
              <a:ext uri="{FF2B5EF4-FFF2-40B4-BE49-F238E27FC236}">
                <a16:creationId xmlns:a16="http://schemas.microsoft.com/office/drawing/2014/main" id="{A9A47F79-BE94-BA47-A2CB-5FD3DBEA1A1B}"/>
              </a:ext>
            </a:extLst>
          </p:cNvPr>
          <p:cNvSpPr>
            <a:spLocks noGrp="1"/>
          </p:cNvSpPr>
          <p:nvPr>
            <p:ph type="body" sz="quarter" idx="24" hasCustomPrompt="1"/>
          </p:nvPr>
        </p:nvSpPr>
        <p:spPr>
          <a:xfrm>
            <a:off x="6350564"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0" name="Text Placeholder 5">
            <a:extLst>
              <a:ext uri="{FF2B5EF4-FFF2-40B4-BE49-F238E27FC236}">
                <a16:creationId xmlns:a16="http://schemas.microsoft.com/office/drawing/2014/main" id="{525435F3-50E5-4F4F-8287-EC37BD8C5FBA}"/>
              </a:ext>
            </a:extLst>
          </p:cNvPr>
          <p:cNvSpPr>
            <a:spLocks noGrp="1"/>
          </p:cNvSpPr>
          <p:nvPr>
            <p:ph type="body" sz="quarter" idx="25" hasCustomPrompt="1"/>
          </p:nvPr>
        </p:nvSpPr>
        <p:spPr>
          <a:xfrm>
            <a:off x="9216879"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Tree>
    <p:extLst>
      <p:ext uri="{BB962C8B-B14F-4D97-AF65-F5344CB8AC3E}">
        <p14:creationId xmlns:p14="http://schemas.microsoft.com/office/powerpoint/2010/main" val="2993981977"/>
      </p:ext>
    </p:extLst>
  </p:cSld>
  <p:clrMapOvr>
    <a:masterClrMapping/>
  </p:clrMapOvr>
  <p:transition spd="slow">
    <p:wipe dir="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3269666231"/>
      </p:ext>
    </p:extLst>
  </p:cSld>
  <p:clrMapOvr>
    <a:masterClrMapping/>
  </p:clrMapOvr>
  <p:transition spd="slow">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bg1"/>
                </a:solidFill>
                <a:latin typeface="+mn-lt"/>
              </a:defRPr>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accent5"/>
                </a:solidFill>
              </a:defRPr>
            </a:lvl1pPr>
            <a:lvl2pPr marL="317472" indent="-317472">
              <a:buClr>
                <a:schemeClr val="tx2"/>
              </a:buClr>
              <a:buSzPct val="80000"/>
              <a:buFont typeface="System Font Regular"/>
              <a:buChar char="→"/>
              <a:tabLst/>
              <a:defRPr>
                <a:solidFill>
                  <a:schemeClr val="accent5"/>
                </a:solidFill>
              </a:defRPr>
            </a:lvl2pPr>
            <a:lvl3pPr marL="511482" indent="-194011">
              <a:buClr>
                <a:schemeClr val="tx2"/>
              </a:buClr>
              <a:buSzPct val="80000"/>
              <a:tabLst/>
              <a:defRPr>
                <a:solidFill>
                  <a:schemeClr val="accent5"/>
                </a:solidFill>
              </a:defRPr>
            </a:lvl3pPr>
            <a:lvl4pPr marL="670218" indent="-158736">
              <a:buClr>
                <a:schemeClr val="tx2"/>
              </a:buClr>
              <a:buSzPct val="80000"/>
              <a:tabLst/>
              <a:defRPr>
                <a:solidFill>
                  <a:schemeClr val="accent5"/>
                </a:solidFill>
              </a:defRPr>
            </a:lvl4pPr>
            <a:lvl5pPr marL="793679" indent="-158736">
              <a:buClr>
                <a:schemeClr val="tx2"/>
              </a:buClr>
              <a:buSzPct val="80000"/>
              <a:tabLst/>
              <a:defRPr>
                <a:solidFill>
                  <a:schemeClr val="accent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975722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6273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3765381828"/>
      </p:ext>
    </p:extLst>
  </p:cSld>
  <p:clrMapOvr>
    <a:masterClrMapping/>
  </p:clrMapOvr>
  <p:transition spd="slow">
    <p:wipe dir="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6" y="5958226"/>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73978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6867526" y="1809749"/>
            <a:ext cx="4816473" cy="3033816"/>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535504" indent="-150280">
              <a:tabLst/>
              <a:defRPr>
                <a:solidFill>
                  <a:schemeClr val="bg1"/>
                </a:solidFill>
              </a:defRPr>
            </a:lvl3pPr>
            <a:lvl4pPr marL="770447" indent="-234945">
              <a:tabLst/>
              <a:defRPr>
                <a:solidFill>
                  <a:schemeClr val="bg1"/>
                </a:solidFill>
              </a:defRPr>
            </a:lvl4pPr>
            <a:lvl5pPr marL="924961" indent="-237061">
              <a:tabLst>
                <a:tab pos="759865" algn="l"/>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4102834"/>
      </p:ext>
    </p:extLst>
  </p:cSld>
  <p:clrMapOvr>
    <a:masterClrMapping/>
  </p:clrMapOvr>
  <p:transition spd="slow">
    <p:wipe dir="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defRPr>
            </a:lvl1pPr>
          </a:lstStyle>
          <a:p>
            <a:r>
              <a:rPr lang="en-US" dirty="0"/>
              <a:t>Click icon to add picture</a:t>
            </a:r>
          </a:p>
        </p:txBody>
      </p:sp>
      <p:sp>
        <p:nvSpPr>
          <p:cNvPr id="4" name="Title 1"/>
          <p:cNvSpPr>
            <a:spLocks noGrp="1"/>
          </p:cNvSpPr>
          <p:nvPr>
            <p:ph type="title" hasCustomPrompt="1"/>
          </p:nvPr>
        </p:nvSpPr>
        <p:spPr>
          <a:xfrm>
            <a:off x="508231" y="516468"/>
            <a:ext cx="5194197"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508231" y="2133599"/>
            <a:ext cx="4959120" cy="3396868"/>
          </a:xfrm>
        </p:spPr>
        <p:txBody>
          <a:bodyPr/>
          <a:lstStyle>
            <a:lvl1pPr>
              <a:defRPr>
                <a:solidFill>
                  <a:schemeClr val="tx1"/>
                </a:solidFill>
              </a:defRPr>
            </a:lvl1pPr>
            <a:lvl2pPr marL="385224" indent="-372524">
              <a:buFont typeface="System Font Regular"/>
              <a:buChar char="→"/>
              <a:tabLst/>
              <a:defRPr>
                <a:solidFill>
                  <a:schemeClr val="tx1"/>
                </a:solidFill>
              </a:defRPr>
            </a:lvl2pPr>
            <a:lvl3pPr marL="535504" indent="-150280">
              <a:tabLst/>
              <a:defRPr>
                <a:solidFill>
                  <a:schemeClr val="tx1"/>
                </a:solidFill>
              </a:defRPr>
            </a:lvl3pPr>
            <a:lvl4pPr marL="687900" indent="-152396">
              <a:tabLst/>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9402376"/>
      </p:ext>
    </p:extLst>
  </p:cSld>
  <p:clrMapOvr>
    <a:masterClrMapping/>
  </p:clrMapOvr>
  <p:transition spd="slow">
    <p:wipe dir="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797549" y="2888193"/>
            <a:ext cx="4886223"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508230" y="1571625"/>
            <a:ext cx="4822913" cy="3648075"/>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618051" indent="-232828">
              <a:tabLst/>
              <a:defRPr>
                <a:solidFill>
                  <a:schemeClr val="bg1"/>
                </a:solidFill>
              </a:defRPr>
            </a:lvl3pPr>
            <a:lvl4pPr marL="840296" indent="-222245">
              <a:tabLst/>
              <a:defRPr>
                <a:solidFill>
                  <a:schemeClr val="bg1"/>
                </a:solidFill>
              </a:defRPr>
            </a:lvl4pPr>
            <a:lvl5pPr marL="992693" indent="-152396">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8897766"/>
      </p:ext>
    </p:extLst>
  </p:cSld>
  <p:clrMapOvr>
    <a:masterClrMapping/>
  </p:clrMapOvr>
  <p:transition spd="slow">
    <p:wipe dir="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591300" y="423864"/>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6591301" y="1743076"/>
            <a:ext cx="4286249" cy="3648075"/>
          </a:xfrm>
        </p:spPr>
        <p:txBody>
          <a:bodyPr/>
          <a:lstStyle>
            <a:lvl1pPr>
              <a:defRPr>
                <a:solidFill>
                  <a:schemeClr val="tx1"/>
                </a:solidFill>
              </a:defRPr>
            </a:lvl1pPr>
            <a:lvl2pPr marL="313259" indent="-300559">
              <a:buFont typeface="System Font Regular"/>
              <a:buChar char="→"/>
              <a:tabLst/>
              <a:defRPr>
                <a:solidFill>
                  <a:schemeClr val="tx1"/>
                </a:solidFill>
              </a:defRPr>
            </a:lvl2pPr>
            <a:lvl3pPr marL="535504" indent="-232828">
              <a:tabLst/>
              <a:defRPr>
                <a:solidFill>
                  <a:schemeClr val="tx1"/>
                </a:solidFill>
              </a:defRPr>
            </a:lvl3pPr>
            <a:lvl4pPr marL="770447" indent="-224361">
              <a:tabLst/>
              <a:defRPr>
                <a:solidFill>
                  <a:schemeClr val="tx1"/>
                </a:solidFill>
              </a:defRPr>
            </a:lvl4pPr>
            <a:lvl5pPr marL="992693" indent="-241294">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1" y="0"/>
            <a:ext cx="6096551" cy="6858000"/>
          </a:xfrm>
        </p:spPr>
        <p:txBody>
          <a:bodyPr/>
          <a:lstStyle>
            <a:lvl1pPr>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4289386927"/>
      </p:ext>
    </p:extLst>
  </p:cSld>
  <p:clrMapOvr>
    <a:masterClrMapping/>
  </p:clrMapOvr>
  <p:transition spd="slow">
    <p:wipe dir="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_Product">
    <p:bg>
      <p:bgPr>
        <a:solidFill>
          <a:schemeClr val="accent5"/>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31682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bg1"/>
                </a:solidFill>
              </a:defRPr>
            </a:lvl1pPr>
          </a:lstStyle>
          <a:p>
            <a:pPr lvl="0"/>
            <a:r>
              <a:rPr lang="en-US"/>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215179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bg1"/>
                </a:solidFill>
                <a:latin typeface="+mn-lt"/>
              </a:defRPr>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accent5"/>
                </a:solidFill>
              </a:defRPr>
            </a:lvl1pPr>
            <a:lvl2pPr marL="317472" indent="-317472">
              <a:buClr>
                <a:schemeClr val="tx2"/>
              </a:buClr>
              <a:buSzPct val="80000"/>
              <a:buFont typeface="System Font Regular"/>
              <a:buChar char="→"/>
              <a:tabLst/>
              <a:defRPr>
                <a:solidFill>
                  <a:schemeClr val="accent5"/>
                </a:solidFill>
              </a:defRPr>
            </a:lvl2pPr>
            <a:lvl3pPr marL="511482" indent="-194011">
              <a:buClr>
                <a:schemeClr val="tx2"/>
              </a:buClr>
              <a:buSzPct val="80000"/>
              <a:tabLst/>
              <a:defRPr>
                <a:solidFill>
                  <a:schemeClr val="accent5"/>
                </a:solidFill>
              </a:defRPr>
            </a:lvl3pPr>
            <a:lvl4pPr marL="670218" indent="-158736">
              <a:buClr>
                <a:schemeClr val="tx2"/>
              </a:buClr>
              <a:buSzPct val="80000"/>
              <a:tabLst/>
              <a:defRPr>
                <a:solidFill>
                  <a:schemeClr val="accent5"/>
                </a:solidFill>
              </a:defRPr>
            </a:lvl4pPr>
            <a:lvl5pPr marL="793679" indent="-158736">
              <a:buClr>
                <a:schemeClr val="tx2"/>
              </a:buClr>
              <a:buSzPct val="80000"/>
              <a:tabLst/>
              <a:defRPr>
                <a:solidFill>
                  <a:schemeClr val="accent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99614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bg1"/>
                </a:solidFill>
                <a:latin typeface="+mn-lt"/>
                <a:ea typeface="Source Sans Pro" panose="020B0503030403020204" pitchFamily="34" charset="0"/>
                <a:cs typeface="Calibri" charset="0"/>
              </a:defRPr>
            </a:lvl1pPr>
            <a:lvl2pPr marL="313259" indent="-300559">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535504" indent="-222245">
              <a:buClr>
                <a:schemeClr val="tx2"/>
              </a:buClr>
              <a:tabLst/>
              <a:defRPr b="0" i="0">
                <a:solidFill>
                  <a:schemeClr val="bg1"/>
                </a:solidFill>
                <a:latin typeface="+mn-lt"/>
                <a:ea typeface="Source Sans Pro" panose="020B0503030403020204" pitchFamily="34" charset="0"/>
                <a:cs typeface="Calibri" charset="0"/>
              </a:defRPr>
            </a:lvl3pPr>
            <a:lvl4pPr>
              <a:buClr>
                <a:schemeClr val="tx2"/>
              </a:buClr>
              <a:defRPr b="0" i="0">
                <a:solidFill>
                  <a:schemeClr val="bg1"/>
                </a:solidFill>
                <a:latin typeface="+mn-lt"/>
                <a:ea typeface="Source Sans Pro" panose="020B0503030403020204" pitchFamily="34" charset="0"/>
                <a:cs typeface="Calibri" charset="0"/>
              </a:defRPr>
            </a:lvl4pPr>
            <a:lvl5pPr>
              <a:buClr>
                <a:schemeClr val="tx2"/>
              </a:buClr>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586818653"/>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bg1"/>
                </a:solidFill>
                <a:latin typeface="+mn-lt"/>
                <a:ea typeface="Source Sans Pro" panose="020B0503030403020204" pitchFamily="34" charset="0"/>
                <a:cs typeface="Calibri" charset="0"/>
              </a:defRPr>
            </a:lvl1pPr>
            <a:lvl2pPr marL="313259" indent="-300559">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535504" indent="-222245">
              <a:buClr>
                <a:schemeClr val="tx2"/>
              </a:buClr>
              <a:tabLst/>
              <a:defRPr b="0" i="0">
                <a:solidFill>
                  <a:schemeClr val="bg1"/>
                </a:solidFill>
                <a:latin typeface="+mn-lt"/>
                <a:ea typeface="Source Sans Pro" panose="020B0503030403020204" pitchFamily="34" charset="0"/>
                <a:cs typeface="Calibri" charset="0"/>
              </a:defRPr>
            </a:lvl3pPr>
            <a:lvl4pPr>
              <a:buClr>
                <a:schemeClr val="tx2"/>
              </a:buClr>
              <a:defRPr b="0" i="0">
                <a:solidFill>
                  <a:schemeClr val="bg1"/>
                </a:solidFill>
                <a:latin typeface="+mn-lt"/>
                <a:ea typeface="Source Sans Pro" panose="020B0503030403020204" pitchFamily="34" charset="0"/>
                <a:cs typeface="Calibri" charset="0"/>
              </a:defRPr>
            </a:lvl4pPr>
            <a:lvl5pPr>
              <a:buClr>
                <a:schemeClr val="tx2"/>
              </a:buClr>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32202638"/>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473066662"/>
      </p:ext>
    </p:extLst>
  </p:cSld>
  <p:clrMapOvr>
    <a:masterClrMapping/>
  </p:clrMapOvr>
  <p:transition spd="slow">
    <p:wipe dir="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3" name="Text Placeholder 5">
            <a:extLst>
              <a:ext uri="{FF2B5EF4-FFF2-40B4-BE49-F238E27FC236}">
                <a16:creationId xmlns:a16="http://schemas.microsoft.com/office/drawing/2014/main" id="{5D9A68D5-3CBD-2249-BCFA-4DD16FF8F7E0}"/>
              </a:ext>
            </a:extLst>
          </p:cNvPr>
          <p:cNvSpPr>
            <a:spLocks noGrp="1"/>
          </p:cNvSpPr>
          <p:nvPr>
            <p:ph type="body" sz="quarter" idx="10" hasCustomPrompt="1"/>
          </p:nvPr>
        </p:nvSpPr>
        <p:spPr>
          <a:xfrm>
            <a:off x="508002"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5">
            <a:extLst>
              <a:ext uri="{FF2B5EF4-FFF2-40B4-BE49-F238E27FC236}">
                <a16:creationId xmlns:a16="http://schemas.microsoft.com/office/drawing/2014/main" id="{6CD9F73A-A1B4-AF4B-83DA-9FEF1D232838}"/>
              </a:ext>
            </a:extLst>
          </p:cNvPr>
          <p:cNvSpPr>
            <a:spLocks noGrp="1"/>
          </p:cNvSpPr>
          <p:nvPr>
            <p:ph type="body" sz="quarter" idx="12" hasCustomPrompt="1"/>
          </p:nvPr>
        </p:nvSpPr>
        <p:spPr>
          <a:xfrm>
            <a:off x="6293659"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587546107"/>
      </p:ext>
    </p:extLst>
  </p:cSld>
  <p:clrMapOvr>
    <a:masterClrMapping/>
  </p:clrMapOvr>
  <p:transition spd="slow">
    <p:wipe dir="r"/>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951076367"/>
      </p:ext>
    </p:extLst>
  </p:cSld>
  <p:clrMapOvr>
    <a:masterClrMapping/>
  </p:clrMapOvr>
  <p:transition spd="slow">
    <p:wipe dir="r"/>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6" y="5958226"/>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968297539"/>
      </p:ext>
    </p:extLst>
  </p:cSld>
  <p:clrMapOvr>
    <a:masterClrMapping/>
  </p:clrMapOvr>
  <p:transition spd="slow">
    <p:wipe dir="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405548"/>
            <a:ext cx="11175769" cy="1325563"/>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8072048"/>
      </p:ext>
    </p:extLst>
  </p:cSld>
  <p:clrMapOvr>
    <a:masterClrMapping/>
  </p:clrMapOvr>
  <p:transition spd="slow">
    <p:wipe dir="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cxnSp>
        <p:nvCxnSpPr>
          <p:cNvPr id="4" name="Straight Connector 3"/>
          <p:cNvCxnSpPr/>
          <p:nvPr/>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Tree>
    <p:extLst>
      <p:ext uri="{BB962C8B-B14F-4D97-AF65-F5344CB8AC3E}">
        <p14:creationId xmlns:p14="http://schemas.microsoft.com/office/powerpoint/2010/main" val="2819656920"/>
      </p:ext>
    </p:extLst>
  </p:cSld>
  <p:clrMapOvr>
    <a:masterClrMapping/>
  </p:clrMapOvr>
  <p:transition spd="slow">
    <p:wipe dir="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17" name="Text Placeholder 5">
            <a:extLst>
              <a:ext uri="{FF2B5EF4-FFF2-40B4-BE49-F238E27FC236}">
                <a16:creationId xmlns:a16="http://schemas.microsoft.com/office/drawing/2014/main" id="{8177294B-20F5-9944-8235-D9BC3472029B}"/>
              </a:ext>
            </a:extLst>
          </p:cNvPr>
          <p:cNvSpPr>
            <a:spLocks noGrp="1"/>
          </p:cNvSpPr>
          <p:nvPr>
            <p:ph type="body" sz="quarter" idx="10" hasCustomPrompt="1"/>
          </p:nvPr>
        </p:nvSpPr>
        <p:spPr>
          <a:xfrm>
            <a:off x="50800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0" name="Text Placeholder 5">
            <a:extLst>
              <a:ext uri="{FF2B5EF4-FFF2-40B4-BE49-F238E27FC236}">
                <a16:creationId xmlns:a16="http://schemas.microsoft.com/office/drawing/2014/main" id="{16C83BD2-BF74-2E4E-9118-BF16B37E96A0}"/>
              </a:ext>
            </a:extLst>
          </p:cNvPr>
          <p:cNvSpPr>
            <a:spLocks noGrp="1"/>
          </p:cNvSpPr>
          <p:nvPr>
            <p:ph type="body" sz="quarter" idx="12" hasCustomPrompt="1"/>
          </p:nvPr>
        </p:nvSpPr>
        <p:spPr>
          <a:xfrm>
            <a:off x="4441373"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1" name="Text Placeholder 5">
            <a:extLst>
              <a:ext uri="{FF2B5EF4-FFF2-40B4-BE49-F238E27FC236}">
                <a16:creationId xmlns:a16="http://schemas.microsoft.com/office/drawing/2014/main" id="{AD62FC8A-5158-0848-B0E3-3DB4E95B21C7}"/>
              </a:ext>
            </a:extLst>
          </p:cNvPr>
          <p:cNvSpPr>
            <a:spLocks noGrp="1"/>
          </p:cNvSpPr>
          <p:nvPr>
            <p:ph type="body" sz="quarter" idx="14" hasCustomPrompt="1"/>
          </p:nvPr>
        </p:nvSpPr>
        <p:spPr>
          <a:xfrm>
            <a:off x="837051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Tree>
    <p:extLst>
      <p:ext uri="{BB962C8B-B14F-4D97-AF65-F5344CB8AC3E}">
        <p14:creationId xmlns:p14="http://schemas.microsoft.com/office/powerpoint/2010/main" val="3447036436"/>
      </p:ext>
    </p:extLst>
  </p:cSld>
  <p:clrMapOvr>
    <a:masterClrMapping/>
  </p:clrMapOvr>
  <p:transition spd="slow">
    <p:wipe dir="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23" name="Text Placeholder 5">
            <a:extLst>
              <a:ext uri="{FF2B5EF4-FFF2-40B4-BE49-F238E27FC236}">
                <a16:creationId xmlns:a16="http://schemas.microsoft.com/office/drawing/2014/main" id="{2E2E8FF9-8E70-E84B-8E15-2BFB71256161}"/>
              </a:ext>
            </a:extLst>
          </p:cNvPr>
          <p:cNvSpPr>
            <a:spLocks noGrp="1"/>
          </p:cNvSpPr>
          <p:nvPr>
            <p:ph type="body" sz="quarter" idx="22" hasCustomPrompt="1"/>
          </p:nvPr>
        </p:nvSpPr>
        <p:spPr>
          <a:xfrm>
            <a:off x="617935"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 useBgFill="1">
        <p:nvSpPr>
          <p:cNvPr id="24" name="Text Placeholder 5">
            <a:extLst>
              <a:ext uri="{FF2B5EF4-FFF2-40B4-BE49-F238E27FC236}">
                <a16:creationId xmlns:a16="http://schemas.microsoft.com/office/drawing/2014/main" id="{FACAFBBD-ABF2-874C-B241-027A038A0576}"/>
              </a:ext>
            </a:extLst>
          </p:cNvPr>
          <p:cNvSpPr>
            <a:spLocks noGrp="1"/>
          </p:cNvSpPr>
          <p:nvPr>
            <p:ph type="body" sz="quarter" idx="23" hasCustomPrompt="1"/>
          </p:nvPr>
        </p:nvSpPr>
        <p:spPr>
          <a:xfrm>
            <a:off x="3484250"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5" name="Text Placeholder 5">
            <a:extLst>
              <a:ext uri="{FF2B5EF4-FFF2-40B4-BE49-F238E27FC236}">
                <a16:creationId xmlns:a16="http://schemas.microsoft.com/office/drawing/2014/main" id="{A49045D6-8BFC-B640-A296-C381BA776873}"/>
              </a:ext>
            </a:extLst>
          </p:cNvPr>
          <p:cNvSpPr>
            <a:spLocks noGrp="1"/>
          </p:cNvSpPr>
          <p:nvPr>
            <p:ph type="body" sz="quarter" idx="24" hasCustomPrompt="1"/>
          </p:nvPr>
        </p:nvSpPr>
        <p:spPr>
          <a:xfrm>
            <a:off x="6350564"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6" name="Text Placeholder 5">
            <a:extLst>
              <a:ext uri="{FF2B5EF4-FFF2-40B4-BE49-F238E27FC236}">
                <a16:creationId xmlns:a16="http://schemas.microsoft.com/office/drawing/2014/main" id="{528826DE-8AAC-D043-8029-3310BBA334FC}"/>
              </a:ext>
            </a:extLst>
          </p:cNvPr>
          <p:cNvSpPr>
            <a:spLocks noGrp="1"/>
          </p:cNvSpPr>
          <p:nvPr>
            <p:ph type="body" sz="quarter" idx="25" hasCustomPrompt="1"/>
          </p:nvPr>
        </p:nvSpPr>
        <p:spPr>
          <a:xfrm>
            <a:off x="9228612"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Tree>
    <p:extLst>
      <p:ext uri="{BB962C8B-B14F-4D97-AF65-F5344CB8AC3E}">
        <p14:creationId xmlns:p14="http://schemas.microsoft.com/office/powerpoint/2010/main" val="1234166660"/>
      </p:ext>
    </p:extLst>
  </p:cSld>
  <p:clrMapOvr>
    <a:masterClrMapping/>
  </p:clrMapOvr>
  <p:transition spd="slow">
    <p:wipe dir="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chemeClr val="bg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1774565909"/>
      </p:ext>
    </p:extLst>
  </p:cSld>
  <p:clrMapOvr>
    <a:masterClrMapping/>
  </p:clrMapOvr>
  <p:transition spd="slow">
    <p:wipe dir="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1F558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chemeClr val="accent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4008330864"/>
      </p:ext>
    </p:extLst>
  </p:cSld>
  <p:clrMapOvr>
    <a:masterClrMapping/>
  </p:clrMapOvr>
  <p:transition spd="slow">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768307183"/>
      </p:ext>
    </p:extLst>
  </p:cSld>
  <p:clrMapOvr>
    <a:masterClrMapping/>
  </p:clrMapOvr>
  <p:transition spd="slow">
    <p:wipe dir="r"/>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8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524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Seashell BG">
    <p:bg>
      <p:bgPr>
        <a:solidFill>
          <a:schemeClr val="accent5"/>
        </a:solidFill>
        <a:effectLst/>
      </p:bgPr>
    </p:bg>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7E2036F5-128F-7A43-8E3A-F2190B6630C2}"/>
              </a:ext>
            </a:extLst>
          </p:cNvPr>
          <p:cNvGrpSpPr/>
          <p:nvPr userDrawn="1"/>
        </p:nvGrpSpPr>
        <p:grpSpPr>
          <a:xfrm>
            <a:off x="5551891" y="1"/>
            <a:ext cx="7959877" cy="7591636"/>
            <a:chOff x="7994577" y="0"/>
            <a:chExt cx="11462017" cy="10932307"/>
          </a:xfrm>
        </p:grpSpPr>
        <p:grpSp>
          <p:nvGrpSpPr>
            <p:cNvPr id="57" name="Circle">
              <a:extLst>
                <a:ext uri="{FF2B5EF4-FFF2-40B4-BE49-F238E27FC236}">
                  <a16:creationId xmlns:a16="http://schemas.microsoft.com/office/drawing/2014/main" id="{6F4F397A-9318-5A47-AD83-78DD3E6D5143}"/>
                </a:ext>
              </a:extLst>
            </p:cNvPr>
            <p:cNvGrpSpPr/>
            <p:nvPr userDrawn="1"/>
          </p:nvGrpSpPr>
          <p:grpSpPr>
            <a:xfrm>
              <a:off x="9956627" y="1432340"/>
              <a:ext cx="9499967" cy="9499967"/>
              <a:chOff x="5143500" y="742950"/>
              <a:chExt cx="4927600" cy="4927600"/>
            </a:xfrm>
          </p:grpSpPr>
          <p:sp>
            <p:nvSpPr>
              <p:cNvPr id="84" name="Oval 83">
                <a:extLst>
                  <a:ext uri="{FF2B5EF4-FFF2-40B4-BE49-F238E27FC236}">
                    <a16:creationId xmlns:a16="http://schemas.microsoft.com/office/drawing/2014/main" id="{0D2C09A5-66A0-B640-8A89-5D57816B5C37}"/>
                  </a:ext>
                </a:extLst>
              </p:cNvPr>
              <p:cNvSpPr/>
              <p:nvPr/>
            </p:nvSpPr>
            <p:spPr>
              <a:xfrm>
                <a:off x="5143500" y="742950"/>
                <a:ext cx="4927600" cy="4927600"/>
              </a:xfrm>
              <a:prstGeom prst="ellipse">
                <a:avLst/>
              </a:prstGeom>
              <a:blipFill dpi="0" rotWithShape="1">
                <a:blip r:embed="rId2">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85" name="Oval 84">
                <a:extLst>
                  <a:ext uri="{FF2B5EF4-FFF2-40B4-BE49-F238E27FC236}">
                    <a16:creationId xmlns:a16="http://schemas.microsoft.com/office/drawing/2014/main" id="{655C89A4-E5A5-9D4C-AA66-31192363D984}"/>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58" name="one lump">
              <a:extLst>
                <a:ext uri="{FF2B5EF4-FFF2-40B4-BE49-F238E27FC236}">
                  <a16:creationId xmlns:a16="http://schemas.microsoft.com/office/drawing/2014/main" id="{F18E86AC-3F7C-784F-86E5-16D89E8B552C}"/>
                </a:ext>
              </a:extLst>
            </p:cNvPr>
            <p:cNvGrpSpPr/>
            <p:nvPr userDrawn="1"/>
          </p:nvGrpSpPr>
          <p:grpSpPr>
            <a:xfrm rot="10800000">
              <a:off x="14016662" y="0"/>
              <a:ext cx="3562164" cy="4398387"/>
              <a:chOff x="2328672" y="2862072"/>
              <a:chExt cx="1847682" cy="2281428"/>
            </a:xfrm>
          </p:grpSpPr>
          <p:sp>
            <p:nvSpPr>
              <p:cNvPr id="82" name="Graphic 6" hidden="1">
                <a:extLst>
                  <a:ext uri="{FF2B5EF4-FFF2-40B4-BE49-F238E27FC236}">
                    <a16:creationId xmlns:a16="http://schemas.microsoft.com/office/drawing/2014/main" id="{82593997-1390-A24C-A103-338E3EF489A8}"/>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83" name="Graphic 6">
                <a:extLst>
                  <a:ext uri="{FF2B5EF4-FFF2-40B4-BE49-F238E27FC236}">
                    <a16:creationId xmlns:a16="http://schemas.microsoft.com/office/drawing/2014/main" id="{6B6A9E68-5302-424A-996C-3B21666C57C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59" name="streaks">
              <a:extLst>
                <a:ext uri="{FF2B5EF4-FFF2-40B4-BE49-F238E27FC236}">
                  <a16:creationId xmlns:a16="http://schemas.microsoft.com/office/drawing/2014/main" id="{0829B57B-1785-0149-B41D-82F2BF8A51E1}"/>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67" name="Graphic 2">
                <a:extLst>
                  <a:ext uri="{FF2B5EF4-FFF2-40B4-BE49-F238E27FC236}">
                    <a16:creationId xmlns:a16="http://schemas.microsoft.com/office/drawing/2014/main" id="{C48091C8-64A4-9D4C-B223-8D53BAEDFD6E}"/>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68" name="Graphic 2">
                <a:extLst>
                  <a:ext uri="{FF2B5EF4-FFF2-40B4-BE49-F238E27FC236}">
                    <a16:creationId xmlns:a16="http://schemas.microsoft.com/office/drawing/2014/main" id="{ECD15EB6-231A-7C4E-9AC2-C46EEB8EC948}"/>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69" name="Graphic 2">
                <a:extLst>
                  <a:ext uri="{FF2B5EF4-FFF2-40B4-BE49-F238E27FC236}">
                    <a16:creationId xmlns:a16="http://schemas.microsoft.com/office/drawing/2014/main" id="{1A87F180-2396-3F46-99D3-87F1D2B11DD3}"/>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70" name="Graphic 2">
                <a:extLst>
                  <a:ext uri="{FF2B5EF4-FFF2-40B4-BE49-F238E27FC236}">
                    <a16:creationId xmlns:a16="http://schemas.microsoft.com/office/drawing/2014/main" id="{79B400E3-0228-2A48-ABDC-D738C7AECA47}"/>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71" name="Graphic 2">
                <a:extLst>
                  <a:ext uri="{FF2B5EF4-FFF2-40B4-BE49-F238E27FC236}">
                    <a16:creationId xmlns:a16="http://schemas.microsoft.com/office/drawing/2014/main" id="{0A53F592-E792-FA47-B684-665A671E233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72" name="Graphic 2">
                <a:extLst>
                  <a:ext uri="{FF2B5EF4-FFF2-40B4-BE49-F238E27FC236}">
                    <a16:creationId xmlns:a16="http://schemas.microsoft.com/office/drawing/2014/main" id="{80694FB5-F709-9145-A389-F9C2CF43EAE9}"/>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73" name="Graphic 2">
                <a:extLst>
                  <a:ext uri="{FF2B5EF4-FFF2-40B4-BE49-F238E27FC236}">
                    <a16:creationId xmlns:a16="http://schemas.microsoft.com/office/drawing/2014/main" id="{4D124D94-9075-4E45-A003-D698A4D6ADC4}"/>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74" name="Graphic 2">
                <a:extLst>
                  <a:ext uri="{FF2B5EF4-FFF2-40B4-BE49-F238E27FC236}">
                    <a16:creationId xmlns:a16="http://schemas.microsoft.com/office/drawing/2014/main" id="{1D59CCFD-FB9C-3740-9F94-05222ABF7720}"/>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75" name="Graphic 2">
                <a:extLst>
                  <a:ext uri="{FF2B5EF4-FFF2-40B4-BE49-F238E27FC236}">
                    <a16:creationId xmlns:a16="http://schemas.microsoft.com/office/drawing/2014/main" id="{A50D94FC-CDAB-8541-96C1-7130E4BE394C}"/>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76" name="Graphic 2">
                <a:extLst>
                  <a:ext uri="{FF2B5EF4-FFF2-40B4-BE49-F238E27FC236}">
                    <a16:creationId xmlns:a16="http://schemas.microsoft.com/office/drawing/2014/main" id="{53ECF351-78F4-9F4A-99E7-C5A34EA25EE1}"/>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77" name="Graphic 2">
                <a:extLst>
                  <a:ext uri="{FF2B5EF4-FFF2-40B4-BE49-F238E27FC236}">
                    <a16:creationId xmlns:a16="http://schemas.microsoft.com/office/drawing/2014/main" id="{CF96F85C-3FE9-1642-9F0B-6A98CFC6EA00}"/>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78" name="Graphic 2">
                <a:extLst>
                  <a:ext uri="{FF2B5EF4-FFF2-40B4-BE49-F238E27FC236}">
                    <a16:creationId xmlns:a16="http://schemas.microsoft.com/office/drawing/2014/main" id="{95BC99DF-A478-874D-AF08-EB8DB37EE68E}"/>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79" name="Graphic 2">
                <a:extLst>
                  <a:ext uri="{FF2B5EF4-FFF2-40B4-BE49-F238E27FC236}">
                    <a16:creationId xmlns:a16="http://schemas.microsoft.com/office/drawing/2014/main" id="{E5557E15-F214-4E4D-8C71-5764DCA1E19B}"/>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80" name="Graphic 2">
                <a:extLst>
                  <a:ext uri="{FF2B5EF4-FFF2-40B4-BE49-F238E27FC236}">
                    <a16:creationId xmlns:a16="http://schemas.microsoft.com/office/drawing/2014/main" id="{6235E861-C55E-0F49-8887-2068AB2B9FDC}"/>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81" name="Graphic 2">
                <a:extLst>
                  <a:ext uri="{FF2B5EF4-FFF2-40B4-BE49-F238E27FC236}">
                    <a16:creationId xmlns:a16="http://schemas.microsoft.com/office/drawing/2014/main" id="{94F15CB0-94C4-6B45-9459-77B215B476DC}"/>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0" name="Graphic 56">
              <a:extLst>
                <a:ext uri="{FF2B5EF4-FFF2-40B4-BE49-F238E27FC236}">
                  <a16:creationId xmlns:a16="http://schemas.microsoft.com/office/drawing/2014/main" id="{A146D7CC-8773-B34C-9B46-599AFE1FABC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1" name="Graphic 61">
              <a:extLst>
                <a:ext uri="{FF2B5EF4-FFF2-40B4-BE49-F238E27FC236}">
                  <a16:creationId xmlns:a16="http://schemas.microsoft.com/office/drawing/2014/main" id="{301B2ACB-C05B-C04E-BE15-0576F546C9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62" name="4 Xs">
              <a:extLst>
                <a:ext uri="{FF2B5EF4-FFF2-40B4-BE49-F238E27FC236}">
                  <a16:creationId xmlns:a16="http://schemas.microsoft.com/office/drawing/2014/main" id="{DB050E3C-4B92-B348-B6BD-0215DB9E6E64}"/>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63" name="Graphic 37">
                <a:extLst>
                  <a:ext uri="{FF2B5EF4-FFF2-40B4-BE49-F238E27FC236}">
                    <a16:creationId xmlns:a16="http://schemas.microsoft.com/office/drawing/2014/main" id="{49DCBB61-C991-A843-97B7-6448FD09195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64" name="Graphic 37">
                <a:extLst>
                  <a:ext uri="{FF2B5EF4-FFF2-40B4-BE49-F238E27FC236}">
                    <a16:creationId xmlns:a16="http://schemas.microsoft.com/office/drawing/2014/main" id="{1D3D5D7A-95C6-F847-A257-60BA7CDC76C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65" name="Graphic 37">
                <a:extLst>
                  <a:ext uri="{FF2B5EF4-FFF2-40B4-BE49-F238E27FC236}">
                    <a16:creationId xmlns:a16="http://schemas.microsoft.com/office/drawing/2014/main" id="{895EE3BC-B130-854C-BC3D-A7F4FE30CB4F}"/>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66" name="Graphic 37">
                <a:extLst>
                  <a:ext uri="{FF2B5EF4-FFF2-40B4-BE49-F238E27FC236}">
                    <a16:creationId xmlns:a16="http://schemas.microsoft.com/office/drawing/2014/main" id="{95FEACF9-FB13-D54A-AEBB-4C1F25144E7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3135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grpSp>
        <p:nvGrpSpPr>
          <p:cNvPr id="23" name="waves">
            <a:extLst>
              <a:ext uri="{FF2B5EF4-FFF2-40B4-BE49-F238E27FC236}">
                <a16:creationId xmlns:a16="http://schemas.microsoft.com/office/drawing/2014/main" id="{78FF047B-042B-184B-98A9-4D6759BB8D55}"/>
              </a:ext>
            </a:extLst>
          </p:cNvPr>
          <p:cNvGrpSpPr/>
          <p:nvPr userDrawn="1"/>
        </p:nvGrpSpPr>
        <p:grpSpPr>
          <a:xfrm>
            <a:off x="-1566254" y="5170549"/>
            <a:ext cx="17037436" cy="1687452"/>
            <a:chOff x="4253152" y="151074"/>
            <a:chExt cx="6930220" cy="2076330"/>
          </a:xfrm>
        </p:grpSpPr>
        <p:sp>
          <p:nvSpPr>
            <p:cNvPr id="24" name="coral">
              <a:extLst>
                <a:ext uri="{FF2B5EF4-FFF2-40B4-BE49-F238E27FC236}">
                  <a16:creationId xmlns:a16="http://schemas.microsoft.com/office/drawing/2014/main" id="{3B3E6D26-CD9B-EE47-8932-6B0B3B8BF33C}"/>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5" name="green">
              <a:extLst>
                <a:ext uri="{FF2B5EF4-FFF2-40B4-BE49-F238E27FC236}">
                  <a16:creationId xmlns:a16="http://schemas.microsoft.com/office/drawing/2014/main" id="{70A4A9C1-D410-7B49-9F90-4736A2E50A0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944468821"/>
      </p:ext>
    </p:extLst>
  </p:cSld>
  <p:clrMapOvr>
    <a:masterClrMapping/>
  </p:clrMapOvr>
  <p:transition spd="slow">
    <p:wipe dir="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waves">
            <a:extLst>
              <a:ext uri="{FF2B5EF4-FFF2-40B4-BE49-F238E27FC236}">
                <a16:creationId xmlns:a16="http://schemas.microsoft.com/office/drawing/2014/main" id="{39616EB5-6B04-604F-BAC6-C005AC2B886C}"/>
              </a:ext>
            </a:extLst>
          </p:cNvPr>
          <p:cNvGrpSpPr/>
          <p:nvPr userDrawn="1"/>
        </p:nvGrpSpPr>
        <p:grpSpPr>
          <a:xfrm>
            <a:off x="-1566254" y="5170549"/>
            <a:ext cx="17037436" cy="1687452"/>
            <a:chOff x="4253152" y="151074"/>
            <a:chExt cx="6930220" cy="2076330"/>
          </a:xfrm>
        </p:grpSpPr>
        <p:sp>
          <p:nvSpPr>
            <p:cNvPr id="21" name="coral">
              <a:extLst>
                <a:ext uri="{FF2B5EF4-FFF2-40B4-BE49-F238E27FC236}">
                  <a16:creationId xmlns:a16="http://schemas.microsoft.com/office/drawing/2014/main" id="{E3EF3A70-98AF-2E48-BCCD-D3F505097C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4C75630-123C-354A-90FC-64179A7F0B81}"/>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6032549" y="53553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12537582"/>
      </p:ext>
    </p:extLst>
  </p:cSld>
  <p:clrMapOvr>
    <a:masterClrMapping/>
  </p:clrMapOvr>
  <p:transition spd="slow">
    <p:wipe dir="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5" name="Oval 64">
            <a:extLst>
              <a:ext uri="{FF2B5EF4-FFF2-40B4-BE49-F238E27FC236}">
                <a16:creationId xmlns:a16="http://schemas.microsoft.com/office/drawing/2014/main" id="{A67F92C1-226B-D34B-8F57-77A1E9414682}"/>
              </a:ext>
            </a:extLst>
          </p:cNvPr>
          <p:cNvSpPr/>
          <p:nvPr userDrawn="1"/>
        </p:nvSpPr>
        <p:spPr>
          <a:xfrm>
            <a:off x="6920522" y="976171"/>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32" name="waves">
            <a:extLst>
              <a:ext uri="{FF2B5EF4-FFF2-40B4-BE49-F238E27FC236}">
                <a16:creationId xmlns:a16="http://schemas.microsoft.com/office/drawing/2014/main" id="{B3697C6D-79F7-AC41-BFF3-CCAEC86A9EF9}"/>
              </a:ext>
            </a:extLst>
          </p:cNvPr>
          <p:cNvGrpSpPr/>
          <p:nvPr userDrawn="1"/>
        </p:nvGrpSpPr>
        <p:grpSpPr>
          <a:xfrm>
            <a:off x="6096001" y="4542732"/>
            <a:ext cx="7779727" cy="2330729"/>
            <a:chOff x="4253152" y="151074"/>
            <a:chExt cx="6930220" cy="2076330"/>
          </a:xfrm>
        </p:grpSpPr>
        <p:sp>
          <p:nvSpPr>
            <p:cNvPr id="33" name="coral">
              <a:extLst>
                <a:ext uri="{FF2B5EF4-FFF2-40B4-BE49-F238E27FC236}">
                  <a16:creationId xmlns:a16="http://schemas.microsoft.com/office/drawing/2014/main" id="{D4BABF9B-7D7A-F042-B042-23A66D30317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4" name="green">
              <a:extLst>
                <a:ext uri="{FF2B5EF4-FFF2-40B4-BE49-F238E27FC236}">
                  <a16:creationId xmlns:a16="http://schemas.microsoft.com/office/drawing/2014/main" id="{33243E7D-BA9B-7F45-AEC0-0F2863FB31C7}"/>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231366997"/>
      </p:ext>
    </p:extLst>
  </p:cSld>
  <p:clrMapOvr>
    <a:masterClrMapping/>
  </p:clrMapOvr>
  <p:transition spd="slow">
    <p:wipe dir="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8" name="waves">
            <a:extLst>
              <a:ext uri="{FF2B5EF4-FFF2-40B4-BE49-F238E27FC236}">
                <a16:creationId xmlns:a16="http://schemas.microsoft.com/office/drawing/2014/main" id="{E555CF5C-748A-CE43-8182-BD26B45F50E8}"/>
              </a:ext>
            </a:extLst>
          </p:cNvPr>
          <p:cNvGrpSpPr/>
          <p:nvPr userDrawn="1"/>
        </p:nvGrpSpPr>
        <p:grpSpPr>
          <a:xfrm>
            <a:off x="6096001" y="4542732"/>
            <a:ext cx="7779727" cy="2330729"/>
            <a:chOff x="4253152" y="151074"/>
            <a:chExt cx="6930220" cy="2076330"/>
          </a:xfrm>
        </p:grpSpPr>
        <p:sp>
          <p:nvSpPr>
            <p:cNvPr id="49" name="coral">
              <a:extLst>
                <a:ext uri="{FF2B5EF4-FFF2-40B4-BE49-F238E27FC236}">
                  <a16:creationId xmlns:a16="http://schemas.microsoft.com/office/drawing/2014/main" id="{DED7FFEF-61C3-444A-B7CB-C47A60D8543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50" name="green">
              <a:extLst>
                <a:ext uri="{FF2B5EF4-FFF2-40B4-BE49-F238E27FC236}">
                  <a16:creationId xmlns:a16="http://schemas.microsoft.com/office/drawing/2014/main" id="{129EAA55-280A-E044-A52E-E0E15738E950}"/>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0" y="174"/>
            <a:ext cx="6391683" cy="6857657"/>
            <a:chOff x="8352309" y="248"/>
            <a:chExt cx="9203857" cy="9875345"/>
          </a:xfrm>
        </p:grpSpPr>
        <p:sp>
          <p:nvSpPr>
            <p:cNvPr id="22" name="Leaner">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sp>
          <p:nvSpPr>
            <p:cNvPr id="27" name="Graphic 6">
              <a:extLst>
                <a:ext uri="{FF2B5EF4-FFF2-40B4-BE49-F238E27FC236}">
                  <a16:creationId xmlns:a16="http://schemas.microsoft.com/office/drawing/2014/main" id="{24B07B6C-2ED5-8846-AC61-257D0BEB18BB}"/>
                </a:ext>
              </a:extLst>
            </p:cNvPr>
            <p:cNvSpPr/>
            <p:nvPr userDrawn="1"/>
          </p:nvSpPr>
          <p:spPr>
            <a:xfrm rot="10800000">
              <a:off x="14008676" y="248"/>
              <a:ext cx="3547485" cy="4380263"/>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2">
                <a:alphaModFix amt="1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4608" dirty="0"/>
            </a:p>
          </p:txBody>
        </p:sp>
        <p:grpSp>
          <p:nvGrpSpPr>
            <p:cNvPr id="28" name="Group 27">
              <a:extLst>
                <a:ext uri="{FF2B5EF4-FFF2-40B4-BE49-F238E27FC236}">
                  <a16:creationId xmlns:a16="http://schemas.microsoft.com/office/drawing/2014/main" id="{57235399-C95B-1943-B9EF-860E65AFDD01}"/>
                </a:ext>
              </a:extLst>
            </p:cNvPr>
            <p:cNvGrpSpPr/>
            <p:nvPr userDrawn="1"/>
          </p:nvGrpSpPr>
          <p:grpSpPr>
            <a:xfrm>
              <a:off x="14900230" y="913506"/>
              <a:ext cx="1268724" cy="1016526"/>
              <a:chOff x="14900230" y="913506"/>
              <a:chExt cx="1268724" cy="1016526"/>
            </a:xfrm>
            <a:solidFill>
              <a:schemeClr val="accent5">
                <a:alpha val="15223"/>
              </a:schemeClr>
            </a:solidFill>
          </p:grpSpPr>
          <p:sp>
            <p:nvSpPr>
              <p:cNvPr id="39" name="Freeform 38">
                <a:extLst>
                  <a:ext uri="{FF2B5EF4-FFF2-40B4-BE49-F238E27FC236}">
                    <a16:creationId xmlns:a16="http://schemas.microsoft.com/office/drawing/2014/main" id="{5B5C8F91-AF88-874B-9D3A-24B6B89475B0}"/>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40" name="Freeform 39">
                <a:extLst>
                  <a:ext uri="{FF2B5EF4-FFF2-40B4-BE49-F238E27FC236}">
                    <a16:creationId xmlns:a16="http://schemas.microsoft.com/office/drawing/2014/main" id="{B6609D64-423C-DC43-BAD9-388F8D5BEB88}"/>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41" name="Freeform 40">
                <a:extLst>
                  <a:ext uri="{FF2B5EF4-FFF2-40B4-BE49-F238E27FC236}">
                    <a16:creationId xmlns:a16="http://schemas.microsoft.com/office/drawing/2014/main" id="{BD6BAF1C-7522-754B-B806-5C8F99B9050F}"/>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29" name="Group 28">
              <a:extLst>
                <a:ext uri="{FF2B5EF4-FFF2-40B4-BE49-F238E27FC236}">
                  <a16:creationId xmlns:a16="http://schemas.microsoft.com/office/drawing/2014/main" id="{B9821EA1-C321-4246-A6D2-DACB94F87897}"/>
                </a:ext>
              </a:extLst>
            </p:cNvPr>
            <p:cNvGrpSpPr/>
            <p:nvPr userDrawn="1"/>
          </p:nvGrpSpPr>
          <p:grpSpPr>
            <a:xfrm>
              <a:off x="15782242" y="1613278"/>
              <a:ext cx="1036054" cy="2188200"/>
              <a:chOff x="15782242" y="1613278"/>
              <a:chExt cx="1036054" cy="2188200"/>
            </a:xfrm>
          </p:grpSpPr>
          <p:sp>
            <p:nvSpPr>
              <p:cNvPr id="36" name="Graphic 43">
                <a:extLst>
                  <a:ext uri="{FF2B5EF4-FFF2-40B4-BE49-F238E27FC236}">
                    <a16:creationId xmlns:a16="http://schemas.microsoft.com/office/drawing/2014/main" id="{6FD28292-19D6-944A-ADB4-2DC046E6FDCE}"/>
                  </a:ext>
                </a:extLst>
              </p:cNvPr>
              <p:cNvSpPr/>
              <p:nvPr userDrawn="1"/>
            </p:nvSpPr>
            <p:spPr>
              <a:xfrm>
                <a:off x="15782242" y="1613278"/>
                <a:ext cx="225014" cy="2188200"/>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7" name="Graphic 43">
                <a:extLst>
                  <a:ext uri="{FF2B5EF4-FFF2-40B4-BE49-F238E27FC236}">
                    <a16:creationId xmlns:a16="http://schemas.microsoft.com/office/drawing/2014/main" id="{35FAB3DF-38A8-3F43-B269-6CFA1F7B25A6}"/>
                  </a:ext>
                </a:extLst>
              </p:cNvPr>
              <p:cNvSpPr/>
              <p:nvPr userDrawn="1"/>
            </p:nvSpPr>
            <p:spPr>
              <a:xfrm>
                <a:off x="16187762" y="1736380"/>
                <a:ext cx="225014" cy="2065098"/>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8" name="Graphic 43">
                <a:extLst>
                  <a:ext uri="{FF2B5EF4-FFF2-40B4-BE49-F238E27FC236}">
                    <a16:creationId xmlns:a16="http://schemas.microsoft.com/office/drawing/2014/main" id="{59FFEE35-F625-1F42-9CC5-050597A6730D}"/>
                  </a:ext>
                </a:extLst>
              </p:cNvPr>
              <p:cNvSpPr/>
              <p:nvPr userDrawn="1"/>
            </p:nvSpPr>
            <p:spPr>
              <a:xfrm>
                <a:off x="16593280" y="1897677"/>
                <a:ext cx="225016" cy="190380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gr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70899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4" name="waves">
            <a:extLst>
              <a:ext uri="{FF2B5EF4-FFF2-40B4-BE49-F238E27FC236}">
                <a16:creationId xmlns:a16="http://schemas.microsoft.com/office/drawing/2014/main" id="{2063CD0F-C9EB-3C44-9748-EA1260C4D8A4}"/>
              </a:ext>
            </a:extLst>
          </p:cNvPr>
          <p:cNvGrpSpPr/>
          <p:nvPr userDrawn="1"/>
        </p:nvGrpSpPr>
        <p:grpSpPr>
          <a:xfrm>
            <a:off x="-1566254" y="5170549"/>
            <a:ext cx="17037436" cy="1687452"/>
            <a:chOff x="4253152" y="151074"/>
            <a:chExt cx="6930220" cy="2076330"/>
          </a:xfrm>
        </p:grpSpPr>
        <p:sp>
          <p:nvSpPr>
            <p:cNvPr id="25" name="coral">
              <a:extLst>
                <a:ext uri="{FF2B5EF4-FFF2-40B4-BE49-F238E27FC236}">
                  <a16:creationId xmlns:a16="http://schemas.microsoft.com/office/drawing/2014/main" id="{E135005D-56A8-C644-9F2A-FE8BF5E183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6" name="green">
              <a:extLst>
                <a:ext uri="{FF2B5EF4-FFF2-40B4-BE49-F238E27FC236}">
                  <a16:creationId xmlns:a16="http://schemas.microsoft.com/office/drawing/2014/main" id="{26519B29-1185-F047-B6D7-88E348CE352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2239303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9F543-4184-3E4F-9977-55C81E78063A}"/>
              </a:ext>
            </a:extLst>
          </p:cNvPr>
          <p:cNvGrpSpPr/>
          <p:nvPr userDrawn="1"/>
        </p:nvGrpSpPr>
        <p:grpSpPr>
          <a:xfrm>
            <a:off x="-733314" y="5049600"/>
            <a:ext cx="19125951" cy="1808401"/>
            <a:chOff x="7994577" y="7729729"/>
            <a:chExt cx="9753466" cy="2185140"/>
          </a:xfrm>
        </p:grpSpPr>
        <p:sp>
          <p:nvSpPr>
            <p:cNvPr id="5" name="Graphic 56">
              <a:extLst>
                <a:ext uri="{FF2B5EF4-FFF2-40B4-BE49-F238E27FC236}">
                  <a16:creationId xmlns:a16="http://schemas.microsoft.com/office/drawing/2014/main" id="{D7489825-F018-3B4F-8E18-461B40E9925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 name="Graphic 61">
              <a:extLst>
                <a:ext uri="{FF2B5EF4-FFF2-40B4-BE49-F238E27FC236}">
                  <a16:creationId xmlns:a16="http://schemas.microsoft.com/office/drawing/2014/main" id="{11B6F687-57A9-2742-9150-64E0A457153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16873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pic>
        <p:nvPicPr>
          <p:cNvPr id="41" name="wave pattern" descr="A picture containing nature, dune&#10;&#10;Description automatically generated">
            <a:extLst>
              <a:ext uri="{FF2B5EF4-FFF2-40B4-BE49-F238E27FC236}">
                <a16:creationId xmlns:a16="http://schemas.microsoft.com/office/drawing/2014/main" id="{FEA6B481-BC84-A24D-857C-DFC0F3E0055E}"/>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1871160095"/>
      </p:ext>
    </p:extLst>
  </p:cSld>
  <p:clrMapOvr>
    <a:masterClrMapping/>
  </p:clrMapOvr>
  <p:transition spd="slow">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3" name="Text Placeholder 5">
            <a:extLst>
              <a:ext uri="{FF2B5EF4-FFF2-40B4-BE49-F238E27FC236}">
                <a16:creationId xmlns:a16="http://schemas.microsoft.com/office/drawing/2014/main" id="{5D9A68D5-3CBD-2249-BCFA-4DD16FF8F7E0}"/>
              </a:ext>
            </a:extLst>
          </p:cNvPr>
          <p:cNvSpPr>
            <a:spLocks noGrp="1"/>
          </p:cNvSpPr>
          <p:nvPr>
            <p:ph type="body" sz="quarter" idx="10" hasCustomPrompt="1"/>
          </p:nvPr>
        </p:nvSpPr>
        <p:spPr>
          <a:xfrm>
            <a:off x="508002"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5">
            <a:extLst>
              <a:ext uri="{FF2B5EF4-FFF2-40B4-BE49-F238E27FC236}">
                <a16:creationId xmlns:a16="http://schemas.microsoft.com/office/drawing/2014/main" id="{6CD9F73A-A1B4-AF4B-83DA-9FEF1D232838}"/>
              </a:ext>
            </a:extLst>
          </p:cNvPr>
          <p:cNvSpPr>
            <a:spLocks noGrp="1"/>
          </p:cNvSpPr>
          <p:nvPr>
            <p:ph type="body" sz="quarter" idx="12" hasCustomPrompt="1"/>
          </p:nvPr>
        </p:nvSpPr>
        <p:spPr>
          <a:xfrm>
            <a:off x="6293659"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375970147"/>
      </p:ext>
    </p:extLst>
  </p:cSld>
  <p:clrMapOvr>
    <a:masterClrMapping/>
  </p:clrMapOvr>
  <p:transition spd="slow">
    <p:wipe dir="r"/>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pic>
        <p:nvPicPr>
          <p:cNvPr id="77" name="wave pattern" descr="A picture containing nature, dune&#10;&#10;Description automatically generated">
            <a:extLst>
              <a:ext uri="{FF2B5EF4-FFF2-40B4-BE49-F238E27FC236}">
                <a16:creationId xmlns:a16="http://schemas.microsoft.com/office/drawing/2014/main" id="{431210A4-7017-1C43-B12A-A6086FB5EFA8}"/>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7" name="Slide Number Placeholder 5">
            <a:extLst>
              <a:ext uri="{FF2B5EF4-FFF2-40B4-BE49-F238E27FC236}">
                <a16:creationId xmlns:a16="http://schemas.microsoft.com/office/drawing/2014/main" id="{02FFEA81-BB5A-E84B-8FBF-DF8658B0DFEC}"/>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sp>
        <p:nvSpPr>
          <p:cNvPr id="8" name="Slide Number Placeholder 5">
            <a:extLst>
              <a:ext uri="{FF2B5EF4-FFF2-40B4-BE49-F238E27FC236}">
                <a16:creationId xmlns:a16="http://schemas.microsoft.com/office/drawing/2014/main" id="{1E1766E1-6F1F-2E40-8922-5A29D6162A58}"/>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0"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2"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4"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Tree>
    <p:extLst>
      <p:ext uri="{BB962C8B-B14F-4D97-AF65-F5344CB8AC3E}">
        <p14:creationId xmlns:p14="http://schemas.microsoft.com/office/powerpoint/2010/main" val="1998764092"/>
      </p:ext>
    </p:extLst>
  </p:cSld>
  <p:clrMapOvr>
    <a:masterClrMapping/>
  </p:clrMapOvr>
  <p:transition spd="slow">
    <p:wipe dir="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Engage Quote">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5" name="Rectangle 4">
            <a:extLst>
              <a:ext uri="{FF2B5EF4-FFF2-40B4-BE49-F238E27FC236}">
                <a16:creationId xmlns:a16="http://schemas.microsoft.com/office/drawing/2014/main" id="{CDEB7964-C5EE-104E-AB73-ECD369064086}"/>
              </a:ext>
            </a:extLst>
          </p:cNvPr>
          <p:cNvSpPr/>
          <p:nvPr userDrawn="1"/>
        </p:nvSpPr>
        <p:spPr>
          <a:xfrm>
            <a:off x="3314701"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Freeform: Shape 35">
            <a:extLst>
              <a:ext uri="{FF2B5EF4-FFF2-40B4-BE49-F238E27FC236}">
                <a16:creationId xmlns:a16="http://schemas.microsoft.com/office/drawing/2014/main" id="{3E06244D-399D-C244-BD04-78D56B482FA2}"/>
              </a:ext>
            </a:extLst>
          </p:cNvPr>
          <p:cNvSpPr/>
          <p:nvPr userDrawn="1"/>
        </p:nvSpPr>
        <p:spPr>
          <a:xfrm>
            <a:off x="-4951714" y="-193154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10000">
                <a:schemeClr val="tx1">
                  <a:alpha val="0"/>
                </a:schemeClr>
              </a:gs>
              <a:gs pos="100000">
                <a:schemeClr val="tx1">
                  <a:lumMod val="60000"/>
                  <a:lumOff val="40000"/>
                  <a:alpha val="30000"/>
                </a:schemeClr>
              </a:gs>
            </a:gsLst>
            <a:lin ang="10800000" scaled="1"/>
            <a:tileRect/>
          </a:gradFill>
          <a:ln w="2358" cap="flat">
            <a:noFill/>
            <a:prstDash val="solid"/>
            <a:miter/>
          </a:ln>
        </p:spPr>
        <p:txBody>
          <a:bodyPr rtlCol="0" anchor="ctr"/>
          <a:lstStyle/>
          <a:p>
            <a:endParaRPr lang="en-US" sz="2400"/>
          </a:p>
        </p:txBody>
      </p:sp>
      <p:sp>
        <p:nvSpPr>
          <p:cNvPr id="8" name="Rectangle 7">
            <a:extLst>
              <a:ext uri="{FF2B5EF4-FFF2-40B4-BE49-F238E27FC236}">
                <a16:creationId xmlns:a16="http://schemas.microsoft.com/office/drawing/2014/main" id="{878F7EAB-5EEF-5843-8277-AF186213EFF8}"/>
              </a:ext>
            </a:extLst>
          </p:cNvPr>
          <p:cNvSpPr/>
          <p:nvPr userDrawn="1"/>
        </p:nvSpPr>
        <p:spPr>
          <a:xfrm>
            <a:off x="2197099" y="-4099035"/>
            <a:ext cx="7810501"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77">
              <a:spcBef>
                <a:spcPct val="0"/>
              </a:spcBef>
            </a:pPr>
            <a:r>
              <a:rPr lang="en-GB" sz="3200" b="1" i="0" dirty="0">
                <a:solidFill>
                  <a:schemeClr val="tx2"/>
                </a:solidFill>
                <a:latin typeface="Source Sans Pro" panose="020B0503030403020204" pitchFamily="34" charset="0"/>
                <a:ea typeface="+mj-ea"/>
                <a:cs typeface="+mj-cs"/>
              </a:rPr>
              <a:t>Building a foundation for...</a:t>
            </a:r>
            <a:endParaRPr lang="en-US" sz="3200" b="1" i="0" dirty="0">
              <a:solidFill>
                <a:schemeClr val="tx2"/>
              </a:solidFill>
              <a:latin typeface="Source Sans Pro" panose="020B0503030403020204" pitchFamily="34" charset="0"/>
              <a:ea typeface="+mj-ea"/>
              <a:cs typeface="+mj-cs"/>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72EDE628-C243-344C-A7A9-A7B75D33690A}"/>
                  </a:ext>
                </a:extLst>
              </p14:cNvPr>
              <p14:cNvContentPartPr/>
              <p14:nvPr userDrawn="1"/>
            </p14:nvContentPartPr>
            <p14:xfrm>
              <a:off x="-5605893" y="439840"/>
              <a:ext cx="480" cy="480"/>
            </p14:xfrm>
          </p:contentPart>
        </mc:Choice>
        <mc:Fallback xmlns="">
          <p:pic>
            <p:nvPicPr>
              <p:cNvPr id="9" name="Ink 8">
                <a:extLst>
                  <a:ext uri="{FF2B5EF4-FFF2-40B4-BE49-F238E27FC236}">
                    <a16:creationId xmlns:a16="http://schemas.microsoft.com/office/drawing/2014/main" id="{72EDE628-C243-344C-A7A9-A7B75D33690A}"/>
                  </a:ext>
                </a:extLst>
              </p:cNvPr>
              <p:cNvPicPr/>
              <p:nvPr/>
            </p:nvPicPr>
            <p:blipFill>
              <a:blip r:embed="rId4"/>
              <a:stretch>
                <a:fillRect/>
              </a:stretch>
            </p:blipFill>
            <p:spPr>
              <a:xfrm>
                <a:off x="-5617893" y="427840"/>
                <a:ext cx="24000" cy="24000"/>
              </a:xfrm>
              <a:prstGeom prst="rect">
                <a:avLst/>
              </a:prstGeom>
            </p:spPr>
          </p:pic>
        </mc:Fallback>
      </mc:AlternateContent>
      <p:sp>
        <p:nvSpPr>
          <p:cNvPr id="31" name="TITLE">
            <a:extLst>
              <a:ext uri="{FF2B5EF4-FFF2-40B4-BE49-F238E27FC236}">
                <a16:creationId xmlns:a16="http://schemas.microsoft.com/office/drawing/2014/main" id="{0DE24C69-53C3-AE48-B542-909C6ABD56BF}"/>
              </a:ext>
            </a:extLst>
          </p:cNvPr>
          <p:cNvSpPr>
            <a:spLocks noGrp="1"/>
          </p:cNvSpPr>
          <p:nvPr>
            <p:ph type="body" sz="quarter" idx="12" hasCustomPrompt="1"/>
          </p:nvPr>
        </p:nvSpPr>
        <p:spPr>
          <a:xfrm>
            <a:off x="4229099" y="5432171"/>
            <a:ext cx="7454901" cy="533400"/>
          </a:xfrm>
        </p:spPr>
        <p:txBody>
          <a:bodyPr/>
          <a:lstStyle>
            <a:lvl1pPr>
              <a:defRPr b="1" i="0">
                <a:solidFill>
                  <a:schemeClr val="tx2"/>
                </a:solidFill>
                <a:latin typeface="Source Sans Pro Semibold" panose="020B0503030403020204" pitchFamily="34" charset="0"/>
                <a:ea typeface="Source Sans Pro Semibold" panose="020B0503030403020204" pitchFamily="34" charset="0"/>
              </a:defRPr>
            </a:lvl1pPr>
          </a:lstStyle>
          <a:p>
            <a:pPr lvl="0"/>
            <a:r>
              <a:rPr lang="en-US" dirty="0"/>
              <a:t>— Name, Title</a:t>
            </a:r>
          </a:p>
        </p:txBody>
      </p:sp>
      <p:sp>
        <p:nvSpPr>
          <p:cNvPr id="17" name="Title 1">
            <a:extLst>
              <a:ext uri="{FF2B5EF4-FFF2-40B4-BE49-F238E27FC236}">
                <a16:creationId xmlns:a16="http://schemas.microsoft.com/office/drawing/2014/main" id="{75015F69-F9C8-9540-AF88-3152FE5DD6D4}"/>
              </a:ext>
            </a:extLst>
          </p:cNvPr>
          <p:cNvSpPr txBox="1">
            <a:spLocks/>
          </p:cNvSpPr>
          <p:nvPr userDrawn="1"/>
        </p:nvSpPr>
        <p:spPr>
          <a:xfrm>
            <a:off x="4115904" y="1063410"/>
            <a:ext cx="760897" cy="1323439"/>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8000" dirty="0">
                <a:solidFill>
                  <a:srgbClr val="FF6D70"/>
                </a:solidFill>
                <a:latin typeface="+mn-lt"/>
              </a:rPr>
              <a:t>“</a:t>
            </a:r>
            <a:endParaRPr lang="en-US" sz="9600" dirty="0">
              <a:solidFill>
                <a:srgbClr val="FF6D70"/>
              </a:solidFill>
              <a:latin typeface="+mn-lt"/>
            </a:endParaRPr>
          </a:p>
        </p:txBody>
      </p:sp>
      <p:sp>
        <p:nvSpPr>
          <p:cNvPr id="18" name="Oval 17">
            <a:extLst>
              <a:ext uri="{FF2B5EF4-FFF2-40B4-BE49-F238E27FC236}">
                <a16:creationId xmlns:a16="http://schemas.microsoft.com/office/drawing/2014/main" id="{200E090A-065F-BC41-9689-182CD87141CD}"/>
              </a:ext>
            </a:extLst>
          </p:cNvPr>
          <p:cNvSpPr/>
          <p:nvPr userDrawn="1"/>
        </p:nvSpPr>
        <p:spPr>
          <a:xfrm>
            <a:off x="3822701" y="641667"/>
            <a:ext cx="1384300" cy="1384300"/>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w="12700">
                <a:solidFill>
                  <a:srgbClr val="FF6D70"/>
                </a:solidFill>
              </a:ln>
              <a:noFill/>
              <a:latin typeface="+mn-lt"/>
            </a:endParaRPr>
          </a:p>
        </p:txBody>
      </p:sp>
      <p:sp>
        <p:nvSpPr>
          <p:cNvPr id="27" name="QUOTE">
            <a:extLst>
              <a:ext uri="{FF2B5EF4-FFF2-40B4-BE49-F238E27FC236}">
                <a16:creationId xmlns:a16="http://schemas.microsoft.com/office/drawing/2014/main" id="{9D7187EA-700C-864A-B857-4AAA95FDC2CA}"/>
              </a:ext>
            </a:extLst>
          </p:cNvPr>
          <p:cNvSpPr>
            <a:spLocks noGrp="1"/>
          </p:cNvSpPr>
          <p:nvPr>
            <p:ph type="body" sz="quarter" idx="11"/>
          </p:nvPr>
        </p:nvSpPr>
        <p:spPr>
          <a:xfrm>
            <a:off x="4229099" y="1728721"/>
            <a:ext cx="7454901" cy="2768048"/>
          </a:xfrm>
        </p:spPr>
        <p:txBody>
          <a:bodyPr>
            <a:normAutofit/>
          </a:bodyPr>
          <a:lstStyle>
            <a:lvl1pPr>
              <a:defRPr sz="3733" b="0" i="0">
                <a:solidFill>
                  <a:schemeClr val="tx1"/>
                </a:solidFill>
                <a:latin typeface="Source Sans Pro" panose="020B0503030403020204" pitchFamily="34" charset="0"/>
              </a:defRPr>
            </a:lvl1pPr>
          </a:lstStyle>
          <a:p>
            <a:pPr lvl="0"/>
            <a:r>
              <a:rPr lang="en-US" dirty="0"/>
              <a:t>Click to edit</a:t>
            </a:r>
          </a:p>
        </p:txBody>
      </p:sp>
      <p:sp>
        <p:nvSpPr>
          <p:cNvPr id="19" name="SIDEBAR">
            <a:extLst>
              <a:ext uri="{FF2B5EF4-FFF2-40B4-BE49-F238E27FC236}">
                <a16:creationId xmlns:a16="http://schemas.microsoft.com/office/drawing/2014/main" id="{88EEB87D-BBD1-5843-A566-BDF32AA33488}"/>
              </a:ext>
            </a:extLst>
          </p:cNvPr>
          <p:cNvSpPr>
            <a:spLocks noGrp="1"/>
          </p:cNvSpPr>
          <p:nvPr>
            <p:ph type="body" sz="quarter" idx="10"/>
          </p:nvPr>
        </p:nvSpPr>
        <p:spPr>
          <a:xfrm>
            <a:off x="523355" y="1728722"/>
            <a:ext cx="2577347" cy="860385"/>
          </a:xfrm>
        </p:spPr>
        <p:txBody>
          <a:bodyPr/>
          <a:lstStyle>
            <a:lvl1pPr>
              <a:defRPr b="1" i="0">
                <a:solidFill>
                  <a:schemeClr val="bg1"/>
                </a:solidFill>
                <a:latin typeface="Source Sans Pro Semibold" panose="020B0503030403020204" pitchFamily="34" charset="0"/>
                <a:ea typeface="Source Sans Pro Semibold" panose="020B0503030403020204" pitchFamily="34" charset="0"/>
              </a:defRPr>
            </a:lvl1pPr>
          </a:lstStyle>
          <a:p>
            <a:pPr lvl="0"/>
            <a:r>
              <a:rPr lang="en-US" dirty="0"/>
              <a:t>Click to edit</a:t>
            </a:r>
          </a:p>
        </p:txBody>
      </p:sp>
    </p:spTree>
    <p:extLst>
      <p:ext uri="{BB962C8B-B14F-4D97-AF65-F5344CB8AC3E}">
        <p14:creationId xmlns:p14="http://schemas.microsoft.com/office/powerpoint/2010/main" val="674856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10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1000"/>
                            </p:stCondLst>
                            <p:childTnLst>
                              <p:par>
                                <p:cTn id="12" presetID="10" presetClass="entr" presetSubtype="0" fill="hold" grpId="1" nodeType="afterEffect">
                                  <p:stCondLst>
                                    <p:cond delay="0"/>
                                  </p:stCondLst>
                                  <p:childTnLst>
                                    <p:set>
                                      <p:cBhvr>
                                        <p:cTn id="13" dur="1" fill="hold">
                                          <p:stCondLst>
                                            <p:cond delay="0"/>
                                          </p:stCondLst>
                                        </p:cTn>
                                        <p:tgtEl>
                                          <p:spTgt spid="27">
                                            <p:txEl>
                                              <p:pRg st="0" end="0"/>
                                            </p:txEl>
                                          </p:spTgt>
                                        </p:tgtEl>
                                        <p:attrNameLst>
                                          <p:attrName>style.visibility</p:attrName>
                                        </p:attrNameLst>
                                      </p:cBhvr>
                                      <p:to>
                                        <p:strVal val="visible"/>
                                      </p:to>
                                    </p:set>
                                    <p:animEffect transition="in" filter="fade">
                                      <p:cBhvr>
                                        <p:cTn id="14" dur="500"/>
                                        <p:tgtEl>
                                          <p:spTgt spid="27">
                                            <p:txEl>
                                              <p:pRg st="0" end="0"/>
                                            </p:txEl>
                                          </p:spTgt>
                                        </p:tgtEl>
                                      </p:cBhvr>
                                    </p:animEffect>
                                  </p:childTnLst>
                                </p:cTn>
                              </p:par>
                              <p:par>
                                <p:cTn id="15" presetID="64" presetClass="path" presetSubtype="0" accel="50000" decel="50000" fill="hold" grpId="0" nodeType="withEffect">
                                  <p:stCondLst>
                                    <p:cond delay="0"/>
                                  </p:stCondLst>
                                  <p:childTnLst>
                                    <p:animMotion origin="layout" path="M 3.05556E-6 -0.03148 L 3.05556E-6 0.00154 " pathEditMode="relative" rAng="0" ptsTypes="AA">
                                      <p:cBhvr>
                                        <p:cTn id="16" dur="2000" fill="hold"/>
                                        <p:tgtEl>
                                          <p:spTgt spid="27">
                                            <p:txEl>
                                              <p:pRg st="0" end="0"/>
                                            </p:txEl>
                                          </p:spTgt>
                                        </p:tgtEl>
                                        <p:attrNameLst>
                                          <p:attrName>ppt_x</p:attrName>
                                          <p:attrName>ppt_y</p:attrName>
                                        </p:attrNameLst>
                                      </p:cBhvr>
                                      <p:rCtr x="0" y="1636"/>
                                    </p:animMotion>
                                  </p:childTnLst>
                                </p:cTn>
                              </p:par>
                              <p:par>
                                <p:cTn id="17" presetID="10" presetClass="entr" presetSubtype="0" fill="hold" grpId="1" nodeType="with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childTnLst>
                                </p:cTn>
                              </p:par>
                              <p:par>
                                <p:cTn id="20" presetID="42" presetClass="path" presetSubtype="0" accel="50000" decel="50000" fill="hold" grpId="0" nodeType="withEffect">
                                  <p:stCondLst>
                                    <p:cond delay="0"/>
                                  </p:stCondLst>
                                  <p:childTnLst>
                                    <p:animMotion origin="layout" path="M -3.88889E-6 -0.05247 L -3.88889E-6 1.11111E-6 " pathEditMode="relative" rAng="0" ptsTypes="AA">
                                      <p:cBhvr>
                                        <p:cTn id="21" dur="2000" fill="hold"/>
                                        <p:tgtEl>
                                          <p:spTgt spid="19">
                                            <p:txEl>
                                              <p:pRg st="0" end="0"/>
                                            </p:txEl>
                                          </p:spTgt>
                                        </p:tgtEl>
                                        <p:attrNameLst>
                                          <p:attrName>ppt_x</p:attrName>
                                          <p:attrName>ppt_y</p:attrName>
                                        </p:attrNameLst>
                                      </p:cBhvr>
                                      <p:rCtr x="0" y="2623"/>
                                    </p:animMotion>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Effect transition="in" filter="fade">
                                      <p:cBhvr>
                                        <p:cTn id="25"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tmplLst>
          <p:tmpl lvl="1">
            <p:tnLst>
              <p:par>
                <p:cTn presetID="10"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17" grpId="0"/>
      <p:bldP spid="18" grpId="0" animBg="1"/>
      <p:bldP spid="27" grpId="0" build="p">
        <p:tmplLst>
          <p:tmpl lvl="1">
            <p:tnLst>
              <p:par>
                <p:cTn presetID="64" presetClass="path" presetSubtype="0" accel="50000" decel="50000" fill="hold" nodeType="withEffect">
                  <p:stCondLst>
                    <p:cond delay="0"/>
                  </p:stCondLst>
                  <p:childTnLst>
                    <p:animMotion origin="layout" path="M 3.05556E-6 -0.03148 L 3.05556E-6 0.00154 " pathEditMode="relative" rAng="0" ptsTypes="AA">
                      <p:cBhvr>
                        <p:cTn dur="2000" fill="hold"/>
                        <p:tgtEl>
                          <p:spTgt spid="27"/>
                        </p:tgtEl>
                        <p:attrNameLst>
                          <p:attrName>ppt_x</p:attrName>
                          <p:attrName>ppt_y</p:attrName>
                        </p:attrNameLst>
                      </p:cBhvr>
                      <p:rCtr x="0" y="1636"/>
                    </p:animMotion>
                  </p:childTnLst>
                </p:cTn>
              </p:par>
            </p:tnLst>
          </p:tmpl>
        </p:tmplLst>
      </p:bldP>
      <p:bldP spid="27" grpId="1" build="p">
        <p:tmplLst>
          <p:tmpl lvl="1">
            <p:tnLst>
              <p:par>
                <p:cTn presetID="10" presetClass="entr" presetSubtype="0" fill="hold" nodeType="after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fade">
                      <p:cBhvr>
                        <p:cTn dur="500"/>
                        <p:tgtEl>
                          <p:spTgt spid="27"/>
                        </p:tgtEl>
                      </p:cBhvr>
                    </p:animEffect>
                  </p:childTnLst>
                </p:cTn>
              </p:par>
            </p:tnLst>
          </p:tmpl>
        </p:tmplLst>
      </p:bldP>
      <p:bldP spid="19" grpId="0" build="p">
        <p:tmplLst>
          <p:tmpl lvl="1">
            <p:tnLst>
              <p:par>
                <p:cTn presetID="42" presetClass="path" presetSubtype="0" accel="50000" decel="50000" fill="hold" nodeType="withEffect">
                  <p:stCondLst>
                    <p:cond delay="0"/>
                  </p:stCondLst>
                  <p:childTnLst>
                    <p:animMotion origin="layout" path="M -3.88889E-6 -0.05247 L -3.88889E-6 1.11111E-6 " pathEditMode="relative" rAng="0" ptsTypes="AA">
                      <p:cBhvr>
                        <p:cTn dur="2000" fill="hold"/>
                        <p:tgtEl>
                          <p:spTgt spid="19"/>
                        </p:tgtEl>
                        <p:attrNameLst>
                          <p:attrName>ppt_x</p:attrName>
                          <p:attrName>ppt_y</p:attrName>
                        </p:attrNameLst>
                      </p:cBhvr>
                      <p:rCtr x="0" y="2623"/>
                    </p:animMotion>
                  </p:childTnLst>
                </p:cTn>
              </p:par>
            </p:tnLst>
          </p:tmpl>
        </p:tmplLst>
      </p:bldP>
      <p:bldP spid="19" grpId="1"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Section Slide 2">
    <p:bg>
      <p:bgPr>
        <a:gradFill flip="none" rotWithShape="1">
          <a:gsLst>
            <a:gs pos="0">
              <a:srgbClr val="3C4857"/>
            </a:gs>
            <a:gs pos="100000">
              <a:srgbClr val="1D2024"/>
            </a:gs>
          </a:gsLst>
          <a:lin ang="2700000" scaled="1"/>
          <a:tileRect/>
        </a:gradFill>
        <a:effectLst/>
      </p:bgPr>
    </p:bg>
    <p:spTree>
      <p:nvGrpSpPr>
        <p:cNvPr id="1" name=""/>
        <p:cNvGrpSpPr/>
        <p:nvPr/>
      </p:nvGrpSpPr>
      <p:grpSpPr>
        <a:xfrm>
          <a:off x="0" y="0"/>
          <a:ext cx="0" cy="0"/>
          <a:chOff x="0" y="0"/>
          <a:chExt cx="0" cy="0"/>
        </a:xfrm>
      </p:grpSpPr>
      <p:pic>
        <p:nvPicPr>
          <p:cNvPr id="6" name="Picture 5" descr="A picture containing blue, player, tower&#10;&#10;Description automatically generated">
            <a:extLst>
              <a:ext uri="{FF2B5EF4-FFF2-40B4-BE49-F238E27FC236}">
                <a16:creationId xmlns:a16="http://schemas.microsoft.com/office/drawing/2014/main" id="{73FB78CE-8F45-3443-AA1B-A2B3CE474C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7" y="0"/>
            <a:ext cx="12192000" cy="6858000"/>
          </a:xfrm>
          <a:prstGeom prst="rect">
            <a:avLst/>
          </a:prstGeom>
        </p:spPr>
      </p:pic>
      <p:pic>
        <p:nvPicPr>
          <p:cNvPr id="8" name="Graphic 7">
            <a:extLst>
              <a:ext uri="{FF2B5EF4-FFF2-40B4-BE49-F238E27FC236}">
                <a16:creationId xmlns:a16="http://schemas.microsoft.com/office/drawing/2014/main" id="{921E36DD-3FDD-E44B-8242-ECD49E2F91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43600" y="6378047"/>
            <a:ext cx="321733" cy="321733"/>
          </a:xfrm>
          <a:prstGeom prst="rect">
            <a:avLst/>
          </a:prstGeom>
        </p:spPr>
      </p:pic>
      <p:sp>
        <p:nvSpPr>
          <p:cNvPr id="7" name="Title 2">
            <a:extLst>
              <a:ext uri="{FF2B5EF4-FFF2-40B4-BE49-F238E27FC236}">
                <a16:creationId xmlns:a16="http://schemas.microsoft.com/office/drawing/2014/main" id="{7FF2C8AD-F83F-704B-860E-AB211814B778}"/>
              </a:ext>
            </a:extLst>
          </p:cNvPr>
          <p:cNvSpPr>
            <a:spLocks noGrp="1"/>
          </p:cNvSpPr>
          <p:nvPr>
            <p:ph type="title" hasCustomPrompt="1"/>
          </p:nvPr>
        </p:nvSpPr>
        <p:spPr>
          <a:xfrm>
            <a:off x="1824217" y="2591105"/>
            <a:ext cx="7615359" cy="992419"/>
          </a:xfrm>
        </p:spPr>
        <p:txBody>
          <a:bodyPr lIns="0" tIns="0" rIns="0" bIns="0" rtlCol="0" anchor="b" anchorCtr="0">
            <a:noAutofit/>
          </a:bodyPr>
          <a:lstStyle>
            <a:lvl1pPr algn="l">
              <a:defRPr lang="en-US" sz="3733" b="1" i="0" cap="none" baseline="0">
                <a:solidFill>
                  <a:schemeClr val="bg1"/>
                </a:solidFill>
                <a:latin typeface="Source Sans Pro" panose="020B0503030403020204" pitchFamily="34" charset="0"/>
                <a:ea typeface="Source Sans Pro" panose="020B0503030403020204" pitchFamily="34" charset="0"/>
                <a:cs typeface="Calibri" charset="0"/>
              </a:defRPr>
            </a:lvl1pPr>
          </a:lstStyle>
          <a:p>
            <a:pPr lvl="0"/>
            <a:r>
              <a:rPr lang="en-US" dirty="0"/>
              <a:t>Section slide</a:t>
            </a:r>
          </a:p>
        </p:txBody>
      </p:sp>
      <p:sp>
        <p:nvSpPr>
          <p:cNvPr id="9" name="Subtitle 2">
            <a:extLst>
              <a:ext uri="{FF2B5EF4-FFF2-40B4-BE49-F238E27FC236}">
                <a16:creationId xmlns:a16="http://schemas.microsoft.com/office/drawing/2014/main" id="{1F6E3133-BF85-5C44-B03E-8C5CFC3220B9}"/>
              </a:ext>
            </a:extLst>
          </p:cNvPr>
          <p:cNvSpPr>
            <a:spLocks noGrp="1"/>
          </p:cNvSpPr>
          <p:nvPr>
            <p:ph type="subTitle" idx="1" hasCustomPrompt="1"/>
          </p:nvPr>
        </p:nvSpPr>
        <p:spPr>
          <a:xfrm>
            <a:off x="1824216" y="3605229"/>
            <a:ext cx="7615360" cy="332399"/>
          </a:xfrm>
          <a:prstGeom prst="rect">
            <a:avLst/>
          </a:prstGeom>
          <a:ln>
            <a:noFill/>
          </a:ln>
        </p:spPr>
        <p:txBody>
          <a:bodyPr wrap="square" tIns="0" bIns="0" anchor="t" anchorCtr="0">
            <a:normAutofit/>
          </a:bodyPr>
          <a:lstStyle>
            <a:lvl1pPr marL="0" indent="0" algn="l">
              <a:buNone/>
              <a:defRPr sz="2400" b="0" i="0" cap="none" baseline="0">
                <a:solidFill>
                  <a:schemeClr val="tx2"/>
                </a:solidFill>
                <a:latin typeface="+mn-lt"/>
                <a:ea typeface="Source Sans Pro" panose="020B0503030403020204" pitchFamily="34" charset="0"/>
                <a:cs typeface="Calibri" charset="0"/>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4707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Product">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316503-A161-5147-8B45-78DF01687921}"/>
              </a:ext>
            </a:extLst>
          </p:cNvPr>
          <p:cNvSpPr>
            <a:spLocks noGrp="1"/>
          </p:cNvSpPr>
          <p:nvPr>
            <p:ph type="dt" sz="half" idx="10"/>
          </p:nvPr>
        </p:nvSpPr>
        <p:spPr/>
        <p:txBody>
          <a:bodyPr/>
          <a:lstStyle/>
          <a:p>
            <a:fld id="{B01F1F41-2107-2B4A-AFD3-0A9C893A5C18}" type="datetimeFigureOut">
              <a:rPr lang="en-US" smtClean="0"/>
              <a:pPr/>
              <a:t>7/16/2021</a:t>
            </a:fld>
            <a:endParaRPr lang="en-US"/>
          </a:p>
        </p:txBody>
      </p:sp>
      <p:sp>
        <p:nvSpPr>
          <p:cNvPr id="4" name="Footer Placeholder 3">
            <a:extLst>
              <a:ext uri="{FF2B5EF4-FFF2-40B4-BE49-F238E27FC236}">
                <a16:creationId xmlns:a16="http://schemas.microsoft.com/office/drawing/2014/main" id="{C257ABA9-F3BA-1F4A-B98E-56BCF10A8916}"/>
              </a:ext>
            </a:extLst>
          </p:cNvPr>
          <p:cNvSpPr>
            <a:spLocks noGrp="1"/>
          </p:cNvSpPr>
          <p:nvPr>
            <p:ph type="ftr" sz="quarter" idx="11"/>
          </p:nvPr>
        </p:nvSpPr>
        <p:spPr/>
        <p:txBody>
          <a:bodyPr/>
          <a:lstStyle/>
          <a:p>
            <a:r>
              <a:rPr lang="en-US">
                <a:solidFill>
                  <a:schemeClr val="tx2"/>
                </a:solidFill>
              </a:rPr>
              <a:t>|</a:t>
            </a:r>
            <a:r>
              <a:rPr lang="en-US"/>
              <a:t>  Footer</a:t>
            </a:r>
          </a:p>
        </p:txBody>
      </p:sp>
      <p:sp>
        <p:nvSpPr>
          <p:cNvPr id="5" name="Slide Number Placeholder 4">
            <a:extLst>
              <a:ext uri="{FF2B5EF4-FFF2-40B4-BE49-F238E27FC236}">
                <a16:creationId xmlns:a16="http://schemas.microsoft.com/office/drawing/2014/main" id="{63A21C34-E675-7148-A7D0-8CBAE9B8C9F1}"/>
              </a:ext>
            </a:extLst>
          </p:cNvPr>
          <p:cNvSpPr>
            <a:spLocks noGrp="1"/>
          </p:cNvSpPr>
          <p:nvPr>
            <p:ph type="sldNum" sz="quarter" idx="12"/>
          </p:nvPr>
        </p:nvSpPr>
        <p:spPr/>
        <p:txBody>
          <a:bodyPr/>
          <a:lstStyle/>
          <a:p>
            <a:fld id="{47F042C8-DDB5-0141-B946-4F962685D46A}" type="slidenum">
              <a:rPr lang="en-US" smtClean="0"/>
              <a:pPr/>
              <a:t>‹#›</a:t>
            </a:fld>
            <a:endParaRPr lang="en-US"/>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6"/>
            <a:ext cx="5709920" cy="1034001"/>
          </a:xfrm>
        </p:spPr>
        <p:txBody>
          <a:body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9DB19048-B503-8646-AFB8-50C0B50715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25464"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dirty="0"/>
              <a:t>Click icon to add picture</a:t>
            </a:r>
          </a:p>
        </p:txBody>
      </p:sp>
    </p:spTree>
    <p:extLst>
      <p:ext uri="{BB962C8B-B14F-4D97-AF65-F5344CB8AC3E}">
        <p14:creationId xmlns:p14="http://schemas.microsoft.com/office/powerpoint/2010/main" val="1877086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With Picture">
    <p:bg>
      <p:bgPr>
        <a:solidFill>
          <a:schemeClr val="accent5"/>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5874542-2663-4892-90C2-92A4C0B8E5DE}"/>
              </a:ext>
            </a:extLst>
          </p:cNvPr>
          <p:cNvSpPr>
            <a:spLocks noGrp="1"/>
          </p:cNvSpPr>
          <p:nvPr>
            <p:ph type="ctrTitle" hasCustomPrompt="1"/>
          </p:nvPr>
        </p:nvSpPr>
        <p:spPr>
          <a:xfrm>
            <a:off x="5195456" y="1122363"/>
            <a:ext cx="6488544" cy="2387600"/>
          </a:xfrm>
        </p:spPr>
        <p:txBody>
          <a:bodyPr anchor="b">
            <a:normAutofit/>
          </a:bodyPr>
          <a:lstStyle>
            <a:lvl1pPr algn="l">
              <a:defRPr sz="3733" b="1" i="0">
                <a:latin typeface="Source Sans Pro" panose="020B0503030403020204" pitchFamily="34" charset="0"/>
              </a:defRPr>
            </a:lvl1pPr>
          </a:lstStyle>
          <a:p>
            <a:r>
              <a:rPr lang="en-US" dirty="0"/>
              <a:t>Title slide with picture</a:t>
            </a:r>
            <a:endParaRPr lang="en-ID" dirty="0"/>
          </a:p>
        </p:txBody>
      </p:sp>
      <p:sp>
        <p:nvSpPr>
          <p:cNvPr id="10" name="Subtitle 2">
            <a:extLst>
              <a:ext uri="{FF2B5EF4-FFF2-40B4-BE49-F238E27FC236}">
                <a16:creationId xmlns:a16="http://schemas.microsoft.com/office/drawing/2014/main" id="{8A567B3B-9E58-4A6B-BCE5-9CD5B1264987}"/>
              </a:ext>
            </a:extLst>
          </p:cNvPr>
          <p:cNvSpPr>
            <a:spLocks noGrp="1"/>
          </p:cNvSpPr>
          <p:nvPr>
            <p:ph type="subTitle" idx="1" hasCustomPrompt="1"/>
          </p:nvPr>
        </p:nvSpPr>
        <p:spPr>
          <a:xfrm>
            <a:off x="5195456" y="3602037"/>
            <a:ext cx="6488544" cy="1655763"/>
          </a:xfrm>
          <a:prstGeom prst="rect">
            <a:avLst/>
          </a:prstGeom>
        </p:spPr>
        <p:txBody>
          <a:bodyPr/>
          <a:lstStyle>
            <a:lvl1pPr marL="0" indent="0" algn="l">
              <a:buNone/>
              <a:defRPr sz="2400" b="0" i="0">
                <a:solidFill>
                  <a:schemeClr val="tx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ID" dirty="0"/>
          </a:p>
        </p:txBody>
      </p:sp>
      <p:sp>
        <p:nvSpPr>
          <p:cNvPr id="6" name="Picture Placeholder 5">
            <a:extLst>
              <a:ext uri="{FF2B5EF4-FFF2-40B4-BE49-F238E27FC236}">
                <a16:creationId xmlns:a16="http://schemas.microsoft.com/office/drawing/2014/main" id="{6E05BEAC-C1DD-43E1-A339-67C947C61DDE}"/>
              </a:ext>
            </a:extLst>
          </p:cNvPr>
          <p:cNvSpPr>
            <a:spLocks noGrp="1"/>
          </p:cNvSpPr>
          <p:nvPr>
            <p:ph type="pic" sz="quarter" idx="13"/>
          </p:nvPr>
        </p:nvSpPr>
        <p:spPr>
          <a:xfrm>
            <a:off x="2" y="0"/>
            <a:ext cx="4804756" cy="6858000"/>
          </a:xfrm>
          <a:prstGeom prst="rect">
            <a:avLst/>
          </a:prstGeom>
        </p:spPr>
        <p:txBody>
          <a:bodyPr/>
          <a:lstStyle/>
          <a:p>
            <a:r>
              <a:rPr lang="en-US" dirty="0"/>
              <a:t>Click icon to add picture</a:t>
            </a:r>
            <a:endParaRPr lang="en-ID" dirty="0"/>
          </a:p>
        </p:txBody>
      </p:sp>
      <p:pic>
        <p:nvPicPr>
          <p:cNvPr id="5" name="Graphic 4">
            <a:extLst>
              <a:ext uri="{FF2B5EF4-FFF2-40B4-BE49-F238E27FC236}">
                <a16:creationId xmlns:a16="http://schemas.microsoft.com/office/drawing/2014/main" id="{97503836-1E64-4842-9A26-FE9E3077A6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325848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Title Only Seashell">
    <p:bg>
      <p:bgPr>
        <a:gradFill>
          <a:gsLst>
            <a:gs pos="0">
              <a:srgbClr val="3C4857"/>
            </a:gs>
            <a:gs pos="100000">
              <a:srgbClr val="1D2024"/>
            </a:gs>
          </a:gsLst>
          <a:lin ang="2700000" scaled="1"/>
        </a:gradFill>
        <a:effectLst/>
      </p:bgPr>
    </p:bg>
    <p:spTree>
      <p:nvGrpSpPr>
        <p:cNvPr id="1" name=""/>
        <p:cNvGrpSpPr/>
        <p:nvPr/>
      </p:nvGrpSpPr>
      <p:grpSpPr>
        <a:xfrm>
          <a:off x="0" y="0"/>
          <a:ext cx="0" cy="0"/>
          <a:chOff x="0" y="0"/>
          <a:chExt cx="0" cy="0"/>
        </a:xfrm>
      </p:grpSpPr>
      <p:sp>
        <p:nvSpPr>
          <p:cNvPr id="8" name="Graphic 5">
            <a:extLst>
              <a:ext uri="{FF2B5EF4-FFF2-40B4-BE49-F238E27FC236}">
                <a16:creationId xmlns:a16="http://schemas.microsoft.com/office/drawing/2014/main" id="{4426409D-282C-CA41-BFFD-ADE2A84D2310}"/>
              </a:ext>
            </a:extLst>
          </p:cNvPr>
          <p:cNvSpPr/>
          <p:nvPr userDrawn="1"/>
        </p:nvSpPr>
        <p:spPr>
          <a:xfrm>
            <a:off x="7973182" y="-1891675"/>
            <a:ext cx="13459527" cy="15023667"/>
          </a:xfrm>
          <a:custGeom>
            <a:avLst/>
            <a:gdLst>
              <a:gd name="connsiteX0" fmla="*/ 8138639 w 8149731"/>
              <a:gd name="connsiteY0" fmla="*/ 3007983 h 9096817"/>
              <a:gd name="connsiteX1" fmla="*/ 4605491 w 8149731"/>
              <a:gd name="connsiteY1" fmla="*/ 11294 h 9096817"/>
              <a:gd name="connsiteX2" fmla="*/ 3352793 w 8149731"/>
              <a:gd name="connsiteY2" fmla="*/ 375758 h 9096817"/>
              <a:gd name="connsiteX3" fmla="*/ 2930116 w 8149731"/>
              <a:gd name="connsiteY3" fmla="*/ 639448 h 9096817"/>
              <a:gd name="connsiteX4" fmla="*/ 2033409 w 8149731"/>
              <a:gd name="connsiteY4" fmla="*/ 1317023 h 9096817"/>
              <a:gd name="connsiteX5" fmla="*/ 1295095 w 8149731"/>
              <a:gd name="connsiteY5" fmla="*/ 2119401 h 9096817"/>
              <a:gd name="connsiteX6" fmla="*/ 692914 w 8149731"/>
              <a:gd name="connsiteY6" fmla="*/ 3064662 h 9096817"/>
              <a:gd name="connsiteX7" fmla="*/ 271862 w 8149731"/>
              <a:gd name="connsiteY7" fmla="*/ 4121045 h 9096817"/>
              <a:gd name="connsiteX8" fmla="*/ 55077 w 8149731"/>
              <a:gd name="connsiteY8" fmla="*/ 5216163 h 9096817"/>
              <a:gd name="connsiteX9" fmla="*/ 1 w 8149731"/>
              <a:gd name="connsiteY9" fmla="*/ 5818844 h 9096817"/>
              <a:gd name="connsiteX10" fmla="*/ 3279449 w 8149731"/>
              <a:gd name="connsiteY10" fmla="*/ 9096817 h 9096817"/>
              <a:gd name="connsiteX11" fmla="*/ 6295493 w 8149731"/>
              <a:gd name="connsiteY11" fmla="*/ 7095240 h 9096817"/>
              <a:gd name="connsiteX12" fmla="*/ 6541034 w 8149731"/>
              <a:gd name="connsiteY12" fmla="*/ 6101697 h 9096817"/>
              <a:gd name="connsiteX13" fmla="*/ 8138639 w 8149731"/>
              <a:gd name="connsiteY13" fmla="*/ 3007983 h 9096817"/>
              <a:gd name="connsiteX14" fmla="*/ 2931943 w 8149731"/>
              <a:gd name="connsiteY14" fmla="*/ 642360 h 9096817"/>
              <a:gd name="connsiteX15" fmla="*/ 7339227 w 8149731"/>
              <a:gd name="connsiteY15" fmla="*/ 2066257 h 9096817"/>
              <a:gd name="connsiteX16" fmla="*/ 7288549 w 8149731"/>
              <a:gd name="connsiteY16" fmla="*/ 5148514 h 9096817"/>
              <a:gd name="connsiteX17" fmla="*/ 6544688 w 8149731"/>
              <a:gd name="connsiteY17" fmla="*/ 6054770 h 9096817"/>
              <a:gd name="connsiteX18" fmla="*/ 6546785 w 8149731"/>
              <a:gd name="connsiteY18" fmla="*/ 6022266 h 9096817"/>
              <a:gd name="connsiteX19" fmla="*/ 6148588 w 8149731"/>
              <a:gd name="connsiteY19" fmla="*/ 1400600 h 9096817"/>
              <a:gd name="connsiteX20" fmla="*/ 2628282 w 8149731"/>
              <a:gd name="connsiteY20" fmla="*/ 949862 h 9096817"/>
              <a:gd name="connsiteX21" fmla="*/ 2516845 w 8149731"/>
              <a:gd name="connsiteY21" fmla="*/ 1005729 h 9096817"/>
              <a:gd name="connsiteX22" fmla="*/ 2931943 w 8149731"/>
              <a:gd name="connsiteY22" fmla="*/ 642360 h 9096817"/>
              <a:gd name="connsiteX23" fmla="*/ 6470599 w 8149731"/>
              <a:gd name="connsiteY23" fmla="*/ 6104609 h 9096817"/>
              <a:gd name="connsiteX24" fmla="*/ 6489138 w 8149731"/>
              <a:gd name="connsiteY24" fmla="*/ 6075423 h 9096817"/>
              <a:gd name="connsiteX25" fmla="*/ 6482372 w 8149731"/>
              <a:gd name="connsiteY25" fmla="*/ 6091743 h 9096817"/>
              <a:gd name="connsiteX26" fmla="*/ 6477906 w 8149731"/>
              <a:gd name="connsiteY26" fmla="*/ 6101562 h 9096817"/>
              <a:gd name="connsiteX27" fmla="*/ 6472155 w 8149731"/>
              <a:gd name="connsiteY27" fmla="*/ 6114564 h 9096817"/>
              <a:gd name="connsiteX28" fmla="*/ 6455578 w 8149731"/>
              <a:gd name="connsiteY28" fmla="*/ 6128107 h 9096817"/>
              <a:gd name="connsiteX29" fmla="*/ 6459232 w 8149731"/>
              <a:gd name="connsiteY29" fmla="*/ 6122419 h 9096817"/>
              <a:gd name="connsiteX30" fmla="*/ 6456593 w 8149731"/>
              <a:gd name="connsiteY30" fmla="*/ 6120049 h 9096817"/>
              <a:gd name="connsiteX31" fmla="*/ 6433453 w 8149731"/>
              <a:gd name="connsiteY31" fmla="*/ 6145104 h 9096817"/>
              <a:gd name="connsiteX32" fmla="*/ 6374318 w 8149731"/>
              <a:gd name="connsiteY32" fmla="*/ 6190000 h 9096817"/>
              <a:gd name="connsiteX33" fmla="*/ 1965159 w 8149731"/>
              <a:gd name="connsiteY33" fmla="*/ 4783520 h 9096817"/>
              <a:gd name="connsiteX34" fmla="*/ 1612356 w 8149731"/>
              <a:gd name="connsiteY34" fmla="*/ 2997419 h 9096817"/>
              <a:gd name="connsiteX35" fmla="*/ 6094392 w 8149731"/>
              <a:gd name="connsiteY35" fmla="*/ 4150692 h 9096817"/>
              <a:gd name="connsiteX36" fmla="*/ 6549559 w 8149731"/>
              <a:gd name="connsiteY36" fmla="*/ 5819115 h 9096817"/>
              <a:gd name="connsiteX37" fmla="*/ 6548747 w 8149731"/>
              <a:gd name="connsiteY37" fmla="*/ 5892114 h 9096817"/>
              <a:gd name="connsiteX38" fmla="*/ 6535215 w 8149731"/>
              <a:gd name="connsiteY38" fmla="*/ 5960575 h 9096817"/>
              <a:gd name="connsiteX39" fmla="*/ 6497190 w 8149731"/>
              <a:gd name="connsiteY39" fmla="*/ 6055718 h 9096817"/>
              <a:gd name="connsiteX40" fmla="*/ 6456526 w 8149731"/>
              <a:gd name="connsiteY40" fmla="*/ 6120049 h 9096817"/>
              <a:gd name="connsiteX41" fmla="*/ 2621516 w 8149731"/>
              <a:gd name="connsiteY41" fmla="*/ 2099628 h 9096817"/>
              <a:gd name="connsiteX42" fmla="*/ 6525486 w 8149731"/>
              <a:gd name="connsiteY42" fmla="*/ 4584602 h 9096817"/>
              <a:gd name="connsiteX43" fmla="*/ 6552604 w 8149731"/>
              <a:gd name="connsiteY43" fmla="*/ 5871460 h 9096817"/>
              <a:gd name="connsiteX44" fmla="*/ 6553010 w 8149731"/>
              <a:gd name="connsiteY44" fmla="*/ 5819250 h 9096817"/>
              <a:gd name="connsiteX45" fmla="*/ 3278129 w 8149731"/>
              <a:gd name="connsiteY45" fmla="*/ 2539009 h 9096817"/>
              <a:gd name="connsiteX46" fmla="*/ 1612694 w 8149731"/>
              <a:gd name="connsiteY46" fmla="*/ 2993491 h 9096817"/>
              <a:gd name="connsiteX47" fmla="*/ 1706472 w 8149731"/>
              <a:gd name="connsiteY47" fmla="*/ 2454261 h 9096817"/>
              <a:gd name="connsiteX48" fmla="*/ 2621516 w 8149731"/>
              <a:gd name="connsiteY48" fmla="*/ 2099628 h 9096817"/>
              <a:gd name="connsiteX49" fmla="*/ 1707690 w 8149731"/>
              <a:gd name="connsiteY49" fmla="*/ 2449453 h 9096817"/>
              <a:gd name="connsiteX50" fmla="*/ 1749640 w 8149731"/>
              <a:gd name="connsiteY50" fmla="*/ 2303320 h 9096817"/>
              <a:gd name="connsiteX51" fmla="*/ 1893486 w 8149731"/>
              <a:gd name="connsiteY51" fmla="*/ 1925054 h 9096817"/>
              <a:gd name="connsiteX52" fmla="*/ 2137065 w 8149731"/>
              <a:gd name="connsiteY52" fmla="*/ 1803163 h 9096817"/>
              <a:gd name="connsiteX53" fmla="*/ 6463522 w 8149731"/>
              <a:gd name="connsiteY53" fmla="*/ 3442827 h 9096817"/>
              <a:gd name="connsiteX54" fmla="*/ 6551521 w 8149731"/>
              <a:gd name="connsiteY54" fmla="*/ 5917643 h 9096817"/>
              <a:gd name="connsiteX55" fmla="*/ 6552130 w 8149731"/>
              <a:gd name="connsiteY55" fmla="*/ 5892452 h 9096817"/>
              <a:gd name="connsiteX56" fmla="*/ 6552807 w 8149731"/>
              <a:gd name="connsiteY56" fmla="*/ 5888999 h 9096817"/>
              <a:gd name="connsiteX57" fmla="*/ 3925473 w 8149731"/>
              <a:gd name="connsiteY57" fmla="*/ 2071979 h 9096817"/>
              <a:gd name="connsiteX58" fmla="*/ 1707690 w 8149731"/>
              <a:gd name="connsiteY58" fmla="*/ 2449453 h 9096817"/>
              <a:gd name="connsiteX59" fmla="*/ 1609108 w 8149731"/>
              <a:gd name="connsiteY59" fmla="*/ 2995387 h 9096817"/>
              <a:gd name="connsiteX60" fmla="*/ 1162548 w 8149731"/>
              <a:gd name="connsiteY60" fmla="*/ 3313250 h 9096817"/>
              <a:gd name="connsiteX61" fmla="*/ 1177636 w 8149731"/>
              <a:gd name="connsiteY61" fmla="*/ 3160752 h 9096817"/>
              <a:gd name="connsiteX62" fmla="*/ 1249356 w 8149731"/>
              <a:gd name="connsiteY62" fmla="*/ 2770025 h 9096817"/>
              <a:gd name="connsiteX63" fmla="*/ 1471892 w 8149731"/>
              <a:gd name="connsiteY63" fmla="*/ 2602155 h 9096817"/>
              <a:gd name="connsiteX64" fmla="*/ 1702345 w 8149731"/>
              <a:gd name="connsiteY64" fmla="*/ 2456564 h 9096817"/>
              <a:gd name="connsiteX65" fmla="*/ 1609108 w 8149731"/>
              <a:gd name="connsiteY65" fmla="*/ 2995387 h 9096817"/>
              <a:gd name="connsiteX66" fmla="*/ 1609108 w 8149731"/>
              <a:gd name="connsiteY66" fmla="*/ 2999518 h 9096817"/>
              <a:gd name="connsiteX67" fmla="*/ 4589597 w 8149731"/>
              <a:gd name="connsiteY67" fmla="*/ 6547180 h 9096817"/>
              <a:gd name="connsiteX68" fmla="*/ 6357673 w 8149731"/>
              <a:gd name="connsiteY68" fmla="*/ 6202528 h 9096817"/>
              <a:gd name="connsiteX69" fmla="*/ 1785121 w 8149731"/>
              <a:gd name="connsiteY69" fmla="*/ 5493390 h 9096817"/>
              <a:gd name="connsiteX70" fmla="*/ 1162751 w 8149731"/>
              <a:gd name="connsiteY70" fmla="*/ 3317787 h 9096817"/>
              <a:gd name="connsiteX71" fmla="*/ 1608770 w 8149731"/>
              <a:gd name="connsiteY71" fmla="*/ 2999518 h 9096817"/>
              <a:gd name="connsiteX72" fmla="*/ 1263362 w 8149731"/>
              <a:gd name="connsiteY72" fmla="*/ 4414260 h 9096817"/>
              <a:gd name="connsiteX73" fmla="*/ 5279324 w 8149731"/>
              <a:gd name="connsiteY73" fmla="*/ 6724314 h 9096817"/>
              <a:gd name="connsiteX74" fmla="*/ 6376077 w 8149731"/>
              <a:gd name="connsiteY74" fmla="*/ 6192912 h 9096817"/>
              <a:gd name="connsiteX75" fmla="*/ 6393736 w 8149731"/>
              <a:gd name="connsiteY75" fmla="*/ 6183703 h 9096817"/>
              <a:gd name="connsiteX76" fmla="*/ 6400096 w 8149731"/>
              <a:gd name="connsiteY76" fmla="*/ 6180384 h 9096817"/>
              <a:gd name="connsiteX77" fmla="*/ 1773727 w 8149731"/>
              <a:gd name="connsiteY77" fmla="*/ 6273942 h 9096817"/>
              <a:gd name="connsiteX78" fmla="*/ 773904 w 8149731"/>
              <a:gd name="connsiteY78" fmla="*/ 4105877 h 9096817"/>
              <a:gd name="connsiteX79" fmla="*/ 773904 w 8149731"/>
              <a:gd name="connsiteY79" fmla="*/ 3707566 h 9096817"/>
              <a:gd name="connsiteX80" fmla="*/ 962136 w 8149731"/>
              <a:gd name="connsiteY80" fmla="*/ 3502790 h 9096817"/>
              <a:gd name="connsiteX81" fmla="*/ 1158894 w 8149731"/>
              <a:gd name="connsiteY81" fmla="*/ 3321038 h 9096817"/>
              <a:gd name="connsiteX82" fmla="*/ 1263362 w 8149731"/>
              <a:gd name="connsiteY82" fmla="*/ 4414260 h 9096817"/>
              <a:gd name="connsiteX83" fmla="*/ 6392924 w 8149731"/>
              <a:gd name="connsiteY83" fmla="*/ 6180317 h 9096817"/>
              <a:gd name="connsiteX84" fmla="*/ 6418906 w 8149731"/>
              <a:gd name="connsiteY84" fmla="*/ 6160611 h 9096817"/>
              <a:gd name="connsiteX85" fmla="*/ 6407472 w 8149731"/>
              <a:gd name="connsiteY85" fmla="*/ 6172597 h 9096817"/>
              <a:gd name="connsiteX86" fmla="*/ 6435686 w 8149731"/>
              <a:gd name="connsiteY86" fmla="*/ 6147610 h 9096817"/>
              <a:gd name="connsiteX87" fmla="*/ 6441234 w 8149731"/>
              <a:gd name="connsiteY87" fmla="*/ 6143276 h 9096817"/>
              <a:gd name="connsiteX88" fmla="*/ 6429529 w 8149731"/>
              <a:gd name="connsiteY88" fmla="*/ 6160814 h 9096817"/>
              <a:gd name="connsiteX89" fmla="*/ 6416944 w 8149731"/>
              <a:gd name="connsiteY89" fmla="*/ 6167586 h 9096817"/>
              <a:gd name="connsiteX90" fmla="*/ 6435686 w 8149731"/>
              <a:gd name="connsiteY90" fmla="*/ 6147610 h 9096817"/>
              <a:gd name="connsiteX91" fmla="*/ 6548274 w 8149731"/>
              <a:gd name="connsiteY91" fmla="*/ 5913241 h 9096817"/>
              <a:gd name="connsiteX92" fmla="*/ 6547800 w 8149731"/>
              <a:gd name="connsiteY92" fmla="*/ 5927597 h 9096817"/>
              <a:gd name="connsiteX93" fmla="*/ 6542861 w 8149731"/>
              <a:gd name="connsiteY93" fmla="*/ 5941141 h 9096817"/>
              <a:gd name="connsiteX94" fmla="*/ 6548274 w 8149731"/>
              <a:gd name="connsiteY94" fmla="*/ 5913241 h 9096817"/>
              <a:gd name="connsiteX95" fmla="*/ 6531156 w 8149731"/>
              <a:gd name="connsiteY95" fmla="*/ 5980958 h 9096817"/>
              <a:gd name="connsiteX96" fmla="*/ 6524389 w 8149731"/>
              <a:gd name="connsiteY96" fmla="*/ 6010686 h 9096817"/>
              <a:gd name="connsiteX97" fmla="*/ 6516067 w 8149731"/>
              <a:gd name="connsiteY97" fmla="*/ 6024229 h 9096817"/>
              <a:gd name="connsiteX98" fmla="*/ 6508286 w 8149731"/>
              <a:gd name="connsiteY98" fmla="*/ 6037028 h 9096817"/>
              <a:gd name="connsiteX99" fmla="*/ 6531156 w 8149731"/>
              <a:gd name="connsiteY99" fmla="*/ 5981094 h 9096817"/>
              <a:gd name="connsiteX100" fmla="*/ 6538666 w 8149731"/>
              <a:gd name="connsiteY100" fmla="*/ 5961388 h 9096817"/>
              <a:gd name="connsiteX101" fmla="*/ 6541913 w 8149731"/>
              <a:gd name="connsiteY101" fmla="*/ 5952856 h 9096817"/>
              <a:gd name="connsiteX102" fmla="*/ 6547462 w 8149731"/>
              <a:gd name="connsiteY102" fmla="*/ 5938161 h 9096817"/>
              <a:gd name="connsiteX103" fmla="*/ 6545973 w 8149731"/>
              <a:gd name="connsiteY103" fmla="*/ 5974593 h 9096817"/>
              <a:gd name="connsiteX104" fmla="*/ 6530140 w 8149731"/>
              <a:gd name="connsiteY104" fmla="*/ 6001679 h 9096817"/>
              <a:gd name="connsiteX105" fmla="*/ 6538666 w 8149731"/>
              <a:gd name="connsiteY105" fmla="*/ 5961523 h 9096817"/>
              <a:gd name="connsiteX106" fmla="*/ 6549289 w 8149731"/>
              <a:gd name="connsiteY106" fmla="*/ 5975609 h 9096817"/>
              <a:gd name="connsiteX107" fmla="*/ 5356965 w 8149731"/>
              <a:gd name="connsiteY107" fmla="*/ 1493203 h 9096817"/>
              <a:gd name="connsiteX108" fmla="*/ 2164197 w 8149731"/>
              <a:gd name="connsiteY108" fmla="*/ 1440945 h 9096817"/>
              <a:gd name="connsiteX109" fmla="*/ 2345460 w 8149731"/>
              <a:gd name="connsiteY109" fmla="*/ 1198316 h 9096817"/>
              <a:gd name="connsiteX110" fmla="*/ 2509470 w 8149731"/>
              <a:gd name="connsiteY110" fmla="*/ 1013313 h 9096817"/>
              <a:gd name="connsiteX111" fmla="*/ 2629770 w 8149731"/>
              <a:gd name="connsiteY111" fmla="*/ 952774 h 9096817"/>
              <a:gd name="connsiteX112" fmla="*/ 6995105 w 8149731"/>
              <a:gd name="connsiteY112" fmla="*/ 2493219 h 9096817"/>
              <a:gd name="connsiteX113" fmla="*/ 6547326 w 8149731"/>
              <a:gd name="connsiteY113" fmla="*/ 6016442 h 9096817"/>
              <a:gd name="connsiteX114" fmla="*/ 6549559 w 8149731"/>
              <a:gd name="connsiteY114" fmla="*/ 5975744 h 9096817"/>
              <a:gd name="connsiteX115" fmla="*/ 2934108 w 8149731"/>
              <a:gd name="connsiteY115" fmla="*/ 1148950 h 9096817"/>
              <a:gd name="connsiteX116" fmla="*/ 6894493 w 8149731"/>
              <a:gd name="connsiteY116" fmla="*/ 3542831 h 9096817"/>
              <a:gd name="connsiteX117" fmla="*/ 6549559 w 8149731"/>
              <a:gd name="connsiteY117" fmla="*/ 5968363 h 9096817"/>
              <a:gd name="connsiteX118" fmla="*/ 6551115 w 8149731"/>
              <a:gd name="connsiteY118" fmla="*/ 5928275 h 9096817"/>
              <a:gd name="connsiteX119" fmla="*/ 4619767 w 8149731"/>
              <a:gd name="connsiteY119" fmla="*/ 1715470 h 9096817"/>
              <a:gd name="connsiteX120" fmla="*/ 2135779 w 8149731"/>
              <a:gd name="connsiteY120" fmla="*/ 1800048 h 9096817"/>
              <a:gd name="connsiteX121" fmla="*/ 1895855 w 8149731"/>
              <a:gd name="connsiteY121" fmla="*/ 1919839 h 9096817"/>
              <a:gd name="connsiteX122" fmla="*/ 2160137 w 8149731"/>
              <a:gd name="connsiteY122" fmla="*/ 1447108 h 9096817"/>
              <a:gd name="connsiteX123" fmla="*/ 2934108 w 8149731"/>
              <a:gd name="connsiteY123" fmla="*/ 1148950 h 9096817"/>
              <a:gd name="connsiteX124" fmla="*/ 1890847 w 8149731"/>
              <a:gd name="connsiteY124" fmla="*/ 1922616 h 9096817"/>
              <a:gd name="connsiteX125" fmla="*/ 1434408 w 8149731"/>
              <a:gd name="connsiteY125" fmla="*/ 2227748 h 9096817"/>
              <a:gd name="connsiteX126" fmla="*/ 1564655 w 8149731"/>
              <a:gd name="connsiteY126" fmla="*/ 1966225 h 9096817"/>
              <a:gd name="connsiteX127" fmla="*/ 1693549 w 8149731"/>
              <a:gd name="connsiteY127" fmla="*/ 1753256 h 9096817"/>
              <a:gd name="connsiteX128" fmla="*/ 1795040 w 8149731"/>
              <a:gd name="connsiteY128" fmla="*/ 1676397 h 9096817"/>
              <a:gd name="connsiteX129" fmla="*/ 2153168 w 8149731"/>
              <a:gd name="connsiteY129" fmla="*/ 1450629 h 9096817"/>
              <a:gd name="connsiteX130" fmla="*/ 1890847 w 8149731"/>
              <a:gd name="connsiteY130" fmla="*/ 1922616 h 9096817"/>
              <a:gd name="connsiteX131" fmla="*/ 1888547 w 8149731"/>
              <a:gd name="connsiteY131" fmla="*/ 1927762 h 9096817"/>
              <a:gd name="connsiteX132" fmla="*/ 1746460 w 8149731"/>
              <a:gd name="connsiteY132" fmla="*/ 2302305 h 9096817"/>
              <a:gd name="connsiteX133" fmla="*/ 1703630 w 8149731"/>
              <a:gd name="connsiteY133" fmla="*/ 2451824 h 9096817"/>
              <a:gd name="connsiteX134" fmla="*/ 1470066 w 8149731"/>
              <a:gd name="connsiteY134" fmla="*/ 2599243 h 9096817"/>
              <a:gd name="connsiteX135" fmla="*/ 1250777 w 8149731"/>
              <a:gd name="connsiteY135" fmla="*/ 2764405 h 9096817"/>
              <a:gd name="connsiteX136" fmla="*/ 1431702 w 8149731"/>
              <a:gd name="connsiteY136" fmla="*/ 2234520 h 9096817"/>
              <a:gd name="connsiteX137" fmla="*/ 1888547 w 8149731"/>
              <a:gd name="connsiteY137" fmla="*/ 1927762 h 9096817"/>
              <a:gd name="connsiteX138" fmla="*/ 1246379 w 8149731"/>
              <a:gd name="connsiteY138" fmla="*/ 2767994 h 9096817"/>
              <a:gd name="connsiteX139" fmla="*/ 857127 w 8149731"/>
              <a:gd name="connsiteY139" fmla="*/ 3146870 h 9096817"/>
              <a:gd name="connsiteX140" fmla="*/ 939267 w 8149731"/>
              <a:gd name="connsiteY140" fmla="*/ 2861037 h 9096817"/>
              <a:gd name="connsiteX141" fmla="*/ 1034804 w 8149731"/>
              <a:gd name="connsiteY141" fmla="*/ 2611568 h 9096817"/>
              <a:gd name="connsiteX142" fmla="*/ 1112479 w 8149731"/>
              <a:gd name="connsiteY142" fmla="*/ 2527328 h 9096817"/>
              <a:gd name="connsiteX143" fmla="*/ 1425951 w 8149731"/>
              <a:gd name="connsiteY143" fmla="*/ 2239057 h 9096817"/>
              <a:gd name="connsiteX144" fmla="*/ 1246379 w 8149731"/>
              <a:gd name="connsiteY144" fmla="*/ 2767994 h 9096817"/>
              <a:gd name="connsiteX145" fmla="*/ 1245026 w 8149731"/>
              <a:gd name="connsiteY145" fmla="*/ 2773479 h 9096817"/>
              <a:gd name="connsiteX146" fmla="*/ 1174456 w 8149731"/>
              <a:gd name="connsiteY146" fmla="*/ 3160346 h 9096817"/>
              <a:gd name="connsiteX147" fmla="*/ 1159165 w 8149731"/>
              <a:gd name="connsiteY147" fmla="*/ 3316095 h 9096817"/>
              <a:gd name="connsiteX148" fmla="*/ 959633 w 8149731"/>
              <a:gd name="connsiteY148" fmla="*/ 3500149 h 9096817"/>
              <a:gd name="connsiteX149" fmla="*/ 774175 w 8149731"/>
              <a:gd name="connsiteY149" fmla="*/ 3701675 h 9096817"/>
              <a:gd name="connsiteX150" fmla="*/ 855368 w 8149731"/>
              <a:gd name="connsiteY150" fmla="*/ 3153777 h 9096817"/>
              <a:gd name="connsiteX151" fmla="*/ 1244958 w 8149731"/>
              <a:gd name="connsiteY151" fmla="*/ 2773479 h 9096817"/>
              <a:gd name="connsiteX152" fmla="*/ 770521 w 8149731"/>
              <a:gd name="connsiteY152" fmla="*/ 3706212 h 9096817"/>
              <a:gd name="connsiteX153" fmla="*/ 447035 w 8149731"/>
              <a:gd name="connsiteY153" fmla="*/ 4164113 h 9096817"/>
              <a:gd name="connsiteX154" fmla="*/ 476874 w 8149731"/>
              <a:gd name="connsiteY154" fmla="*/ 3858033 h 9096817"/>
              <a:gd name="connsiteX155" fmla="*/ 521191 w 8149731"/>
              <a:gd name="connsiteY155" fmla="*/ 3616283 h 9096817"/>
              <a:gd name="connsiteX156" fmla="*/ 594468 w 8149731"/>
              <a:gd name="connsiteY156" fmla="*/ 3499404 h 9096817"/>
              <a:gd name="connsiteX157" fmla="*/ 850632 w 8149731"/>
              <a:gd name="connsiteY157" fmla="*/ 3159533 h 9096817"/>
              <a:gd name="connsiteX158" fmla="*/ 770521 w 8149731"/>
              <a:gd name="connsiteY158" fmla="*/ 3706212 h 9096817"/>
              <a:gd name="connsiteX159" fmla="*/ 770521 w 8149731"/>
              <a:gd name="connsiteY159" fmla="*/ 3711832 h 9096817"/>
              <a:gd name="connsiteX160" fmla="*/ 770521 w 8149731"/>
              <a:gd name="connsiteY160" fmla="*/ 4106080 h 9096817"/>
              <a:gd name="connsiteX161" fmla="*/ 4234027 w 8149731"/>
              <a:gd name="connsiteY161" fmla="*/ 7184423 h 9096817"/>
              <a:gd name="connsiteX162" fmla="*/ 6409569 w 8149731"/>
              <a:gd name="connsiteY162" fmla="*/ 6175374 h 9096817"/>
              <a:gd name="connsiteX163" fmla="*/ 6425469 w 8149731"/>
              <a:gd name="connsiteY163" fmla="*/ 6166841 h 9096817"/>
              <a:gd name="connsiteX164" fmla="*/ 1878215 w 8149731"/>
              <a:gd name="connsiteY164" fmla="*/ 7037952 h 9096817"/>
              <a:gd name="connsiteX165" fmla="*/ 446562 w 8149731"/>
              <a:gd name="connsiteY165" fmla="*/ 4171765 h 9096817"/>
              <a:gd name="connsiteX166" fmla="*/ 770183 w 8149731"/>
              <a:gd name="connsiteY166" fmla="*/ 3711832 h 9096817"/>
              <a:gd name="connsiteX167" fmla="*/ 535197 w 8149731"/>
              <a:gd name="connsiteY167" fmla="*/ 5113031 h 9096817"/>
              <a:gd name="connsiteX168" fmla="*/ 4495664 w 8149731"/>
              <a:gd name="connsiteY168" fmla="*/ 7515627 h 9096817"/>
              <a:gd name="connsiteX169" fmla="*/ 6431897 w 8149731"/>
              <a:gd name="connsiteY169" fmla="*/ 6163387 h 9096817"/>
              <a:gd name="connsiteX170" fmla="*/ 6456255 w 8149731"/>
              <a:gd name="connsiteY170" fmla="*/ 6149844 h 9096817"/>
              <a:gd name="connsiteX171" fmla="*/ 2318463 w 8149731"/>
              <a:gd name="connsiteY171" fmla="*/ 7851367 h 9096817"/>
              <a:gd name="connsiteX172" fmla="*/ 208667 w 8149731"/>
              <a:gd name="connsiteY172" fmla="*/ 4910963 h 9096817"/>
              <a:gd name="connsiteX173" fmla="*/ 208261 w 8149731"/>
              <a:gd name="connsiteY173" fmla="*/ 4675647 h 9096817"/>
              <a:gd name="connsiteX174" fmla="*/ 260630 w 8149731"/>
              <a:gd name="connsiteY174" fmla="*/ 4544005 h 9096817"/>
              <a:gd name="connsiteX175" fmla="*/ 442976 w 8149731"/>
              <a:gd name="connsiteY175" fmla="*/ 4177792 h 9096817"/>
              <a:gd name="connsiteX176" fmla="*/ 535197 w 8149731"/>
              <a:gd name="connsiteY176" fmla="*/ 5113031 h 9096817"/>
              <a:gd name="connsiteX177" fmla="*/ 6435957 w 8149731"/>
              <a:gd name="connsiteY177" fmla="*/ 6157293 h 9096817"/>
              <a:gd name="connsiteX178" fmla="*/ 6449489 w 8149731"/>
              <a:gd name="connsiteY178" fmla="*/ 6136978 h 9096817"/>
              <a:gd name="connsiteX179" fmla="*/ 6469043 w 8149731"/>
              <a:gd name="connsiteY179" fmla="*/ 6121538 h 9096817"/>
              <a:gd name="connsiteX180" fmla="*/ 6458420 w 8149731"/>
              <a:gd name="connsiteY180" fmla="*/ 6145172 h 9096817"/>
              <a:gd name="connsiteX181" fmla="*/ 6435957 w 8149731"/>
              <a:gd name="connsiteY181" fmla="*/ 6157293 h 9096817"/>
              <a:gd name="connsiteX182" fmla="*/ 6474862 w 8149731"/>
              <a:gd name="connsiteY182" fmla="*/ 6116663 h 9096817"/>
              <a:gd name="connsiteX183" fmla="*/ 6505647 w 8149731"/>
              <a:gd name="connsiteY183" fmla="*/ 6091676 h 9096817"/>
              <a:gd name="connsiteX184" fmla="*/ 6497798 w 8149731"/>
              <a:gd name="connsiteY184" fmla="*/ 6122825 h 9096817"/>
              <a:gd name="connsiteX185" fmla="*/ 6463495 w 8149731"/>
              <a:gd name="connsiteY185" fmla="*/ 6142124 h 9096817"/>
              <a:gd name="connsiteX186" fmla="*/ 6475132 w 8149731"/>
              <a:gd name="connsiteY186" fmla="*/ 6116730 h 9096817"/>
              <a:gd name="connsiteX187" fmla="*/ 6477839 w 8149731"/>
              <a:gd name="connsiteY187" fmla="*/ 6109891 h 9096817"/>
              <a:gd name="connsiteX188" fmla="*/ 6484943 w 8149731"/>
              <a:gd name="connsiteY188" fmla="*/ 6093436 h 9096817"/>
              <a:gd name="connsiteX189" fmla="*/ 6492521 w 8149731"/>
              <a:gd name="connsiteY189" fmla="*/ 6084904 h 9096817"/>
              <a:gd name="connsiteX190" fmla="*/ 6512819 w 8149731"/>
              <a:gd name="connsiteY190" fmla="*/ 6061677 h 9096817"/>
              <a:gd name="connsiteX191" fmla="*/ 6506865 w 8149731"/>
              <a:gd name="connsiteY191" fmla="*/ 6086123 h 9096817"/>
              <a:gd name="connsiteX192" fmla="*/ 6477839 w 8149731"/>
              <a:gd name="connsiteY192" fmla="*/ 6110027 h 9096817"/>
              <a:gd name="connsiteX193" fmla="*/ 6490018 w 8149731"/>
              <a:gd name="connsiteY193" fmla="*/ 6082805 h 9096817"/>
              <a:gd name="connsiteX194" fmla="*/ 6489206 w 8149731"/>
              <a:gd name="connsiteY194" fmla="*/ 6083685 h 9096817"/>
              <a:gd name="connsiteX195" fmla="*/ 6500370 w 8149731"/>
              <a:gd name="connsiteY195" fmla="*/ 6057275 h 9096817"/>
              <a:gd name="connsiteX196" fmla="*/ 6519247 w 8149731"/>
              <a:gd name="connsiteY196" fmla="*/ 6026464 h 9096817"/>
              <a:gd name="connsiteX197" fmla="*/ 6522292 w 8149731"/>
              <a:gd name="connsiteY197" fmla="*/ 6021318 h 9096817"/>
              <a:gd name="connsiteX198" fmla="*/ 6514646 w 8149731"/>
              <a:gd name="connsiteY198" fmla="*/ 6054702 h 9096817"/>
              <a:gd name="connsiteX199" fmla="*/ 6490018 w 8149731"/>
              <a:gd name="connsiteY199" fmla="*/ 6082805 h 9096817"/>
              <a:gd name="connsiteX200" fmla="*/ 6527840 w 8149731"/>
              <a:gd name="connsiteY200" fmla="*/ 6012108 h 9096817"/>
              <a:gd name="connsiteX201" fmla="*/ 6545635 w 8149731"/>
              <a:gd name="connsiteY201" fmla="*/ 5982042 h 9096817"/>
              <a:gd name="connsiteX202" fmla="*/ 6543469 w 8149731"/>
              <a:gd name="connsiteY202" fmla="*/ 6020911 h 9096817"/>
              <a:gd name="connsiteX203" fmla="*/ 6519382 w 8149731"/>
              <a:gd name="connsiteY203" fmla="*/ 6049217 h 9096817"/>
              <a:gd name="connsiteX204" fmla="*/ 6527840 w 8149731"/>
              <a:gd name="connsiteY204" fmla="*/ 6012108 h 9096817"/>
              <a:gd name="connsiteX205" fmla="*/ 2409602 w 8149731"/>
              <a:gd name="connsiteY205" fmla="*/ 977694 h 9096817"/>
              <a:gd name="connsiteX206" fmla="*/ 2912863 w 8149731"/>
              <a:gd name="connsiteY206" fmla="*/ 652653 h 9096817"/>
              <a:gd name="connsiteX207" fmla="*/ 2507372 w 8149731"/>
              <a:gd name="connsiteY207" fmla="*/ 1011078 h 9096817"/>
              <a:gd name="connsiteX208" fmla="*/ 2050595 w 8149731"/>
              <a:gd name="connsiteY208" fmla="*/ 1304157 h 9096817"/>
              <a:gd name="connsiteX209" fmla="*/ 2409602 w 8149731"/>
              <a:gd name="connsiteY209" fmla="*/ 977694 h 9096817"/>
              <a:gd name="connsiteX210" fmla="*/ 2035709 w 8149731"/>
              <a:gd name="connsiteY210" fmla="*/ 1319529 h 9096817"/>
              <a:gd name="connsiteX211" fmla="*/ 2499997 w 8149731"/>
              <a:gd name="connsiteY211" fmla="*/ 1018527 h 9096817"/>
              <a:gd name="connsiteX212" fmla="*/ 2342889 w 8149731"/>
              <a:gd name="connsiteY212" fmla="*/ 1196284 h 9096817"/>
              <a:gd name="connsiteX213" fmla="*/ 2157769 w 8149731"/>
              <a:gd name="connsiteY213" fmla="*/ 1444534 h 9096817"/>
              <a:gd name="connsiteX214" fmla="*/ 1793619 w 8149731"/>
              <a:gd name="connsiteY214" fmla="*/ 1673621 h 9096817"/>
              <a:gd name="connsiteX215" fmla="*/ 1699638 w 8149731"/>
              <a:gd name="connsiteY215" fmla="*/ 1744317 h 9096817"/>
              <a:gd name="connsiteX216" fmla="*/ 2035709 w 8149731"/>
              <a:gd name="connsiteY216" fmla="*/ 1319529 h 9096817"/>
              <a:gd name="connsiteX217" fmla="*/ 1592058 w 8149731"/>
              <a:gd name="connsiteY217" fmla="*/ 1736191 h 9096817"/>
              <a:gd name="connsiteX218" fmla="*/ 2018659 w 8149731"/>
              <a:gd name="connsiteY218" fmla="*/ 1332937 h 9096817"/>
              <a:gd name="connsiteX219" fmla="*/ 1691519 w 8149731"/>
              <a:gd name="connsiteY219" fmla="*/ 1750886 h 9096817"/>
              <a:gd name="connsiteX220" fmla="*/ 1309777 w 8149731"/>
              <a:gd name="connsiteY220" fmla="*/ 2103691 h 9096817"/>
              <a:gd name="connsiteX221" fmla="*/ 1592058 w 8149731"/>
              <a:gd name="connsiteY221" fmla="*/ 1736191 h 9096817"/>
              <a:gd name="connsiteX222" fmla="*/ 1297801 w 8149731"/>
              <a:gd name="connsiteY222" fmla="*/ 2121500 h 9096817"/>
              <a:gd name="connsiteX223" fmla="*/ 1685362 w 8149731"/>
              <a:gd name="connsiteY223" fmla="*/ 1759824 h 9096817"/>
              <a:gd name="connsiteX224" fmla="*/ 1561881 w 8149731"/>
              <a:gd name="connsiteY224" fmla="*/ 1964600 h 9096817"/>
              <a:gd name="connsiteX225" fmla="*/ 1428928 w 8149731"/>
              <a:gd name="connsiteY225" fmla="*/ 2232353 h 9096817"/>
              <a:gd name="connsiteX226" fmla="*/ 1110043 w 8149731"/>
              <a:gd name="connsiteY226" fmla="*/ 2525026 h 9096817"/>
              <a:gd name="connsiteX227" fmla="*/ 1039067 w 8149731"/>
              <a:gd name="connsiteY227" fmla="*/ 2601681 h 9096817"/>
              <a:gd name="connsiteX228" fmla="*/ 1297801 w 8149731"/>
              <a:gd name="connsiteY228" fmla="*/ 2121500 h 9096817"/>
              <a:gd name="connsiteX229" fmla="*/ 916195 w 8149731"/>
              <a:gd name="connsiteY229" fmla="*/ 2633982 h 9096817"/>
              <a:gd name="connsiteX230" fmla="*/ 1283525 w 8149731"/>
              <a:gd name="connsiteY230" fmla="*/ 2137346 h 9096817"/>
              <a:gd name="connsiteX231" fmla="*/ 1031895 w 8149731"/>
              <a:gd name="connsiteY231" fmla="*/ 2609739 h 9096817"/>
              <a:gd name="connsiteX232" fmla="*/ 704687 w 8149731"/>
              <a:gd name="connsiteY232" fmla="*/ 3046107 h 9096817"/>
              <a:gd name="connsiteX233" fmla="*/ 916195 w 8149731"/>
              <a:gd name="connsiteY233" fmla="*/ 2633982 h 9096817"/>
              <a:gd name="connsiteX234" fmla="*/ 696162 w 8149731"/>
              <a:gd name="connsiteY234" fmla="*/ 3066219 h 9096817"/>
              <a:gd name="connsiteX235" fmla="*/ 1027700 w 8149731"/>
              <a:gd name="connsiteY235" fmla="*/ 2619287 h 9096817"/>
              <a:gd name="connsiteX236" fmla="*/ 936087 w 8149731"/>
              <a:gd name="connsiteY236" fmla="*/ 2859682 h 9096817"/>
              <a:gd name="connsiteX237" fmla="*/ 852323 w 8149731"/>
              <a:gd name="connsiteY237" fmla="*/ 3152152 h 9096817"/>
              <a:gd name="connsiteX238" fmla="*/ 591626 w 8149731"/>
              <a:gd name="connsiteY238" fmla="*/ 3497508 h 9096817"/>
              <a:gd name="connsiteX239" fmla="*/ 523492 w 8149731"/>
              <a:gd name="connsiteY239" fmla="*/ 3605855 h 9096817"/>
              <a:gd name="connsiteX240" fmla="*/ 696162 w 8149731"/>
              <a:gd name="connsiteY240" fmla="*/ 3066219 h 9096817"/>
              <a:gd name="connsiteX241" fmla="*/ 420174 w 8149731"/>
              <a:gd name="connsiteY241" fmla="*/ 3627863 h 9096817"/>
              <a:gd name="connsiteX242" fmla="*/ 684727 w 8149731"/>
              <a:gd name="connsiteY242" fmla="*/ 3084909 h 9096817"/>
              <a:gd name="connsiteX243" fmla="*/ 518011 w 8149731"/>
              <a:gd name="connsiteY243" fmla="*/ 3614997 h 9096817"/>
              <a:gd name="connsiteX244" fmla="*/ 279778 w 8149731"/>
              <a:gd name="connsiteY244" fmla="*/ 4101137 h 9096817"/>
              <a:gd name="connsiteX245" fmla="*/ 420174 w 8149731"/>
              <a:gd name="connsiteY245" fmla="*/ 3627863 h 9096817"/>
              <a:gd name="connsiteX246" fmla="*/ 275312 w 8149731"/>
              <a:gd name="connsiteY246" fmla="*/ 4122197 h 9096817"/>
              <a:gd name="connsiteX247" fmla="*/ 515643 w 8149731"/>
              <a:gd name="connsiteY247" fmla="*/ 3625628 h 9096817"/>
              <a:gd name="connsiteX248" fmla="*/ 473491 w 8149731"/>
              <a:gd name="connsiteY248" fmla="*/ 3857694 h 9096817"/>
              <a:gd name="connsiteX249" fmla="*/ 443314 w 8149731"/>
              <a:gd name="connsiteY249" fmla="*/ 4170546 h 9096817"/>
              <a:gd name="connsiteX250" fmla="*/ 257450 w 8149731"/>
              <a:gd name="connsiteY250" fmla="*/ 4542990 h 9096817"/>
              <a:gd name="connsiteX251" fmla="*/ 208667 w 8149731"/>
              <a:gd name="connsiteY251" fmla="*/ 4665286 h 9096817"/>
              <a:gd name="connsiteX252" fmla="*/ 275312 w 8149731"/>
              <a:gd name="connsiteY252" fmla="*/ 4122061 h 9096817"/>
              <a:gd name="connsiteX253" fmla="*/ 111776 w 8149731"/>
              <a:gd name="connsiteY253" fmla="*/ 4706729 h 9096817"/>
              <a:gd name="connsiteX254" fmla="*/ 267734 w 8149731"/>
              <a:gd name="connsiteY254" fmla="*/ 4141902 h 9096817"/>
              <a:gd name="connsiteX255" fmla="*/ 204878 w 8149731"/>
              <a:gd name="connsiteY255" fmla="*/ 4674834 h 9096817"/>
              <a:gd name="connsiteX256" fmla="*/ 59069 w 8149731"/>
              <a:gd name="connsiteY256" fmla="*/ 5194968 h 9096817"/>
              <a:gd name="connsiteX257" fmla="*/ 111776 w 8149731"/>
              <a:gd name="connsiteY257" fmla="*/ 4706729 h 9096817"/>
              <a:gd name="connsiteX258" fmla="*/ 58460 w 8149731"/>
              <a:gd name="connsiteY258" fmla="*/ 5216570 h 9096817"/>
              <a:gd name="connsiteX259" fmla="*/ 204539 w 8149731"/>
              <a:gd name="connsiteY259" fmla="*/ 4685669 h 9096817"/>
              <a:gd name="connsiteX260" fmla="*/ 205284 w 8149731"/>
              <a:gd name="connsiteY260" fmla="*/ 4911099 h 9096817"/>
              <a:gd name="connsiteX261" fmla="*/ 3603963 w 8149731"/>
              <a:gd name="connsiteY261" fmla="*/ 8065217 h 9096817"/>
              <a:gd name="connsiteX262" fmla="*/ 5848865 w 8149731"/>
              <a:gd name="connsiteY262" fmla="*/ 7054610 h 9096817"/>
              <a:gd name="connsiteX263" fmla="*/ 6461194 w 8149731"/>
              <a:gd name="connsiteY263" fmla="*/ 6147203 h 9096817"/>
              <a:gd name="connsiteX264" fmla="*/ 6496581 w 8149731"/>
              <a:gd name="connsiteY264" fmla="*/ 6127295 h 9096817"/>
              <a:gd name="connsiteX265" fmla="*/ 2740260 w 8149731"/>
              <a:gd name="connsiteY265" fmla="*/ 8519191 h 9096817"/>
              <a:gd name="connsiteX266" fmla="*/ 58460 w 8149731"/>
              <a:gd name="connsiteY266" fmla="*/ 5216570 h 9096817"/>
              <a:gd name="connsiteX267" fmla="*/ 6292448 w 8149731"/>
              <a:gd name="connsiteY267" fmla="*/ 7094224 h 9096817"/>
              <a:gd name="connsiteX268" fmla="*/ 2000329 w 8149731"/>
              <a:gd name="connsiteY268" fmla="*/ 8835226 h 9096817"/>
              <a:gd name="connsiteX269" fmla="*/ 260765 w 8149731"/>
              <a:gd name="connsiteY269" fmla="*/ 7094224 h 9096817"/>
              <a:gd name="connsiteX270" fmla="*/ 3655 w 8149731"/>
              <a:gd name="connsiteY270" fmla="*/ 5819115 h 9096817"/>
              <a:gd name="connsiteX271" fmla="*/ 54806 w 8149731"/>
              <a:gd name="connsiteY271" fmla="*/ 5237765 h 9096817"/>
              <a:gd name="connsiteX272" fmla="*/ 2740057 w 8149731"/>
              <a:gd name="connsiteY272" fmla="*/ 8522509 h 9096817"/>
              <a:gd name="connsiteX273" fmla="*/ 6500979 w 8149731"/>
              <a:gd name="connsiteY273" fmla="*/ 6125331 h 9096817"/>
              <a:gd name="connsiteX274" fmla="*/ 6537718 w 8149731"/>
              <a:gd name="connsiteY274" fmla="*/ 6104000 h 9096817"/>
              <a:gd name="connsiteX275" fmla="*/ 6292448 w 8149731"/>
              <a:gd name="connsiteY275" fmla="*/ 7094224 h 9096817"/>
              <a:gd name="connsiteX276" fmla="*/ 6537786 w 8149731"/>
              <a:gd name="connsiteY276" fmla="*/ 6099666 h 9096817"/>
              <a:gd name="connsiteX277" fmla="*/ 6501858 w 8149731"/>
              <a:gd name="connsiteY277" fmla="*/ 6120523 h 9096817"/>
              <a:gd name="connsiteX278" fmla="*/ 6510045 w 8149731"/>
              <a:gd name="connsiteY278" fmla="*/ 6088154 h 9096817"/>
              <a:gd name="connsiteX279" fmla="*/ 6540763 w 8149731"/>
              <a:gd name="connsiteY279" fmla="*/ 6062557 h 9096817"/>
              <a:gd name="connsiteX280" fmla="*/ 6537786 w 8149731"/>
              <a:gd name="connsiteY280" fmla="*/ 6099666 h 9096817"/>
              <a:gd name="connsiteX281" fmla="*/ 6511398 w 8149731"/>
              <a:gd name="connsiteY281" fmla="*/ 6082669 h 9096817"/>
              <a:gd name="connsiteX282" fmla="*/ 6517691 w 8149731"/>
              <a:gd name="connsiteY282" fmla="*/ 6056327 h 9096817"/>
              <a:gd name="connsiteX283" fmla="*/ 6543131 w 8149731"/>
              <a:gd name="connsiteY283" fmla="*/ 6026599 h 9096817"/>
              <a:gd name="connsiteX284" fmla="*/ 6541101 w 8149731"/>
              <a:gd name="connsiteY284" fmla="*/ 6057885 h 9096817"/>
              <a:gd name="connsiteX285" fmla="*/ 7996890 w 8149731"/>
              <a:gd name="connsiteY285" fmla="*/ 4256141 h 9096817"/>
              <a:gd name="connsiteX286" fmla="*/ 6541372 w 8149731"/>
              <a:gd name="connsiteY286" fmla="*/ 6097567 h 9096817"/>
              <a:gd name="connsiteX287" fmla="*/ 6544349 w 8149731"/>
              <a:gd name="connsiteY287" fmla="*/ 6059510 h 9096817"/>
              <a:gd name="connsiteX288" fmla="*/ 6923588 w 8149731"/>
              <a:gd name="connsiteY288" fmla="*/ 1436530 h 9096817"/>
              <a:gd name="connsiteX289" fmla="*/ 3570525 w 8149731"/>
              <a:gd name="connsiteY289" fmla="*/ 391604 h 9096817"/>
              <a:gd name="connsiteX290" fmla="*/ 2949332 w 8149731"/>
              <a:gd name="connsiteY290" fmla="*/ 629697 h 9096817"/>
              <a:gd name="connsiteX291" fmla="*/ 3354417 w 8149731"/>
              <a:gd name="connsiteY291" fmla="*/ 378738 h 9096817"/>
              <a:gd name="connsiteX292" fmla="*/ 7771512 w 8149731"/>
              <a:gd name="connsiteY292" fmla="*/ 1756080 h 9096817"/>
              <a:gd name="connsiteX293" fmla="*/ 7996890 w 8149731"/>
              <a:gd name="connsiteY293" fmla="*/ 4256141 h 90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8149731" h="9096817">
                <a:moveTo>
                  <a:pt x="8138639" y="3007983"/>
                </a:moveTo>
                <a:cubicBezTo>
                  <a:pt x="7989785" y="1204011"/>
                  <a:pt x="6407972" y="-137654"/>
                  <a:pt x="4605491" y="11294"/>
                </a:cubicBezTo>
                <a:cubicBezTo>
                  <a:pt x="4167732" y="47469"/>
                  <a:pt x="3741713" y="171416"/>
                  <a:pt x="3352793" y="375758"/>
                </a:cubicBezTo>
                <a:cubicBezTo>
                  <a:pt x="3205475" y="452895"/>
                  <a:pt x="3064186" y="541042"/>
                  <a:pt x="2930116" y="639448"/>
                </a:cubicBezTo>
                <a:cubicBezTo>
                  <a:pt x="2594993" y="812790"/>
                  <a:pt x="2291764" y="1041917"/>
                  <a:pt x="2033409" y="1317023"/>
                </a:cubicBezTo>
                <a:cubicBezTo>
                  <a:pt x="1744964" y="1542108"/>
                  <a:pt x="1495519" y="1813192"/>
                  <a:pt x="1295095" y="2119401"/>
                </a:cubicBezTo>
                <a:cubicBezTo>
                  <a:pt x="1042429" y="2398165"/>
                  <a:pt x="838818" y="2717775"/>
                  <a:pt x="692914" y="3064662"/>
                </a:cubicBezTo>
                <a:cubicBezTo>
                  <a:pt x="493053" y="3390007"/>
                  <a:pt x="350624" y="3747350"/>
                  <a:pt x="271862" y="4121045"/>
                </a:cubicBezTo>
                <a:cubicBezTo>
                  <a:pt x="138458" y="4471250"/>
                  <a:pt x="65163" y="4841506"/>
                  <a:pt x="55077" y="5216163"/>
                </a:cubicBezTo>
                <a:cubicBezTo>
                  <a:pt x="18282" y="5414940"/>
                  <a:pt x="-154" y="5616682"/>
                  <a:pt x="1" y="5818844"/>
                </a:cubicBezTo>
                <a:cubicBezTo>
                  <a:pt x="1159" y="7630407"/>
                  <a:pt x="1469416" y="9097967"/>
                  <a:pt x="3279449" y="9096817"/>
                </a:cubicBezTo>
                <a:cubicBezTo>
                  <a:pt x="4595078" y="9096004"/>
                  <a:pt x="5782692" y="8307847"/>
                  <a:pt x="6295493" y="7095240"/>
                </a:cubicBezTo>
                <a:cubicBezTo>
                  <a:pt x="6429279" y="6779137"/>
                  <a:pt x="6512156" y="6443783"/>
                  <a:pt x="6541034" y="6101697"/>
                </a:cubicBezTo>
                <a:cubicBezTo>
                  <a:pt x="7621305" y="5461481"/>
                  <a:pt x="8241618" y="4260251"/>
                  <a:pt x="8138639" y="3007983"/>
                </a:cubicBezTo>
                <a:close/>
                <a:moveTo>
                  <a:pt x="2931943" y="642360"/>
                </a:moveTo>
                <a:cubicBezTo>
                  <a:pt x="4541856" y="-182495"/>
                  <a:pt x="6515065" y="455005"/>
                  <a:pt x="7339227" y="2066257"/>
                </a:cubicBezTo>
                <a:cubicBezTo>
                  <a:pt x="7836331" y="3038001"/>
                  <a:pt x="7817318" y="4193658"/>
                  <a:pt x="7288549" y="5148514"/>
                </a:cubicBezTo>
                <a:cubicBezTo>
                  <a:pt x="7097611" y="5493274"/>
                  <a:pt x="6845507" y="5800364"/>
                  <a:pt x="6544688" y="6054770"/>
                </a:cubicBezTo>
                <a:cubicBezTo>
                  <a:pt x="6545432" y="6043935"/>
                  <a:pt x="6546176" y="6033100"/>
                  <a:pt x="6546785" y="6022266"/>
                </a:cubicBezTo>
                <a:cubicBezTo>
                  <a:pt x="7712038" y="4635978"/>
                  <a:pt x="7533752" y="2566786"/>
                  <a:pt x="6148588" y="1400600"/>
                </a:cubicBezTo>
                <a:cubicBezTo>
                  <a:pt x="5164991" y="572475"/>
                  <a:pt x="3788508" y="396232"/>
                  <a:pt x="2628282" y="949862"/>
                </a:cubicBezTo>
                <a:cubicBezTo>
                  <a:pt x="2590751" y="967922"/>
                  <a:pt x="2553605" y="986545"/>
                  <a:pt x="2516845" y="1005729"/>
                </a:cubicBezTo>
                <a:cubicBezTo>
                  <a:pt x="2644622" y="872997"/>
                  <a:pt x="2783489" y="751431"/>
                  <a:pt x="2931943" y="642360"/>
                </a:cubicBezTo>
                <a:close/>
                <a:moveTo>
                  <a:pt x="6470599" y="6104609"/>
                </a:moveTo>
                <a:cubicBezTo>
                  <a:pt x="6476824" y="6094946"/>
                  <a:pt x="6483001" y="6085222"/>
                  <a:pt x="6489138" y="6075423"/>
                </a:cubicBezTo>
                <a:lnTo>
                  <a:pt x="6482372" y="6091743"/>
                </a:lnTo>
                <a:close/>
                <a:moveTo>
                  <a:pt x="6477906" y="6101562"/>
                </a:moveTo>
                <a:cubicBezTo>
                  <a:pt x="6476012" y="6105896"/>
                  <a:pt x="6474117" y="6110230"/>
                  <a:pt x="6472155" y="6114564"/>
                </a:cubicBezTo>
                <a:cubicBezTo>
                  <a:pt x="6466675" y="6119033"/>
                  <a:pt x="6461126" y="6123435"/>
                  <a:pt x="6455578" y="6128107"/>
                </a:cubicBezTo>
                <a:lnTo>
                  <a:pt x="6459232" y="6122419"/>
                </a:lnTo>
                <a:close/>
                <a:moveTo>
                  <a:pt x="6456593" y="6120049"/>
                </a:moveTo>
                <a:cubicBezTo>
                  <a:pt x="6448880" y="6128446"/>
                  <a:pt x="6441166" y="6136843"/>
                  <a:pt x="6433453" y="6145104"/>
                </a:cubicBezTo>
                <a:cubicBezTo>
                  <a:pt x="6413920" y="6160361"/>
                  <a:pt x="6394210" y="6175326"/>
                  <a:pt x="6374318" y="6190000"/>
                </a:cubicBezTo>
                <a:cubicBezTo>
                  <a:pt x="4768695" y="7020210"/>
                  <a:pt x="2794646" y="6390469"/>
                  <a:pt x="1965159" y="4783520"/>
                </a:cubicBezTo>
                <a:cubicBezTo>
                  <a:pt x="1681248" y="4233489"/>
                  <a:pt x="1558918" y="3614191"/>
                  <a:pt x="1612356" y="2997419"/>
                </a:cubicBezTo>
                <a:cubicBezTo>
                  <a:pt x="3168241" y="2077180"/>
                  <a:pt x="5174917" y="2593514"/>
                  <a:pt x="6094392" y="4150692"/>
                </a:cubicBezTo>
                <a:cubicBezTo>
                  <a:pt x="6392742" y="4655969"/>
                  <a:pt x="6549951" y="5232199"/>
                  <a:pt x="6549559" y="5819115"/>
                </a:cubicBezTo>
                <a:cubicBezTo>
                  <a:pt x="6549559" y="5843493"/>
                  <a:pt x="6549289" y="5867824"/>
                  <a:pt x="6548747" y="5892114"/>
                </a:cubicBezTo>
                <a:cubicBezTo>
                  <a:pt x="6544552" y="5915002"/>
                  <a:pt x="6540039" y="5937822"/>
                  <a:pt x="6535215" y="5960575"/>
                </a:cubicBezTo>
                <a:cubicBezTo>
                  <a:pt x="6522989" y="5992538"/>
                  <a:pt x="6510316" y="6024250"/>
                  <a:pt x="6497190" y="6055718"/>
                </a:cubicBezTo>
                <a:cubicBezTo>
                  <a:pt x="6483928" y="6077340"/>
                  <a:pt x="6470376" y="6098786"/>
                  <a:pt x="6456526" y="6120049"/>
                </a:cubicBezTo>
                <a:close/>
                <a:moveTo>
                  <a:pt x="2621516" y="2099628"/>
                </a:moveTo>
                <a:cubicBezTo>
                  <a:pt x="4385208" y="1706890"/>
                  <a:pt x="6133074" y="2819445"/>
                  <a:pt x="6525486" y="4584602"/>
                </a:cubicBezTo>
                <a:cubicBezTo>
                  <a:pt x="6619513" y="5007535"/>
                  <a:pt x="6628729" y="5444938"/>
                  <a:pt x="6552604" y="5871460"/>
                </a:cubicBezTo>
                <a:cubicBezTo>
                  <a:pt x="6552874" y="5854036"/>
                  <a:pt x="6553010" y="5836633"/>
                  <a:pt x="6553010" y="5819250"/>
                </a:cubicBezTo>
                <a:cubicBezTo>
                  <a:pt x="6553740" y="4008351"/>
                  <a:pt x="5087526" y="2539740"/>
                  <a:pt x="3278129" y="2539009"/>
                </a:cubicBezTo>
                <a:cubicBezTo>
                  <a:pt x="2692370" y="2538772"/>
                  <a:pt x="2117261" y="2695713"/>
                  <a:pt x="1612694" y="2993491"/>
                </a:cubicBezTo>
                <a:cubicBezTo>
                  <a:pt x="1628838" y="2811441"/>
                  <a:pt x="1660206" y="2631063"/>
                  <a:pt x="1706472" y="2454261"/>
                </a:cubicBezTo>
                <a:cubicBezTo>
                  <a:pt x="1991818" y="2290427"/>
                  <a:pt x="2300337" y="2170859"/>
                  <a:pt x="2621516" y="2099628"/>
                </a:cubicBezTo>
                <a:close/>
                <a:moveTo>
                  <a:pt x="1707690" y="2449453"/>
                </a:moveTo>
                <a:cubicBezTo>
                  <a:pt x="1720545" y="2400562"/>
                  <a:pt x="1734531" y="2351853"/>
                  <a:pt x="1749640" y="2303320"/>
                </a:cubicBezTo>
                <a:cubicBezTo>
                  <a:pt x="1789830" y="2174408"/>
                  <a:pt x="1837869" y="2048088"/>
                  <a:pt x="1893486" y="1925054"/>
                </a:cubicBezTo>
                <a:cubicBezTo>
                  <a:pt x="1972649" y="1881220"/>
                  <a:pt x="2053842" y="1840590"/>
                  <a:pt x="2137065" y="1803163"/>
                </a:cubicBezTo>
                <a:cubicBezTo>
                  <a:pt x="3784191" y="1060234"/>
                  <a:pt x="5721209" y="1794333"/>
                  <a:pt x="6463522" y="3442827"/>
                </a:cubicBezTo>
                <a:cubicBezTo>
                  <a:pt x="6815466" y="4224416"/>
                  <a:pt x="6847063" y="5112990"/>
                  <a:pt x="6551521" y="5917643"/>
                </a:cubicBezTo>
                <a:cubicBezTo>
                  <a:pt x="6551521" y="5909246"/>
                  <a:pt x="6551995" y="5900849"/>
                  <a:pt x="6552130" y="5892452"/>
                </a:cubicBezTo>
                <a:cubicBezTo>
                  <a:pt x="6552130" y="5891301"/>
                  <a:pt x="6552536" y="5890150"/>
                  <a:pt x="6552807" y="5888999"/>
                </a:cubicBezTo>
                <a:cubicBezTo>
                  <a:pt x="6880487" y="4108836"/>
                  <a:pt x="5704159" y="2399898"/>
                  <a:pt x="3925473" y="2071979"/>
                </a:cubicBezTo>
                <a:cubicBezTo>
                  <a:pt x="3164872" y="1931751"/>
                  <a:pt x="2379223" y="2065471"/>
                  <a:pt x="1707690" y="2449453"/>
                </a:cubicBezTo>
                <a:close/>
                <a:moveTo>
                  <a:pt x="1609108" y="2995387"/>
                </a:moveTo>
                <a:cubicBezTo>
                  <a:pt x="1451614" y="3088627"/>
                  <a:pt x="1302233" y="3194956"/>
                  <a:pt x="1162548" y="3313250"/>
                </a:cubicBezTo>
                <a:cubicBezTo>
                  <a:pt x="1166384" y="3262463"/>
                  <a:pt x="1171411" y="3211628"/>
                  <a:pt x="1177636" y="3160752"/>
                </a:cubicBezTo>
                <a:cubicBezTo>
                  <a:pt x="1193678" y="3029185"/>
                  <a:pt x="1217630" y="2898708"/>
                  <a:pt x="1249356" y="2770025"/>
                </a:cubicBezTo>
                <a:cubicBezTo>
                  <a:pt x="1320853" y="2711335"/>
                  <a:pt x="1395030" y="2655381"/>
                  <a:pt x="1471892" y="2602155"/>
                </a:cubicBezTo>
                <a:cubicBezTo>
                  <a:pt x="1547084" y="2550284"/>
                  <a:pt x="1623906" y="2501751"/>
                  <a:pt x="1702345" y="2456564"/>
                </a:cubicBezTo>
                <a:cubicBezTo>
                  <a:pt x="1656302" y="2633251"/>
                  <a:pt x="1625110" y="2813493"/>
                  <a:pt x="1609108" y="2995387"/>
                </a:cubicBezTo>
                <a:close/>
                <a:moveTo>
                  <a:pt x="1609108" y="2999518"/>
                </a:moveTo>
                <a:cubicBezTo>
                  <a:pt x="1453299" y="4802901"/>
                  <a:pt x="2787711" y="6391241"/>
                  <a:pt x="4589597" y="6547180"/>
                </a:cubicBezTo>
                <a:cubicBezTo>
                  <a:pt x="5199558" y="6599972"/>
                  <a:pt x="5812091" y="6480567"/>
                  <a:pt x="6357673" y="6202528"/>
                </a:cubicBezTo>
                <a:cubicBezTo>
                  <a:pt x="4899335" y="7270423"/>
                  <a:pt x="2852137" y="6952967"/>
                  <a:pt x="1785121" y="5493390"/>
                </a:cubicBezTo>
                <a:cubicBezTo>
                  <a:pt x="1325921" y="4865261"/>
                  <a:pt x="1105280" y="4093965"/>
                  <a:pt x="1162751" y="3317787"/>
                </a:cubicBezTo>
                <a:cubicBezTo>
                  <a:pt x="1302213" y="3199330"/>
                  <a:pt x="1451418" y="3092866"/>
                  <a:pt x="1608770" y="2999518"/>
                </a:cubicBezTo>
                <a:close/>
                <a:moveTo>
                  <a:pt x="1263362" y="4414260"/>
                </a:moveTo>
                <a:cubicBezTo>
                  <a:pt x="1734964" y="6162060"/>
                  <a:pt x="3532973" y="7196342"/>
                  <a:pt x="5279324" y="6724314"/>
                </a:cubicBezTo>
                <a:cubicBezTo>
                  <a:pt x="5674902" y="6617402"/>
                  <a:pt x="6046921" y="6437147"/>
                  <a:pt x="6376077" y="6192912"/>
                </a:cubicBezTo>
                <a:lnTo>
                  <a:pt x="6393736" y="6183703"/>
                </a:lnTo>
                <a:lnTo>
                  <a:pt x="6400096" y="6180384"/>
                </a:lnTo>
                <a:cubicBezTo>
                  <a:pt x="5148373" y="7484815"/>
                  <a:pt x="3077075" y="7526732"/>
                  <a:pt x="1773727" y="6273942"/>
                </a:cubicBezTo>
                <a:cubicBezTo>
                  <a:pt x="1179686" y="5702953"/>
                  <a:pt x="822654" y="4928746"/>
                  <a:pt x="773904" y="4105877"/>
                </a:cubicBezTo>
                <a:cubicBezTo>
                  <a:pt x="765887" y="3973226"/>
                  <a:pt x="765887" y="3840217"/>
                  <a:pt x="773904" y="3707566"/>
                </a:cubicBezTo>
                <a:cubicBezTo>
                  <a:pt x="833534" y="3636917"/>
                  <a:pt x="896282" y="3568658"/>
                  <a:pt x="962136" y="3502790"/>
                </a:cubicBezTo>
                <a:cubicBezTo>
                  <a:pt x="1025555" y="3439271"/>
                  <a:pt x="1091145" y="3378685"/>
                  <a:pt x="1158894" y="3321038"/>
                </a:cubicBezTo>
                <a:cubicBezTo>
                  <a:pt x="1131748" y="3688734"/>
                  <a:pt x="1167067" y="4058380"/>
                  <a:pt x="1263362" y="4414260"/>
                </a:cubicBezTo>
                <a:close/>
                <a:moveTo>
                  <a:pt x="6392924" y="6180317"/>
                </a:moveTo>
                <a:lnTo>
                  <a:pt x="6418906" y="6160611"/>
                </a:lnTo>
                <a:lnTo>
                  <a:pt x="6407472" y="6172597"/>
                </a:lnTo>
                <a:close/>
                <a:moveTo>
                  <a:pt x="6435686" y="6147610"/>
                </a:moveTo>
                <a:lnTo>
                  <a:pt x="6441234" y="6143276"/>
                </a:lnTo>
                <a:cubicBezTo>
                  <a:pt x="6437377" y="6149167"/>
                  <a:pt x="6433453" y="6154991"/>
                  <a:pt x="6429529" y="6160814"/>
                </a:cubicBezTo>
                <a:lnTo>
                  <a:pt x="6416944" y="6167586"/>
                </a:lnTo>
                <a:cubicBezTo>
                  <a:pt x="6423237" y="6160950"/>
                  <a:pt x="6429461" y="6154314"/>
                  <a:pt x="6435686" y="6147610"/>
                </a:cubicBezTo>
                <a:close/>
                <a:moveTo>
                  <a:pt x="6548274" y="5913241"/>
                </a:moveTo>
                <a:cubicBezTo>
                  <a:pt x="6548274" y="5918049"/>
                  <a:pt x="6548274" y="5922857"/>
                  <a:pt x="6547800" y="5927597"/>
                </a:cubicBezTo>
                <a:cubicBezTo>
                  <a:pt x="6546176" y="5932067"/>
                  <a:pt x="6544485" y="5936536"/>
                  <a:pt x="6542861" y="5941141"/>
                </a:cubicBezTo>
                <a:cubicBezTo>
                  <a:pt x="6544688" y="5931728"/>
                  <a:pt x="6546447" y="5922518"/>
                  <a:pt x="6548274" y="5913241"/>
                </a:cubicBezTo>
                <a:close/>
                <a:moveTo>
                  <a:pt x="6531156" y="5980958"/>
                </a:moveTo>
                <a:cubicBezTo>
                  <a:pt x="6528990" y="5990845"/>
                  <a:pt x="6526893" y="6000799"/>
                  <a:pt x="6524389" y="6010686"/>
                </a:cubicBezTo>
                <a:lnTo>
                  <a:pt x="6516067" y="6024229"/>
                </a:lnTo>
                <a:cubicBezTo>
                  <a:pt x="6513496" y="6028496"/>
                  <a:pt x="6510925" y="6032762"/>
                  <a:pt x="6508286" y="6037028"/>
                </a:cubicBezTo>
                <a:cubicBezTo>
                  <a:pt x="6516270" y="6018812"/>
                  <a:pt x="6523780" y="6000122"/>
                  <a:pt x="6531156" y="5981094"/>
                </a:cubicBezTo>
                <a:close/>
                <a:moveTo>
                  <a:pt x="6538666" y="5961388"/>
                </a:moveTo>
                <a:lnTo>
                  <a:pt x="6541913" y="5952856"/>
                </a:lnTo>
                <a:cubicBezTo>
                  <a:pt x="6543808" y="5947980"/>
                  <a:pt x="6545635" y="5943037"/>
                  <a:pt x="6547462" y="5938161"/>
                </a:cubicBezTo>
                <a:cubicBezTo>
                  <a:pt x="6546988" y="5950283"/>
                  <a:pt x="6546514" y="5962472"/>
                  <a:pt x="6545973" y="5974593"/>
                </a:cubicBezTo>
                <a:cubicBezTo>
                  <a:pt x="6540784" y="5983619"/>
                  <a:pt x="6535506" y="5992653"/>
                  <a:pt x="6530140" y="6001679"/>
                </a:cubicBezTo>
                <a:cubicBezTo>
                  <a:pt x="6533030" y="5988319"/>
                  <a:pt x="6535871" y="5974932"/>
                  <a:pt x="6538666" y="5961523"/>
                </a:cubicBezTo>
                <a:close/>
                <a:moveTo>
                  <a:pt x="6549289" y="5975609"/>
                </a:moveTo>
                <a:cubicBezTo>
                  <a:pt x="7456821" y="4408301"/>
                  <a:pt x="6922979" y="2401462"/>
                  <a:pt x="5356965" y="1493203"/>
                </a:cubicBezTo>
                <a:cubicBezTo>
                  <a:pt x="4373739" y="922952"/>
                  <a:pt x="3165528" y="903171"/>
                  <a:pt x="2164197" y="1440945"/>
                </a:cubicBezTo>
                <a:cubicBezTo>
                  <a:pt x="2220673" y="1357566"/>
                  <a:pt x="2281094" y="1276685"/>
                  <a:pt x="2345460" y="1198316"/>
                </a:cubicBezTo>
                <a:cubicBezTo>
                  <a:pt x="2397965" y="1134391"/>
                  <a:pt x="2452635" y="1072721"/>
                  <a:pt x="2509470" y="1013313"/>
                </a:cubicBezTo>
                <a:cubicBezTo>
                  <a:pt x="2549071" y="992368"/>
                  <a:pt x="2589174" y="972189"/>
                  <a:pt x="2629770" y="952774"/>
                </a:cubicBezTo>
                <a:cubicBezTo>
                  <a:pt x="4260259" y="171696"/>
                  <a:pt x="6214693" y="861377"/>
                  <a:pt x="6995105" y="2493219"/>
                </a:cubicBezTo>
                <a:cubicBezTo>
                  <a:pt x="7550126" y="3653731"/>
                  <a:pt x="7374952" y="5031953"/>
                  <a:pt x="6547326" y="6016442"/>
                </a:cubicBezTo>
                <a:cubicBezTo>
                  <a:pt x="6548003" y="6002946"/>
                  <a:pt x="6548747" y="5989376"/>
                  <a:pt x="6549559" y="5975744"/>
                </a:cubicBezTo>
                <a:close/>
                <a:moveTo>
                  <a:pt x="2934108" y="1148950"/>
                </a:moveTo>
                <a:cubicBezTo>
                  <a:pt x="4688240" y="715460"/>
                  <a:pt x="6461370" y="1787236"/>
                  <a:pt x="6894493" y="3542831"/>
                </a:cubicBezTo>
                <a:cubicBezTo>
                  <a:pt x="7097475" y="4365551"/>
                  <a:pt x="6973859" y="5234989"/>
                  <a:pt x="6549559" y="5968363"/>
                </a:cubicBezTo>
                <a:cubicBezTo>
                  <a:pt x="6550168" y="5954819"/>
                  <a:pt x="6550641" y="5941682"/>
                  <a:pt x="6551115" y="5928275"/>
                </a:cubicBezTo>
                <a:cubicBezTo>
                  <a:pt x="7180157" y="4231174"/>
                  <a:pt x="6315460" y="2345034"/>
                  <a:pt x="4619767" y="1715470"/>
                </a:cubicBezTo>
                <a:cubicBezTo>
                  <a:pt x="3812838" y="1415883"/>
                  <a:pt x="2920502" y="1446268"/>
                  <a:pt x="2135779" y="1800048"/>
                </a:cubicBezTo>
                <a:cubicBezTo>
                  <a:pt x="2053822" y="1836886"/>
                  <a:pt x="1973847" y="1876819"/>
                  <a:pt x="1895855" y="1919839"/>
                </a:cubicBezTo>
                <a:cubicBezTo>
                  <a:pt x="1970653" y="1755179"/>
                  <a:pt x="2059059" y="1597053"/>
                  <a:pt x="2160137" y="1447108"/>
                </a:cubicBezTo>
                <a:cubicBezTo>
                  <a:pt x="2404453" y="1315283"/>
                  <a:pt x="2664535" y="1215096"/>
                  <a:pt x="2934108" y="1148950"/>
                </a:cubicBezTo>
                <a:close/>
                <a:moveTo>
                  <a:pt x="1890847" y="1922616"/>
                </a:moveTo>
                <a:cubicBezTo>
                  <a:pt x="1730410" y="2011318"/>
                  <a:pt x="1577720" y="2113388"/>
                  <a:pt x="1434408" y="2227748"/>
                </a:cubicBezTo>
                <a:cubicBezTo>
                  <a:pt x="1473787" y="2138951"/>
                  <a:pt x="1517205" y="2051772"/>
                  <a:pt x="1564655" y="1966225"/>
                </a:cubicBezTo>
                <a:cubicBezTo>
                  <a:pt x="1605252" y="1893362"/>
                  <a:pt x="1648216" y="1822374"/>
                  <a:pt x="1693549" y="1753256"/>
                </a:cubicBezTo>
                <a:cubicBezTo>
                  <a:pt x="1726885" y="1726982"/>
                  <a:pt x="1760716" y="1701364"/>
                  <a:pt x="1795040" y="1676397"/>
                </a:cubicBezTo>
                <a:cubicBezTo>
                  <a:pt x="1909414" y="1593471"/>
                  <a:pt x="2029038" y="1518055"/>
                  <a:pt x="2153168" y="1450629"/>
                </a:cubicBezTo>
                <a:cubicBezTo>
                  <a:pt x="2052787" y="1600398"/>
                  <a:pt x="1965044" y="1758274"/>
                  <a:pt x="1890847" y="1922616"/>
                </a:cubicBezTo>
                <a:close/>
                <a:moveTo>
                  <a:pt x="1888547" y="1927762"/>
                </a:moveTo>
                <a:cubicBezTo>
                  <a:pt x="1833708" y="2049639"/>
                  <a:pt x="1786264" y="2174712"/>
                  <a:pt x="1746460" y="2302305"/>
                </a:cubicBezTo>
                <a:cubicBezTo>
                  <a:pt x="1730945" y="2351961"/>
                  <a:pt x="1716669" y="2401801"/>
                  <a:pt x="1703630" y="2451824"/>
                </a:cubicBezTo>
                <a:cubicBezTo>
                  <a:pt x="1624061" y="2497465"/>
                  <a:pt x="1546204" y="2546607"/>
                  <a:pt x="1470066" y="2599243"/>
                </a:cubicBezTo>
                <a:cubicBezTo>
                  <a:pt x="1393927" y="2651880"/>
                  <a:pt x="1320826" y="2706934"/>
                  <a:pt x="1250777" y="2764405"/>
                </a:cubicBezTo>
                <a:cubicBezTo>
                  <a:pt x="1295758" y="2582903"/>
                  <a:pt x="1356287" y="2405614"/>
                  <a:pt x="1431702" y="2234520"/>
                </a:cubicBezTo>
                <a:cubicBezTo>
                  <a:pt x="1575048" y="2119530"/>
                  <a:pt x="1727880" y="2016912"/>
                  <a:pt x="1888547" y="1927762"/>
                </a:cubicBezTo>
                <a:close/>
                <a:moveTo>
                  <a:pt x="1246379" y="2767994"/>
                </a:moveTo>
                <a:cubicBezTo>
                  <a:pt x="1106315" y="2883221"/>
                  <a:pt x="976115" y="3009953"/>
                  <a:pt x="857127" y="3146870"/>
                </a:cubicBezTo>
                <a:cubicBezTo>
                  <a:pt x="880044" y="3050712"/>
                  <a:pt x="907419" y="2955434"/>
                  <a:pt x="939267" y="2861037"/>
                </a:cubicBezTo>
                <a:cubicBezTo>
                  <a:pt x="967820" y="2776343"/>
                  <a:pt x="999668" y="2693187"/>
                  <a:pt x="1034804" y="2611568"/>
                </a:cubicBezTo>
                <a:cubicBezTo>
                  <a:pt x="1060197" y="2583039"/>
                  <a:pt x="1086091" y="2554956"/>
                  <a:pt x="1112479" y="2527328"/>
                </a:cubicBezTo>
                <a:cubicBezTo>
                  <a:pt x="1210620" y="2424547"/>
                  <a:pt x="1315332" y="2328254"/>
                  <a:pt x="1425951" y="2239057"/>
                </a:cubicBezTo>
                <a:cubicBezTo>
                  <a:pt x="1351044" y="2409886"/>
                  <a:pt x="1290961" y="2586851"/>
                  <a:pt x="1246379" y="2767994"/>
                </a:cubicBezTo>
                <a:close/>
                <a:moveTo>
                  <a:pt x="1245026" y="2773479"/>
                </a:moveTo>
                <a:cubicBezTo>
                  <a:pt x="1213848" y="2900915"/>
                  <a:pt x="1190282" y="3030099"/>
                  <a:pt x="1174456" y="3160346"/>
                </a:cubicBezTo>
                <a:cubicBezTo>
                  <a:pt x="1168143" y="3212352"/>
                  <a:pt x="1163041" y="3264271"/>
                  <a:pt x="1159165" y="3316095"/>
                </a:cubicBezTo>
                <a:cubicBezTo>
                  <a:pt x="1090469" y="3374466"/>
                  <a:pt x="1023958" y="3435818"/>
                  <a:pt x="959633" y="3500149"/>
                </a:cubicBezTo>
                <a:cubicBezTo>
                  <a:pt x="895308" y="3564480"/>
                  <a:pt x="833493" y="3631655"/>
                  <a:pt x="774175" y="3701675"/>
                </a:cubicBezTo>
                <a:cubicBezTo>
                  <a:pt x="785623" y="3517065"/>
                  <a:pt x="812789" y="3333769"/>
                  <a:pt x="855368" y="3153777"/>
                </a:cubicBezTo>
                <a:cubicBezTo>
                  <a:pt x="974390" y="3016339"/>
                  <a:pt x="1104711" y="2889132"/>
                  <a:pt x="1244958" y="2773479"/>
                </a:cubicBezTo>
                <a:close/>
                <a:moveTo>
                  <a:pt x="770521" y="3706212"/>
                </a:moveTo>
                <a:cubicBezTo>
                  <a:pt x="649757" y="3849270"/>
                  <a:pt x="541529" y="4002466"/>
                  <a:pt x="447035" y="4164113"/>
                </a:cubicBezTo>
                <a:cubicBezTo>
                  <a:pt x="452178" y="4061996"/>
                  <a:pt x="462124" y="3959967"/>
                  <a:pt x="476874" y="3858033"/>
                </a:cubicBezTo>
                <a:cubicBezTo>
                  <a:pt x="488647" y="3776772"/>
                  <a:pt x="503419" y="3696190"/>
                  <a:pt x="521191" y="3616283"/>
                </a:cubicBezTo>
                <a:cubicBezTo>
                  <a:pt x="544737" y="3576872"/>
                  <a:pt x="569163" y="3537915"/>
                  <a:pt x="594468" y="3499404"/>
                </a:cubicBezTo>
                <a:cubicBezTo>
                  <a:pt x="672390" y="3380669"/>
                  <a:pt x="757957" y="3267135"/>
                  <a:pt x="850632" y="3159533"/>
                </a:cubicBezTo>
                <a:cubicBezTo>
                  <a:pt x="808506" y="3339159"/>
                  <a:pt x="781706" y="3522042"/>
                  <a:pt x="770521" y="3706212"/>
                </a:cubicBezTo>
                <a:close/>
                <a:moveTo>
                  <a:pt x="770521" y="3711832"/>
                </a:moveTo>
                <a:cubicBezTo>
                  <a:pt x="762706" y="3843128"/>
                  <a:pt x="762706" y="3974784"/>
                  <a:pt x="770521" y="4106080"/>
                </a:cubicBezTo>
                <a:cubicBezTo>
                  <a:pt x="877588" y="5913357"/>
                  <a:pt x="2428256" y="7291551"/>
                  <a:pt x="4234027" y="7184423"/>
                </a:cubicBezTo>
                <a:cubicBezTo>
                  <a:pt x="5060577" y="7135396"/>
                  <a:pt x="5837890" y="6774871"/>
                  <a:pt x="6409569" y="6175374"/>
                </a:cubicBezTo>
                <a:lnTo>
                  <a:pt x="6425469" y="6166841"/>
                </a:lnTo>
                <a:cubicBezTo>
                  <a:pt x="5410126" y="7664130"/>
                  <a:pt x="3374255" y="8054111"/>
                  <a:pt x="1878215" y="7037952"/>
                </a:cubicBezTo>
                <a:cubicBezTo>
                  <a:pt x="934917" y="6397201"/>
                  <a:pt x="392592" y="5311468"/>
                  <a:pt x="446562" y="4171765"/>
                </a:cubicBezTo>
                <a:cubicBezTo>
                  <a:pt x="540996" y="4009407"/>
                  <a:pt x="649273" y="3855527"/>
                  <a:pt x="770183" y="3711832"/>
                </a:cubicBezTo>
                <a:close/>
                <a:moveTo>
                  <a:pt x="535197" y="5113031"/>
                </a:moveTo>
                <a:cubicBezTo>
                  <a:pt x="965932" y="6871029"/>
                  <a:pt x="2739097" y="7946780"/>
                  <a:pt x="4495664" y="7515627"/>
                </a:cubicBezTo>
                <a:cubicBezTo>
                  <a:pt x="5286631" y="7321550"/>
                  <a:pt x="5976946" y="6839406"/>
                  <a:pt x="6431897" y="6163387"/>
                </a:cubicBezTo>
                <a:lnTo>
                  <a:pt x="6456255" y="6149844"/>
                </a:lnTo>
                <a:cubicBezTo>
                  <a:pt x="5741189" y="7720403"/>
                  <a:pt x="3930250" y="8465085"/>
                  <a:pt x="2318463" y="7851367"/>
                </a:cubicBezTo>
                <a:cubicBezTo>
                  <a:pt x="1089224" y="7383917"/>
                  <a:pt x="258446" y="6226087"/>
                  <a:pt x="208667" y="4910963"/>
                </a:cubicBezTo>
                <a:cubicBezTo>
                  <a:pt x="205690" y="4832276"/>
                  <a:pt x="205554" y="4753840"/>
                  <a:pt x="208261" y="4675647"/>
                </a:cubicBezTo>
                <a:cubicBezTo>
                  <a:pt x="224680" y="4631496"/>
                  <a:pt x="242136" y="4587615"/>
                  <a:pt x="260630" y="4544005"/>
                </a:cubicBezTo>
                <a:cubicBezTo>
                  <a:pt x="313716" y="4418242"/>
                  <a:pt x="374617" y="4295931"/>
                  <a:pt x="442976" y="4177792"/>
                </a:cubicBezTo>
                <a:cubicBezTo>
                  <a:pt x="428611" y="4492358"/>
                  <a:pt x="459671" y="4807350"/>
                  <a:pt x="535197" y="5113031"/>
                </a:cubicBezTo>
                <a:close/>
                <a:moveTo>
                  <a:pt x="6435957" y="6157293"/>
                </a:moveTo>
                <a:cubicBezTo>
                  <a:pt x="6440558" y="6150522"/>
                  <a:pt x="6445091" y="6143750"/>
                  <a:pt x="6449489" y="6136978"/>
                </a:cubicBezTo>
                <a:cubicBezTo>
                  <a:pt x="6456255" y="6131832"/>
                  <a:pt x="6462547" y="6126753"/>
                  <a:pt x="6469043" y="6121538"/>
                </a:cubicBezTo>
                <a:cubicBezTo>
                  <a:pt x="6465525" y="6129461"/>
                  <a:pt x="6462277" y="6137317"/>
                  <a:pt x="6458420" y="6145172"/>
                </a:cubicBezTo>
                <a:cubicBezTo>
                  <a:pt x="6451045" y="6149099"/>
                  <a:pt x="6443535" y="6153230"/>
                  <a:pt x="6435957" y="6157293"/>
                </a:cubicBezTo>
                <a:close/>
                <a:moveTo>
                  <a:pt x="6474862" y="6116663"/>
                </a:moveTo>
                <a:cubicBezTo>
                  <a:pt x="6485214" y="6108401"/>
                  <a:pt x="6495160" y="6100072"/>
                  <a:pt x="6505647" y="6091676"/>
                </a:cubicBezTo>
                <a:cubicBezTo>
                  <a:pt x="6503076" y="6102104"/>
                  <a:pt x="6500437" y="6112465"/>
                  <a:pt x="6497798" y="6122825"/>
                </a:cubicBezTo>
                <a:cubicBezTo>
                  <a:pt x="6486432" y="6129326"/>
                  <a:pt x="6474997" y="6135759"/>
                  <a:pt x="6463495" y="6142124"/>
                </a:cubicBezTo>
                <a:cubicBezTo>
                  <a:pt x="6467351" y="6133727"/>
                  <a:pt x="6471140" y="6125195"/>
                  <a:pt x="6475132" y="6116730"/>
                </a:cubicBezTo>
                <a:close/>
                <a:moveTo>
                  <a:pt x="6477839" y="6109891"/>
                </a:moveTo>
                <a:lnTo>
                  <a:pt x="6484943" y="6093436"/>
                </a:lnTo>
                <a:lnTo>
                  <a:pt x="6492521" y="6084904"/>
                </a:lnTo>
                <a:cubicBezTo>
                  <a:pt x="6499335" y="6077184"/>
                  <a:pt x="6506101" y="6069444"/>
                  <a:pt x="6512819" y="6061677"/>
                </a:cubicBezTo>
                <a:cubicBezTo>
                  <a:pt x="6510857" y="6069870"/>
                  <a:pt x="6508895" y="6077997"/>
                  <a:pt x="6506865" y="6086123"/>
                </a:cubicBezTo>
                <a:cubicBezTo>
                  <a:pt x="6497325" y="6094249"/>
                  <a:pt x="6487649" y="6102104"/>
                  <a:pt x="6477839" y="6110027"/>
                </a:cubicBezTo>
                <a:close/>
                <a:moveTo>
                  <a:pt x="6490018" y="6082805"/>
                </a:moveTo>
                <a:lnTo>
                  <a:pt x="6489206" y="6083685"/>
                </a:lnTo>
                <a:cubicBezTo>
                  <a:pt x="6492995" y="6074949"/>
                  <a:pt x="6496716" y="6066078"/>
                  <a:pt x="6500370" y="6057275"/>
                </a:cubicBezTo>
                <a:cubicBezTo>
                  <a:pt x="6506730" y="6047030"/>
                  <a:pt x="6513022" y="6036757"/>
                  <a:pt x="6519247" y="6026464"/>
                </a:cubicBezTo>
                <a:lnTo>
                  <a:pt x="6522292" y="6021318"/>
                </a:lnTo>
                <a:cubicBezTo>
                  <a:pt x="6519768" y="6032511"/>
                  <a:pt x="6517217" y="6043644"/>
                  <a:pt x="6514646" y="6054702"/>
                </a:cubicBezTo>
                <a:cubicBezTo>
                  <a:pt x="6506344" y="6064135"/>
                  <a:pt x="6498137" y="6073507"/>
                  <a:pt x="6490018" y="6082805"/>
                </a:cubicBezTo>
                <a:close/>
                <a:moveTo>
                  <a:pt x="6527840" y="6012108"/>
                </a:moveTo>
                <a:cubicBezTo>
                  <a:pt x="6533794" y="6002086"/>
                  <a:pt x="6539748" y="5992132"/>
                  <a:pt x="6545635" y="5982042"/>
                </a:cubicBezTo>
                <a:cubicBezTo>
                  <a:pt x="6544958" y="5994976"/>
                  <a:pt x="6544281" y="6007977"/>
                  <a:pt x="6543469" y="6020911"/>
                </a:cubicBezTo>
                <a:cubicBezTo>
                  <a:pt x="6535533" y="6030391"/>
                  <a:pt x="6527502" y="6039824"/>
                  <a:pt x="6519382" y="6049217"/>
                </a:cubicBezTo>
                <a:cubicBezTo>
                  <a:pt x="6522495" y="6036825"/>
                  <a:pt x="6525066" y="6024500"/>
                  <a:pt x="6527840" y="6012108"/>
                </a:cubicBezTo>
                <a:close/>
                <a:moveTo>
                  <a:pt x="2409602" y="977694"/>
                </a:moveTo>
                <a:cubicBezTo>
                  <a:pt x="2567144" y="854273"/>
                  <a:pt x="2735592" y="745479"/>
                  <a:pt x="2912863" y="652653"/>
                </a:cubicBezTo>
                <a:cubicBezTo>
                  <a:pt x="2767940" y="760587"/>
                  <a:pt x="2632301" y="880480"/>
                  <a:pt x="2507372" y="1011078"/>
                </a:cubicBezTo>
                <a:cubicBezTo>
                  <a:pt x="2347185" y="1095806"/>
                  <a:pt x="2194387" y="1193840"/>
                  <a:pt x="2050595" y="1304157"/>
                </a:cubicBezTo>
                <a:cubicBezTo>
                  <a:pt x="2162113" y="1186682"/>
                  <a:pt x="2282109" y="1077570"/>
                  <a:pt x="2409602" y="977694"/>
                </a:cubicBezTo>
                <a:close/>
                <a:moveTo>
                  <a:pt x="2035709" y="1319529"/>
                </a:moveTo>
                <a:cubicBezTo>
                  <a:pt x="2181586" y="1206096"/>
                  <a:pt x="2336921" y="1105394"/>
                  <a:pt x="2499997" y="1018527"/>
                </a:cubicBezTo>
                <a:cubicBezTo>
                  <a:pt x="2445868" y="1075680"/>
                  <a:pt x="2393499" y="1134933"/>
                  <a:pt x="2342889" y="1196284"/>
                </a:cubicBezTo>
                <a:cubicBezTo>
                  <a:pt x="2277075" y="1276414"/>
                  <a:pt x="2215369" y="1359164"/>
                  <a:pt x="2157769" y="1444534"/>
                </a:cubicBezTo>
                <a:cubicBezTo>
                  <a:pt x="2031501" y="1512827"/>
                  <a:pt x="1909860" y="1589354"/>
                  <a:pt x="1793619" y="1673621"/>
                </a:cubicBezTo>
                <a:cubicBezTo>
                  <a:pt x="1761819" y="1696692"/>
                  <a:pt x="1730492" y="1720257"/>
                  <a:pt x="1699638" y="1744317"/>
                </a:cubicBezTo>
                <a:cubicBezTo>
                  <a:pt x="1799593" y="1593566"/>
                  <a:pt x="1912012" y="1451469"/>
                  <a:pt x="2035709" y="1319529"/>
                </a:cubicBezTo>
                <a:close/>
                <a:moveTo>
                  <a:pt x="1592058" y="1736191"/>
                </a:moveTo>
                <a:cubicBezTo>
                  <a:pt x="1721980" y="1589333"/>
                  <a:pt x="1864744" y="1454374"/>
                  <a:pt x="2018659" y="1332937"/>
                </a:cubicBezTo>
                <a:cubicBezTo>
                  <a:pt x="1898351" y="1463048"/>
                  <a:pt x="1788937" y="1602836"/>
                  <a:pt x="1691519" y="1750886"/>
                </a:cubicBezTo>
                <a:cubicBezTo>
                  <a:pt x="1555034" y="1858068"/>
                  <a:pt x="1427378" y="1976044"/>
                  <a:pt x="1309777" y="2103691"/>
                </a:cubicBezTo>
                <a:cubicBezTo>
                  <a:pt x="1395192" y="1974751"/>
                  <a:pt x="1489511" y="1851953"/>
                  <a:pt x="1592058" y="1736191"/>
                </a:cubicBezTo>
                <a:close/>
                <a:moveTo>
                  <a:pt x="1297801" y="2121500"/>
                </a:moveTo>
                <a:cubicBezTo>
                  <a:pt x="1416925" y="1990570"/>
                  <a:pt x="1546542" y="1869607"/>
                  <a:pt x="1685362" y="1759824"/>
                </a:cubicBezTo>
                <a:cubicBezTo>
                  <a:pt x="1641836" y="1826370"/>
                  <a:pt x="1600671" y="1894628"/>
                  <a:pt x="1561881" y="1964600"/>
                </a:cubicBezTo>
                <a:cubicBezTo>
                  <a:pt x="1513348" y="2052179"/>
                  <a:pt x="1469030" y="2141430"/>
                  <a:pt x="1428928" y="2232353"/>
                </a:cubicBezTo>
                <a:cubicBezTo>
                  <a:pt x="1316307" y="2322775"/>
                  <a:pt x="1209781" y="2420545"/>
                  <a:pt x="1110043" y="2525026"/>
                </a:cubicBezTo>
                <a:cubicBezTo>
                  <a:pt x="1085956" y="2550216"/>
                  <a:pt x="1062295" y="2575766"/>
                  <a:pt x="1039067" y="2601681"/>
                </a:cubicBezTo>
                <a:cubicBezTo>
                  <a:pt x="1111673" y="2434630"/>
                  <a:pt x="1198225" y="2273999"/>
                  <a:pt x="1297801" y="2121500"/>
                </a:cubicBezTo>
                <a:close/>
                <a:moveTo>
                  <a:pt x="916195" y="2633982"/>
                </a:moveTo>
                <a:cubicBezTo>
                  <a:pt x="1022794" y="2457268"/>
                  <a:pt x="1145781" y="2290989"/>
                  <a:pt x="1283525" y="2137346"/>
                </a:cubicBezTo>
                <a:cubicBezTo>
                  <a:pt x="1186770" y="2287590"/>
                  <a:pt x="1102607" y="2445594"/>
                  <a:pt x="1031895" y="2609739"/>
                </a:cubicBezTo>
                <a:cubicBezTo>
                  <a:pt x="910768" y="2745735"/>
                  <a:pt x="801314" y="2891706"/>
                  <a:pt x="704687" y="3046107"/>
                </a:cubicBezTo>
                <a:cubicBezTo>
                  <a:pt x="765467" y="2903949"/>
                  <a:pt x="836139" y="2766233"/>
                  <a:pt x="916195" y="2633982"/>
                </a:cubicBezTo>
                <a:close/>
                <a:moveTo>
                  <a:pt x="696162" y="3066219"/>
                </a:moveTo>
                <a:cubicBezTo>
                  <a:pt x="793648" y="2907992"/>
                  <a:pt x="904571" y="2758459"/>
                  <a:pt x="1027700" y="2619287"/>
                </a:cubicBezTo>
                <a:cubicBezTo>
                  <a:pt x="994140" y="2697974"/>
                  <a:pt x="963605" y="2778104"/>
                  <a:pt x="936087" y="2859682"/>
                </a:cubicBezTo>
                <a:cubicBezTo>
                  <a:pt x="903522" y="2956199"/>
                  <a:pt x="875598" y="3053692"/>
                  <a:pt x="852323" y="3152152"/>
                </a:cubicBezTo>
                <a:cubicBezTo>
                  <a:pt x="757916" y="3261393"/>
                  <a:pt x="670827" y="3376769"/>
                  <a:pt x="591626" y="3497508"/>
                </a:cubicBezTo>
                <a:cubicBezTo>
                  <a:pt x="568170" y="3533175"/>
                  <a:pt x="545459" y="3569288"/>
                  <a:pt x="523492" y="3605855"/>
                </a:cubicBezTo>
                <a:cubicBezTo>
                  <a:pt x="565172" y="3421272"/>
                  <a:pt x="622950" y="3240699"/>
                  <a:pt x="696162" y="3066219"/>
                </a:cubicBezTo>
                <a:close/>
                <a:moveTo>
                  <a:pt x="420174" y="3627863"/>
                </a:moveTo>
                <a:cubicBezTo>
                  <a:pt x="491528" y="3439136"/>
                  <a:pt x="580085" y="3257384"/>
                  <a:pt x="684727" y="3084909"/>
                </a:cubicBezTo>
                <a:cubicBezTo>
                  <a:pt x="614052" y="3256490"/>
                  <a:pt x="558274" y="3433841"/>
                  <a:pt x="518011" y="3614997"/>
                </a:cubicBezTo>
                <a:cubicBezTo>
                  <a:pt x="425193" y="3770109"/>
                  <a:pt x="345504" y="3932725"/>
                  <a:pt x="279778" y="4101137"/>
                </a:cubicBezTo>
                <a:cubicBezTo>
                  <a:pt x="314722" y="3940099"/>
                  <a:pt x="361652" y="3781899"/>
                  <a:pt x="420174" y="3627863"/>
                </a:cubicBezTo>
                <a:close/>
                <a:moveTo>
                  <a:pt x="275312" y="4122197"/>
                </a:moveTo>
                <a:cubicBezTo>
                  <a:pt x="341179" y="3950141"/>
                  <a:pt x="421580" y="3784018"/>
                  <a:pt x="515643" y="3625628"/>
                </a:cubicBezTo>
                <a:cubicBezTo>
                  <a:pt x="498863" y="3702372"/>
                  <a:pt x="484812" y="3779732"/>
                  <a:pt x="473491" y="3857694"/>
                </a:cubicBezTo>
                <a:cubicBezTo>
                  <a:pt x="458380" y="3961843"/>
                  <a:pt x="448321" y="4066127"/>
                  <a:pt x="443314" y="4170546"/>
                </a:cubicBezTo>
                <a:cubicBezTo>
                  <a:pt x="373567" y="4290642"/>
                  <a:pt x="311488" y="4415038"/>
                  <a:pt x="257450" y="4542990"/>
                </a:cubicBezTo>
                <a:cubicBezTo>
                  <a:pt x="240354" y="4583620"/>
                  <a:pt x="224093" y="4624385"/>
                  <a:pt x="208667" y="4665286"/>
                </a:cubicBezTo>
                <a:cubicBezTo>
                  <a:pt x="215525" y="4482654"/>
                  <a:pt x="237820" y="4300929"/>
                  <a:pt x="275312" y="4122061"/>
                </a:cubicBezTo>
                <a:close/>
                <a:moveTo>
                  <a:pt x="111776" y="4706729"/>
                </a:moveTo>
                <a:cubicBezTo>
                  <a:pt x="146889" y="4514190"/>
                  <a:pt x="199081" y="4325165"/>
                  <a:pt x="267734" y="4141902"/>
                </a:cubicBezTo>
                <a:cubicBezTo>
                  <a:pt x="232084" y="4317499"/>
                  <a:pt x="211059" y="4495757"/>
                  <a:pt x="204878" y="4674834"/>
                </a:cubicBezTo>
                <a:cubicBezTo>
                  <a:pt x="141904" y="4843849"/>
                  <a:pt x="93132" y="5017834"/>
                  <a:pt x="59069" y="5194968"/>
                </a:cubicBezTo>
                <a:cubicBezTo>
                  <a:pt x="64525" y="5031140"/>
                  <a:pt x="82142" y="4867943"/>
                  <a:pt x="111776" y="4706729"/>
                </a:cubicBezTo>
                <a:close/>
                <a:moveTo>
                  <a:pt x="58460" y="5216570"/>
                </a:moveTo>
                <a:cubicBezTo>
                  <a:pt x="91999" y="5035772"/>
                  <a:pt x="140869" y="4858164"/>
                  <a:pt x="204539" y="4685669"/>
                </a:cubicBezTo>
                <a:cubicBezTo>
                  <a:pt x="202239" y="4760564"/>
                  <a:pt x="202487" y="4835709"/>
                  <a:pt x="205284" y="4911099"/>
                </a:cubicBezTo>
                <a:cubicBezTo>
                  <a:pt x="273542" y="6721382"/>
                  <a:pt x="1795182" y="8133544"/>
                  <a:pt x="3603963" y="8065217"/>
                </a:cubicBezTo>
                <a:cubicBezTo>
                  <a:pt x="4455040" y="8033051"/>
                  <a:pt x="5260189" y="7670630"/>
                  <a:pt x="5848865" y="7054610"/>
                </a:cubicBezTo>
                <a:cubicBezTo>
                  <a:pt x="6102836" y="6789024"/>
                  <a:pt x="6309885" y="6482185"/>
                  <a:pt x="6461194" y="6147203"/>
                </a:cubicBezTo>
                <a:cubicBezTo>
                  <a:pt x="6473055" y="6140614"/>
                  <a:pt x="6484855" y="6133978"/>
                  <a:pt x="6496581" y="6127295"/>
                </a:cubicBezTo>
                <a:cubicBezTo>
                  <a:pt x="6063938" y="7786359"/>
                  <a:pt x="4425121" y="8829876"/>
                  <a:pt x="2740260" y="8519191"/>
                </a:cubicBezTo>
                <a:cubicBezTo>
                  <a:pt x="1155809" y="8229295"/>
                  <a:pt x="18037" y="6828097"/>
                  <a:pt x="58460" y="5216570"/>
                </a:cubicBezTo>
                <a:close/>
                <a:moveTo>
                  <a:pt x="6292448" y="7094224"/>
                </a:moveTo>
                <a:cubicBezTo>
                  <a:pt x="5587579" y="8761211"/>
                  <a:pt x="3665933" y="9540700"/>
                  <a:pt x="2000329" y="8835226"/>
                </a:cubicBezTo>
                <a:cubicBezTo>
                  <a:pt x="1216433" y="8503210"/>
                  <a:pt x="592504" y="7878793"/>
                  <a:pt x="260765" y="7094224"/>
                </a:cubicBezTo>
                <a:cubicBezTo>
                  <a:pt x="90204" y="6690835"/>
                  <a:pt x="2754" y="6257135"/>
                  <a:pt x="3655" y="5819115"/>
                </a:cubicBezTo>
                <a:cubicBezTo>
                  <a:pt x="3514" y="5624199"/>
                  <a:pt x="20631" y="5429655"/>
                  <a:pt x="54806" y="5237765"/>
                </a:cubicBezTo>
                <a:cubicBezTo>
                  <a:pt x="24589" y="6843333"/>
                  <a:pt x="1161594" y="8234171"/>
                  <a:pt x="2740057" y="8522509"/>
                </a:cubicBezTo>
                <a:cubicBezTo>
                  <a:pt x="4427739" y="8833668"/>
                  <a:pt x="6069019" y="7787510"/>
                  <a:pt x="6500979" y="6125331"/>
                </a:cubicBezTo>
                <a:cubicBezTo>
                  <a:pt x="6513293" y="6118288"/>
                  <a:pt x="6525540" y="6111178"/>
                  <a:pt x="6537718" y="6104000"/>
                </a:cubicBezTo>
                <a:cubicBezTo>
                  <a:pt x="6508665" y="6444955"/>
                  <a:pt x="6425882" y="6779137"/>
                  <a:pt x="6292448" y="7094224"/>
                </a:cubicBezTo>
                <a:close/>
                <a:moveTo>
                  <a:pt x="6537786" y="6099666"/>
                </a:moveTo>
                <a:cubicBezTo>
                  <a:pt x="6525878" y="6106438"/>
                  <a:pt x="6513902" y="6113616"/>
                  <a:pt x="6501858" y="6120523"/>
                </a:cubicBezTo>
                <a:cubicBezTo>
                  <a:pt x="6504632" y="6109756"/>
                  <a:pt x="6507339" y="6098989"/>
                  <a:pt x="6510045" y="6088154"/>
                </a:cubicBezTo>
                <a:cubicBezTo>
                  <a:pt x="6520330" y="6079710"/>
                  <a:pt x="6530567" y="6071177"/>
                  <a:pt x="6540763" y="6062557"/>
                </a:cubicBezTo>
                <a:cubicBezTo>
                  <a:pt x="6539816" y="6074949"/>
                  <a:pt x="6538869" y="6087274"/>
                  <a:pt x="6537786" y="6099666"/>
                </a:cubicBezTo>
                <a:close/>
                <a:moveTo>
                  <a:pt x="6511398" y="6082669"/>
                </a:moveTo>
                <a:cubicBezTo>
                  <a:pt x="6513564" y="6073866"/>
                  <a:pt x="6515661" y="6065130"/>
                  <a:pt x="6517691" y="6056327"/>
                </a:cubicBezTo>
                <a:cubicBezTo>
                  <a:pt x="6526264" y="6046441"/>
                  <a:pt x="6534741" y="6036534"/>
                  <a:pt x="6543131" y="6026599"/>
                </a:cubicBezTo>
                <a:cubicBezTo>
                  <a:pt x="6542543" y="6037028"/>
                  <a:pt x="6541866" y="6047456"/>
                  <a:pt x="6541101" y="6057885"/>
                </a:cubicBezTo>
                <a:close/>
                <a:moveTo>
                  <a:pt x="7996890" y="4256141"/>
                </a:moveTo>
                <a:cubicBezTo>
                  <a:pt x="7756762" y="5029400"/>
                  <a:pt x="7238007" y="5685706"/>
                  <a:pt x="6541372" y="6097567"/>
                </a:cubicBezTo>
                <a:cubicBezTo>
                  <a:pt x="6542455" y="6084904"/>
                  <a:pt x="6543402" y="6072173"/>
                  <a:pt x="6544349" y="6059510"/>
                </a:cubicBezTo>
                <a:cubicBezTo>
                  <a:pt x="7924628" y="4887716"/>
                  <a:pt x="8094388" y="2817935"/>
                  <a:pt x="6923588" y="1436530"/>
                </a:cubicBezTo>
                <a:cubicBezTo>
                  <a:pt x="6102410" y="467695"/>
                  <a:pt x="4796084" y="60595"/>
                  <a:pt x="3570525" y="391604"/>
                </a:cubicBezTo>
                <a:cubicBezTo>
                  <a:pt x="3355858" y="449455"/>
                  <a:pt x="3147700" y="529238"/>
                  <a:pt x="2949332" y="629697"/>
                </a:cubicBezTo>
                <a:cubicBezTo>
                  <a:pt x="3078151" y="536401"/>
                  <a:pt x="3213534" y="452530"/>
                  <a:pt x="3354417" y="378738"/>
                </a:cubicBezTo>
                <a:cubicBezTo>
                  <a:pt x="4954200" y="-461690"/>
                  <a:pt x="6931842" y="154966"/>
                  <a:pt x="7771512" y="1756080"/>
                </a:cubicBezTo>
                <a:cubicBezTo>
                  <a:pt x="8175514" y="2526373"/>
                  <a:pt x="8256639" y="3425918"/>
                  <a:pt x="7996890" y="4256141"/>
                </a:cubicBezTo>
                <a:close/>
              </a:path>
            </a:pathLst>
          </a:custGeom>
          <a:gradFill flip="none" rotWithShape="1">
            <a:gsLst>
              <a:gs pos="0">
                <a:srgbClr val="FF6D70"/>
              </a:gs>
              <a:gs pos="66000">
                <a:srgbClr val="2C1F56"/>
              </a:gs>
              <a:gs pos="26000">
                <a:schemeClr val="accent1">
                  <a:lumMod val="45000"/>
                  <a:lumOff val="55000"/>
                </a:schemeClr>
              </a:gs>
            </a:gsLst>
            <a:lin ang="0" scaled="0"/>
            <a:tileRect/>
          </a:gradFill>
          <a:ln w="6758" cap="flat">
            <a:noFill/>
            <a:prstDash val="solid"/>
            <a:miter/>
          </a:ln>
        </p:spPr>
        <p:txBody>
          <a:bodyPr rtlCol="0" anchor="ctr"/>
          <a:lstStyle/>
          <a:p>
            <a:endParaRPr lang="en-US" sz="2400"/>
          </a:p>
        </p:txBody>
      </p:sp>
      <p:sp>
        <p:nvSpPr>
          <p:cNvPr id="2" name="Title 1">
            <a:extLst>
              <a:ext uri="{FF2B5EF4-FFF2-40B4-BE49-F238E27FC236}">
                <a16:creationId xmlns:a16="http://schemas.microsoft.com/office/drawing/2014/main" id="{1731944A-0D3C-514A-A98E-4FD741224354}"/>
              </a:ext>
            </a:extLst>
          </p:cNvPr>
          <p:cNvSpPr>
            <a:spLocks noGrp="1"/>
          </p:cNvSpPr>
          <p:nvPr>
            <p:ph type="title" hasCustomPrompt="1"/>
          </p:nvPr>
        </p:nvSpPr>
        <p:spPr>
          <a:xfrm>
            <a:off x="508000" y="365677"/>
            <a:ext cx="11176000" cy="517001"/>
          </a:xfrm>
        </p:spPr>
        <p:txBody>
          <a:bodyPr/>
          <a:lstStyle>
            <a:lvl1pPr>
              <a:defRPr>
                <a:solidFill>
                  <a:schemeClr val="bg1"/>
                </a:solidFill>
              </a:defRPr>
            </a:lvl1pPr>
          </a:lstStyle>
          <a:p>
            <a:r>
              <a:rPr lang="en-US" dirty="0"/>
              <a:t>Click to edit master title style</a:t>
            </a:r>
          </a:p>
        </p:txBody>
      </p:sp>
      <p:sp>
        <p:nvSpPr>
          <p:cNvPr id="7" name="Date Placeholder 2">
            <a:extLst>
              <a:ext uri="{FF2B5EF4-FFF2-40B4-BE49-F238E27FC236}">
                <a16:creationId xmlns:a16="http://schemas.microsoft.com/office/drawing/2014/main" id="{B1BE08C3-486D-4D29-A4CC-55058E6CAD49}"/>
              </a:ext>
            </a:extLst>
          </p:cNvPr>
          <p:cNvSpPr>
            <a:spLocks noGrp="1"/>
          </p:cNvSpPr>
          <p:nvPr>
            <p:ph type="dt" sz="half" idx="10"/>
          </p:nvPr>
        </p:nvSpPr>
        <p:spPr>
          <a:xfrm>
            <a:off x="508000" y="6356351"/>
            <a:ext cx="814269" cy="365125"/>
          </a:xfrm>
        </p:spPr>
        <p:txBody>
          <a:bodyPr/>
          <a:lstStyle>
            <a:lvl1pPr>
              <a:defRPr>
                <a:solidFill>
                  <a:schemeClr val="bg1"/>
                </a:solidFill>
              </a:defRPr>
            </a:lvl1pPr>
          </a:lstStyle>
          <a:p>
            <a:fld id="{B01F1F41-2107-2B4A-AFD3-0A9C893A5C18}" type="datetimeFigureOut">
              <a:rPr lang="en-US" smtClean="0"/>
              <a:pPr/>
              <a:t>7/16/2021</a:t>
            </a:fld>
            <a:endParaRPr lang="en-US"/>
          </a:p>
        </p:txBody>
      </p:sp>
      <p:sp>
        <p:nvSpPr>
          <p:cNvPr id="9" name="Footer Placeholder 3">
            <a:extLst>
              <a:ext uri="{FF2B5EF4-FFF2-40B4-BE49-F238E27FC236}">
                <a16:creationId xmlns:a16="http://schemas.microsoft.com/office/drawing/2014/main" id="{4FD8289E-60DA-49A2-ACD5-817042829A10}"/>
              </a:ext>
            </a:extLst>
          </p:cNvPr>
          <p:cNvSpPr>
            <a:spLocks noGrp="1"/>
          </p:cNvSpPr>
          <p:nvPr>
            <p:ph type="ftr" sz="quarter" idx="11"/>
          </p:nvPr>
        </p:nvSpPr>
        <p:spPr>
          <a:xfrm>
            <a:off x="1340532" y="6356351"/>
            <a:ext cx="2823179" cy="365125"/>
          </a:xfrm>
        </p:spPr>
        <p:txBody>
          <a:bodyPr/>
          <a:lstStyle/>
          <a:p>
            <a:r>
              <a:rPr lang="en-US">
                <a:solidFill>
                  <a:schemeClr val="tx2"/>
                </a:solidFill>
              </a:rPr>
              <a:t>|</a:t>
            </a:r>
            <a:r>
              <a:rPr lang="en-US"/>
              <a:t>  </a:t>
            </a:r>
            <a:r>
              <a:rPr lang="en-US">
                <a:solidFill>
                  <a:schemeClr val="bg1"/>
                </a:solidFill>
              </a:rPr>
              <a:t>Footer</a:t>
            </a:r>
          </a:p>
        </p:txBody>
      </p:sp>
      <p:pic>
        <p:nvPicPr>
          <p:cNvPr id="11" name="Graphic 10">
            <a:extLst>
              <a:ext uri="{FF2B5EF4-FFF2-40B4-BE49-F238E27FC236}">
                <a16:creationId xmlns:a16="http://schemas.microsoft.com/office/drawing/2014/main" id="{B1B20BC1-BF3E-48DF-8D38-782E26BEB7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287995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Engage CTA">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10" name="Text Placeholder 9">
            <a:extLst>
              <a:ext uri="{FF2B5EF4-FFF2-40B4-BE49-F238E27FC236}">
                <a16:creationId xmlns:a16="http://schemas.microsoft.com/office/drawing/2014/main" id="{DB6FC22D-6295-4A49-BC29-503E7C2A5F37}"/>
              </a:ext>
            </a:extLst>
          </p:cNvPr>
          <p:cNvSpPr>
            <a:spLocks noGrp="1"/>
          </p:cNvSpPr>
          <p:nvPr>
            <p:ph type="body" sz="quarter" idx="10"/>
          </p:nvPr>
        </p:nvSpPr>
        <p:spPr>
          <a:xfrm>
            <a:off x="5723348" y="736600"/>
            <a:ext cx="5960653" cy="4150784"/>
          </a:xfrm>
        </p:spPr>
        <p:txBody>
          <a:bodyPr>
            <a:normAutofit/>
          </a:bodyPr>
          <a:lstStyle>
            <a:lvl1pPr marL="0" indent="383108">
              <a:spcAft>
                <a:spcPts val="2400"/>
              </a:spcAft>
              <a:buFontTx/>
              <a:buBlip>
                <a:blip r:embed="rId3"/>
              </a:buBlip>
              <a:tabLst/>
              <a:defRPr sz="2133">
                <a:solidFill>
                  <a:schemeClr val="accent5"/>
                </a:solidFill>
                <a:latin typeface="+mn-lt"/>
              </a:defRPr>
            </a:lvl1pPr>
            <a:lvl2pPr marL="0" indent="383108">
              <a:spcAft>
                <a:spcPts val="2400"/>
              </a:spcAft>
              <a:buFontTx/>
              <a:buBlip>
                <a:blip r:embed="rId3"/>
              </a:buBlip>
              <a:tabLst/>
              <a:defRPr sz="2133">
                <a:solidFill>
                  <a:schemeClr val="accent5"/>
                </a:solidFill>
                <a:latin typeface="+mn-lt"/>
              </a:defRPr>
            </a:lvl2pPr>
            <a:lvl3pPr marL="0" indent="383108">
              <a:spcAft>
                <a:spcPts val="2400"/>
              </a:spcAft>
              <a:buFontTx/>
              <a:buBlip>
                <a:blip r:embed="rId3"/>
              </a:buBlip>
              <a:tabLst/>
              <a:defRPr sz="2133">
                <a:solidFill>
                  <a:schemeClr val="accent5"/>
                </a:solidFill>
                <a:latin typeface="+mn-lt"/>
              </a:defRPr>
            </a:lvl3pPr>
            <a:lvl4pPr marL="0" indent="383108">
              <a:spcAft>
                <a:spcPts val="2400"/>
              </a:spcAft>
              <a:buFontTx/>
              <a:buBlip>
                <a:blip r:embed="rId3"/>
              </a:buBlip>
              <a:tabLst/>
              <a:defRPr sz="2133">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353350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178057721"/>
      </p:ext>
    </p:extLst>
  </p:cSld>
  <p:clrMapOvr>
    <a:masterClrMapping/>
  </p:clrMapOvr>
  <p:transition spd="slow">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6" y="5958226"/>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485626520"/>
      </p:ext>
    </p:extLst>
  </p:cSld>
  <p:clrMapOvr>
    <a:masterClrMapping/>
  </p:clrMapOvr>
  <p:transition spd="slow">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Titl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1" y="405548"/>
            <a:ext cx="11175769" cy="1325563"/>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65E20262-CF46-294D-8B24-37A3ABF75D19}"/>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4B8C3E54-4F02-A04A-9F4E-41E9403DE5C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9" name="Graphic 61">
              <a:extLst>
                <a:ext uri="{FF2B5EF4-FFF2-40B4-BE49-F238E27FC236}">
                  <a16:creationId xmlns:a16="http://schemas.microsoft.com/office/drawing/2014/main" id="{D2717489-D0A9-AB41-95B2-7EF5BD67BB1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318221807"/>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Divid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32038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ustomer Lis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cxnSp>
        <p:nvCxnSpPr>
          <p:cNvPr id="4" name="Straight Connector 3"/>
          <p:cNvCxnSpPr/>
          <p:nvPr/>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72F1D58F-68FC-3A46-9534-23F71B1A402A}"/>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29" name="Text Placeholder 5">
            <a:extLst>
              <a:ext uri="{FF2B5EF4-FFF2-40B4-BE49-F238E27FC236}">
                <a16:creationId xmlns:a16="http://schemas.microsoft.com/office/drawing/2014/main" id="{11267EB9-2443-FF4C-9C8E-6EE8F23176D8}"/>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0" name="Text Placeholder 5">
            <a:extLst>
              <a:ext uri="{FF2B5EF4-FFF2-40B4-BE49-F238E27FC236}">
                <a16:creationId xmlns:a16="http://schemas.microsoft.com/office/drawing/2014/main" id="{07A48080-241B-6F41-AE40-3D3D08F9C167}"/>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1" name="Text Placeholder 5">
            <a:extLst>
              <a:ext uri="{FF2B5EF4-FFF2-40B4-BE49-F238E27FC236}">
                <a16:creationId xmlns:a16="http://schemas.microsoft.com/office/drawing/2014/main" id="{540C1323-E3B3-0147-BE2D-D60B3847E527}"/>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F688B9EF-B595-1241-A0AA-49B6F2F6D2D5}"/>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3" name="Text Placeholder 5">
            <a:extLst>
              <a:ext uri="{FF2B5EF4-FFF2-40B4-BE49-F238E27FC236}">
                <a16:creationId xmlns:a16="http://schemas.microsoft.com/office/drawing/2014/main" id="{709B8BA3-FC5D-D14E-BA30-6603F9D4F110}"/>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accent5"/>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Tree>
    <p:extLst>
      <p:ext uri="{BB962C8B-B14F-4D97-AF65-F5344CB8AC3E}">
        <p14:creationId xmlns:p14="http://schemas.microsoft.com/office/powerpoint/2010/main" val="562115128"/>
      </p:ext>
    </p:extLst>
  </p:cSld>
  <p:clrMapOvr>
    <a:masterClrMapping/>
  </p:clrMapOvr>
  <p:transition spd="slow">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hree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17" name="Text Placeholder 5">
            <a:extLst>
              <a:ext uri="{FF2B5EF4-FFF2-40B4-BE49-F238E27FC236}">
                <a16:creationId xmlns:a16="http://schemas.microsoft.com/office/drawing/2014/main" id="{8177294B-20F5-9944-8235-D9BC3472029B}"/>
              </a:ext>
            </a:extLst>
          </p:cNvPr>
          <p:cNvSpPr>
            <a:spLocks noGrp="1"/>
          </p:cNvSpPr>
          <p:nvPr>
            <p:ph type="body" sz="quarter" idx="10" hasCustomPrompt="1"/>
          </p:nvPr>
        </p:nvSpPr>
        <p:spPr>
          <a:xfrm>
            <a:off x="50800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0" name="Text Placeholder 5">
            <a:extLst>
              <a:ext uri="{FF2B5EF4-FFF2-40B4-BE49-F238E27FC236}">
                <a16:creationId xmlns:a16="http://schemas.microsoft.com/office/drawing/2014/main" id="{16C83BD2-BF74-2E4E-9118-BF16B37E96A0}"/>
              </a:ext>
            </a:extLst>
          </p:cNvPr>
          <p:cNvSpPr>
            <a:spLocks noGrp="1"/>
          </p:cNvSpPr>
          <p:nvPr>
            <p:ph type="body" sz="quarter" idx="12" hasCustomPrompt="1"/>
          </p:nvPr>
        </p:nvSpPr>
        <p:spPr>
          <a:xfrm>
            <a:off x="4441373"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1" name="Text Placeholder 5">
            <a:extLst>
              <a:ext uri="{FF2B5EF4-FFF2-40B4-BE49-F238E27FC236}">
                <a16:creationId xmlns:a16="http://schemas.microsoft.com/office/drawing/2014/main" id="{AD62FC8A-5158-0848-B0E3-3DB4E95B21C7}"/>
              </a:ext>
            </a:extLst>
          </p:cNvPr>
          <p:cNvSpPr>
            <a:spLocks noGrp="1"/>
          </p:cNvSpPr>
          <p:nvPr>
            <p:ph type="body" sz="quarter" idx="14" hasCustomPrompt="1"/>
          </p:nvPr>
        </p:nvSpPr>
        <p:spPr>
          <a:xfrm>
            <a:off x="8370512" y="2125801"/>
            <a:ext cx="3309257" cy="3669675"/>
          </a:xfrm>
          <a:prstGeom prst="rect">
            <a:avLst/>
          </a:prstGeom>
          <a:ln w="34136" cap="flat">
            <a:gradFill flip="none" rotWithShape="1">
              <a:gsLst>
                <a:gs pos="0">
                  <a:srgbClr val="1F558C">
                    <a:alpha val="50028"/>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Tree>
    <p:extLst>
      <p:ext uri="{BB962C8B-B14F-4D97-AF65-F5344CB8AC3E}">
        <p14:creationId xmlns:p14="http://schemas.microsoft.com/office/powerpoint/2010/main" val="286693989"/>
      </p:ext>
    </p:extLst>
  </p:cSld>
  <p:clrMapOvr>
    <a:masterClrMapping/>
  </p:clrMapOvr>
  <p:transition spd="slow">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Four Categorie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useBgFill="1">
        <p:nvSpPr>
          <p:cNvPr id="23" name="Text Placeholder 5">
            <a:extLst>
              <a:ext uri="{FF2B5EF4-FFF2-40B4-BE49-F238E27FC236}">
                <a16:creationId xmlns:a16="http://schemas.microsoft.com/office/drawing/2014/main" id="{2E2E8FF9-8E70-E84B-8E15-2BFB71256161}"/>
              </a:ext>
            </a:extLst>
          </p:cNvPr>
          <p:cNvSpPr>
            <a:spLocks noGrp="1"/>
          </p:cNvSpPr>
          <p:nvPr>
            <p:ph type="body" sz="quarter" idx="22" hasCustomPrompt="1"/>
          </p:nvPr>
        </p:nvSpPr>
        <p:spPr>
          <a:xfrm>
            <a:off x="617935"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dirty="0"/>
              <a:t>Click to edit master text styles</a:t>
            </a:r>
          </a:p>
        </p:txBody>
      </p:sp>
      <p:sp useBgFill="1">
        <p:nvSpPr>
          <p:cNvPr id="24" name="Text Placeholder 5">
            <a:extLst>
              <a:ext uri="{FF2B5EF4-FFF2-40B4-BE49-F238E27FC236}">
                <a16:creationId xmlns:a16="http://schemas.microsoft.com/office/drawing/2014/main" id="{FACAFBBD-ABF2-874C-B241-027A038A0576}"/>
              </a:ext>
            </a:extLst>
          </p:cNvPr>
          <p:cNvSpPr>
            <a:spLocks noGrp="1"/>
          </p:cNvSpPr>
          <p:nvPr>
            <p:ph type="body" sz="quarter" idx="23" hasCustomPrompt="1"/>
          </p:nvPr>
        </p:nvSpPr>
        <p:spPr>
          <a:xfrm>
            <a:off x="3484250"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5" name="Text Placeholder 5">
            <a:extLst>
              <a:ext uri="{FF2B5EF4-FFF2-40B4-BE49-F238E27FC236}">
                <a16:creationId xmlns:a16="http://schemas.microsoft.com/office/drawing/2014/main" id="{A49045D6-8BFC-B640-A296-C381BA776873}"/>
              </a:ext>
            </a:extLst>
          </p:cNvPr>
          <p:cNvSpPr>
            <a:spLocks noGrp="1"/>
          </p:cNvSpPr>
          <p:nvPr>
            <p:ph type="body" sz="quarter" idx="24" hasCustomPrompt="1"/>
          </p:nvPr>
        </p:nvSpPr>
        <p:spPr>
          <a:xfrm>
            <a:off x="6350564"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 useBgFill="1">
        <p:nvSpPr>
          <p:cNvPr id="26" name="Text Placeholder 5">
            <a:extLst>
              <a:ext uri="{FF2B5EF4-FFF2-40B4-BE49-F238E27FC236}">
                <a16:creationId xmlns:a16="http://schemas.microsoft.com/office/drawing/2014/main" id="{528826DE-8AAC-D043-8029-3310BBA334FC}"/>
              </a:ext>
            </a:extLst>
          </p:cNvPr>
          <p:cNvSpPr>
            <a:spLocks noGrp="1"/>
          </p:cNvSpPr>
          <p:nvPr>
            <p:ph type="body" sz="quarter" idx="25" hasCustomPrompt="1"/>
          </p:nvPr>
        </p:nvSpPr>
        <p:spPr>
          <a:xfrm>
            <a:off x="9228612" y="2125801"/>
            <a:ext cx="2345453" cy="3669675"/>
          </a:xfrm>
          <a:prstGeom prst="rect">
            <a:avLst/>
          </a:prstGeom>
          <a:ln w="34136" cap="flat">
            <a:gradFill flip="none" rotWithShape="1">
              <a:gsLst>
                <a:gs pos="0">
                  <a:srgbClr val="1F558C">
                    <a:alpha val="50457"/>
                  </a:srgbClr>
                </a:gs>
                <a:gs pos="100000">
                  <a:schemeClr val="accent1">
                    <a:lumMod val="40000"/>
                    <a:lumOff val="60000"/>
                  </a:schemeClr>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solidFill>
                  <a:schemeClr val="accent5"/>
                </a:solidFill>
              </a:defRPr>
            </a:lvl1pPr>
          </a:lstStyle>
          <a:p>
            <a:pPr lvl="0" defTabSz="609546"/>
            <a:r>
              <a:rPr lang="en-US"/>
              <a:t>Click to edit master text styles</a:t>
            </a:r>
          </a:p>
        </p:txBody>
      </p:sp>
    </p:spTree>
    <p:extLst>
      <p:ext uri="{BB962C8B-B14F-4D97-AF65-F5344CB8AC3E}">
        <p14:creationId xmlns:p14="http://schemas.microsoft.com/office/powerpoint/2010/main" val="4047301131"/>
      </p:ext>
    </p:extLst>
  </p:cSld>
  <p:clrMapOvr>
    <a:masterClrMapping/>
  </p:clrMapOvr>
  <p:transition spd="slow">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Numbers + Three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chemeClr val="bg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3539017097"/>
      </p:ext>
    </p:extLst>
  </p:cSld>
  <p:clrMapOvr>
    <a:masterClrMapping/>
  </p:clrMapOvr>
  <p:transition spd="slow">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Numbers + Four Stat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1F558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chemeClr val="accent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mn-lt"/>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bg1"/>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Tree>
    <p:extLst>
      <p:ext uri="{BB962C8B-B14F-4D97-AF65-F5344CB8AC3E}">
        <p14:creationId xmlns:p14="http://schemas.microsoft.com/office/powerpoint/2010/main" val="1643937128"/>
      </p:ext>
    </p:extLst>
  </p:cSld>
  <p:clrMapOvr>
    <a:masterClrMapping/>
  </p:clrMapOvr>
  <p:transition spd="slow">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ashell BG">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76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675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ashell BG">
    <p:bg>
      <p:bgPr>
        <a:solidFill>
          <a:schemeClr val="accent5"/>
        </a:solidFill>
        <a:effectLst/>
      </p:bgPr>
    </p:bg>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7E2036F5-128F-7A43-8E3A-F2190B6630C2}"/>
              </a:ext>
            </a:extLst>
          </p:cNvPr>
          <p:cNvGrpSpPr/>
          <p:nvPr userDrawn="1"/>
        </p:nvGrpSpPr>
        <p:grpSpPr>
          <a:xfrm>
            <a:off x="5551891" y="1"/>
            <a:ext cx="7959877" cy="7591636"/>
            <a:chOff x="7994577" y="0"/>
            <a:chExt cx="11462017" cy="10932307"/>
          </a:xfrm>
        </p:grpSpPr>
        <p:grpSp>
          <p:nvGrpSpPr>
            <p:cNvPr id="57" name="Circle">
              <a:extLst>
                <a:ext uri="{FF2B5EF4-FFF2-40B4-BE49-F238E27FC236}">
                  <a16:creationId xmlns:a16="http://schemas.microsoft.com/office/drawing/2014/main" id="{6F4F397A-9318-5A47-AD83-78DD3E6D5143}"/>
                </a:ext>
              </a:extLst>
            </p:cNvPr>
            <p:cNvGrpSpPr/>
            <p:nvPr userDrawn="1"/>
          </p:nvGrpSpPr>
          <p:grpSpPr>
            <a:xfrm>
              <a:off x="9956627" y="1432340"/>
              <a:ext cx="9499967" cy="9499967"/>
              <a:chOff x="5143500" y="742950"/>
              <a:chExt cx="4927600" cy="4927600"/>
            </a:xfrm>
          </p:grpSpPr>
          <p:sp>
            <p:nvSpPr>
              <p:cNvPr id="84" name="Oval 83">
                <a:extLst>
                  <a:ext uri="{FF2B5EF4-FFF2-40B4-BE49-F238E27FC236}">
                    <a16:creationId xmlns:a16="http://schemas.microsoft.com/office/drawing/2014/main" id="{0D2C09A5-66A0-B640-8A89-5D57816B5C37}"/>
                  </a:ext>
                </a:extLst>
              </p:cNvPr>
              <p:cNvSpPr/>
              <p:nvPr/>
            </p:nvSpPr>
            <p:spPr>
              <a:xfrm>
                <a:off x="5143500" y="742950"/>
                <a:ext cx="4927600" cy="4927600"/>
              </a:xfrm>
              <a:prstGeom prst="ellipse">
                <a:avLst/>
              </a:prstGeom>
              <a:blipFill dpi="0" rotWithShape="1">
                <a:blip r:embed="rId2">
                  <a:alphaModFix amt="3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85" name="Oval 84">
                <a:extLst>
                  <a:ext uri="{FF2B5EF4-FFF2-40B4-BE49-F238E27FC236}">
                    <a16:creationId xmlns:a16="http://schemas.microsoft.com/office/drawing/2014/main" id="{655C89A4-E5A5-9D4C-AA66-31192363D984}"/>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58" name="one lump">
              <a:extLst>
                <a:ext uri="{FF2B5EF4-FFF2-40B4-BE49-F238E27FC236}">
                  <a16:creationId xmlns:a16="http://schemas.microsoft.com/office/drawing/2014/main" id="{F18E86AC-3F7C-784F-86E5-16D89E8B552C}"/>
                </a:ext>
              </a:extLst>
            </p:cNvPr>
            <p:cNvGrpSpPr/>
            <p:nvPr userDrawn="1"/>
          </p:nvGrpSpPr>
          <p:grpSpPr>
            <a:xfrm rot="10800000">
              <a:off x="14016662" y="0"/>
              <a:ext cx="3562164" cy="4398387"/>
              <a:chOff x="2328672" y="2862072"/>
              <a:chExt cx="1847682" cy="2281428"/>
            </a:xfrm>
          </p:grpSpPr>
          <p:sp>
            <p:nvSpPr>
              <p:cNvPr id="82" name="Graphic 6" hidden="1">
                <a:extLst>
                  <a:ext uri="{FF2B5EF4-FFF2-40B4-BE49-F238E27FC236}">
                    <a16:creationId xmlns:a16="http://schemas.microsoft.com/office/drawing/2014/main" id="{82593997-1390-A24C-A103-338E3EF489A8}"/>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83" name="Graphic 6">
                <a:extLst>
                  <a:ext uri="{FF2B5EF4-FFF2-40B4-BE49-F238E27FC236}">
                    <a16:creationId xmlns:a16="http://schemas.microsoft.com/office/drawing/2014/main" id="{6B6A9E68-5302-424A-996C-3B21666C57C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59" name="streaks">
              <a:extLst>
                <a:ext uri="{FF2B5EF4-FFF2-40B4-BE49-F238E27FC236}">
                  <a16:creationId xmlns:a16="http://schemas.microsoft.com/office/drawing/2014/main" id="{0829B57B-1785-0149-B41D-82F2BF8A51E1}"/>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67" name="Graphic 2">
                <a:extLst>
                  <a:ext uri="{FF2B5EF4-FFF2-40B4-BE49-F238E27FC236}">
                    <a16:creationId xmlns:a16="http://schemas.microsoft.com/office/drawing/2014/main" id="{C48091C8-64A4-9D4C-B223-8D53BAEDFD6E}"/>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68" name="Graphic 2">
                <a:extLst>
                  <a:ext uri="{FF2B5EF4-FFF2-40B4-BE49-F238E27FC236}">
                    <a16:creationId xmlns:a16="http://schemas.microsoft.com/office/drawing/2014/main" id="{ECD15EB6-231A-7C4E-9AC2-C46EEB8EC948}"/>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69" name="Graphic 2">
                <a:extLst>
                  <a:ext uri="{FF2B5EF4-FFF2-40B4-BE49-F238E27FC236}">
                    <a16:creationId xmlns:a16="http://schemas.microsoft.com/office/drawing/2014/main" id="{1A87F180-2396-3F46-99D3-87F1D2B11DD3}"/>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70" name="Graphic 2">
                <a:extLst>
                  <a:ext uri="{FF2B5EF4-FFF2-40B4-BE49-F238E27FC236}">
                    <a16:creationId xmlns:a16="http://schemas.microsoft.com/office/drawing/2014/main" id="{79B400E3-0228-2A48-ABDC-D738C7AECA47}"/>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71" name="Graphic 2">
                <a:extLst>
                  <a:ext uri="{FF2B5EF4-FFF2-40B4-BE49-F238E27FC236}">
                    <a16:creationId xmlns:a16="http://schemas.microsoft.com/office/drawing/2014/main" id="{0A53F592-E792-FA47-B684-665A671E233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72" name="Graphic 2">
                <a:extLst>
                  <a:ext uri="{FF2B5EF4-FFF2-40B4-BE49-F238E27FC236}">
                    <a16:creationId xmlns:a16="http://schemas.microsoft.com/office/drawing/2014/main" id="{80694FB5-F709-9145-A389-F9C2CF43EAE9}"/>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73" name="Graphic 2">
                <a:extLst>
                  <a:ext uri="{FF2B5EF4-FFF2-40B4-BE49-F238E27FC236}">
                    <a16:creationId xmlns:a16="http://schemas.microsoft.com/office/drawing/2014/main" id="{4D124D94-9075-4E45-A003-D698A4D6ADC4}"/>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74" name="Graphic 2">
                <a:extLst>
                  <a:ext uri="{FF2B5EF4-FFF2-40B4-BE49-F238E27FC236}">
                    <a16:creationId xmlns:a16="http://schemas.microsoft.com/office/drawing/2014/main" id="{1D59CCFD-FB9C-3740-9F94-05222ABF7720}"/>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75" name="Graphic 2">
                <a:extLst>
                  <a:ext uri="{FF2B5EF4-FFF2-40B4-BE49-F238E27FC236}">
                    <a16:creationId xmlns:a16="http://schemas.microsoft.com/office/drawing/2014/main" id="{A50D94FC-CDAB-8541-96C1-7130E4BE394C}"/>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76" name="Graphic 2">
                <a:extLst>
                  <a:ext uri="{FF2B5EF4-FFF2-40B4-BE49-F238E27FC236}">
                    <a16:creationId xmlns:a16="http://schemas.microsoft.com/office/drawing/2014/main" id="{53ECF351-78F4-9F4A-99E7-C5A34EA25EE1}"/>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77" name="Graphic 2">
                <a:extLst>
                  <a:ext uri="{FF2B5EF4-FFF2-40B4-BE49-F238E27FC236}">
                    <a16:creationId xmlns:a16="http://schemas.microsoft.com/office/drawing/2014/main" id="{CF96F85C-3FE9-1642-9F0B-6A98CFC6EA00}"/>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78" name="Graphic 2">
                <a:extLst>
                  <a:ext uri="{FF2B5EF4-FFF2-40B4-BE49-F238E27FC236}">
                    <a16:creationId xmlns:a16="http://schemas.microsoft.com/office/drawing/2014/main" id="{95BC99DF-A478-874D-AF08-EB8DB37EE68E}"/>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79" name="Graphic 2">
                <a:extLst>
                  <a:ext uri="{FF2B5EF4-FFF2-40B4-BE49-F238E27FC236}">
                    <a16:creationId xmlns:a16="http://schemas.microsoft.com/office/drawing/2014/main" id="{E5557E15-F214-4E4D-8C71-5764DCA1E19B}"/>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80" name="Graphic 2">
                <a:extLst>
                  <a:ext uri="{FF2B5EF4-FFF2-40B4-BE49-F238E27FC236}">
                    <a16:creationId xmlns:a16="http://schemas.microsoft.com/office/drawing/2014/main" id="{6235E861-C55E-0F49-8887-2068AB2B9FDC}"/>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81" name="Graphic 2">
                <a:extLst>
                  <a:ext uri="{FF2B5EF4-FFF2-40B4-BE49-F238E27FC236}">
                    <a16:creationId xmlns:a16="http://schemas.microsoft.com/office/drawing/2014/main" id="{94F15CB0-94C4-6B45-9459-77B215B476DC}"/>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0" name="Graphic 56">
              <a:extLst>
                <a:ext uri="{FF2B5EF4-FFF2-40B4-BE49-F238E27FC236}">
                  <a16:creationId xmlns:a16="http://schemas.microsoft.com/office/drawing/2014/main" id="{A146D7CC-8773-B34C-9B46-599AFE1FABC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1" name="Graphic 61">
              <a:extLst>
                <a:ext uri="{FF2B5EF4-FFF2-40B4-BE49-F238E27FC236}">
                  <a16:creationId xmlns:a16="http://schemas.microsoft.com/office/drawing/2014/main" id="{301B2ACB-C05B-C04E-BE15-0576F546C92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62" name="4 Xs">
              <a:extLst>
                <a:ext uri="{FF2B5EF4-FFF2-40B4-BE49-F238E27FC236}">
                  <a16:creationId xmlns:a16="http://schemas.microsoft.com/office/drawing/2014/main" id="{DB050E3C-4B92-B348-B6BD-0215DB9E6E64}"/>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63" name="Graphic 37">
                <a:extLst>
                  <a:ext uri="{FF2B5EF4-FFF2-40B4-BE49-F238E27FC236}">
                    <a16:creationId xmlns:a16="http://schemas.microsoft.com/office/drawing/2014/main" id="{49DCBB61-C991-A843-97B7-6448FD09195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64" name="Graphic 37">
                <a:extLst>
                  <a:ext uri="{FF2B5EF4-FFF2-40B4-BE49-F238E27FC236}">
                    <a16:creationId xmlns:a16="http://schemas.microsoft.com/office/drawing/2014/main" id="{1D3D5D7A-95C6-F847-A257-60BA7CDC76C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65" name="Graphic 37">
                <a:extLst>
                  <a:ext uri="{FF2B5EF4-FFF2-40B4-BE49-F238E27FC236}">
                    <a16:creationId xmlns:a16="http://schemas.microsoft.com/office/drawing/2014/main" id="{895EE3BC-B130-854C-BC3D-A7F4FE30CB4F}"/>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66" name="Graphic 37">
                <a:extLst>
                  <a:ext uri="{FF2B5EF4-FFF2-40B4-BE49-F238E27FC236}">
                    <a16:creationId xmlns:a16="http://schemas.microsoft.com/office/drawing/2014/main" id="{95FEACF9-FB13-D54A-AEBB-4C1F25144E7D}"/>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261224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grpSp>
        <p:nvGrpSpPr>
          <p:cNvPr id="23" name="waves">
            <a:extLst>
              <a:ext uri="{FF2B5EF4-FFF2-40B4-BE49-F238E27FC236}">
                <a16:creationId xmlns:a16="http://schemas.microsoft.com/office/drawing/2014/main" id="{78FF047B-042B-184B-98A9-4D6759BB8D55}"/>
              </a:ext>
            </a:extLst>
          </p:cNvPr>
          <p:cNvGrpSpPr/>
          <p:nvPr userDrawn="1"/>
        </p:nvGrpSpPr>
        <p:grpSpPr>
          <a:xfrm>
            <a:off x="-1566254" y="5170549"/>
            <a:ext cx="17037436" cy="1687452"/>
            <a:chOff x="4253152" y="151074"/>
            <a:chExt cx="6930220" cy="2076330"/>
          </a:xfrm>
        </p:grpSpPr>
        <p:sp>
          <p:nvSpPr>
            <p:cNvPr id="24" name="coral">
              <a:extLst>
                <a:ext uri="{FF2B5EF4-FFF2-40B4-BE49-F238E27FC236}">
                  <a16:creationId xmlns:a16="http://schemas.microsoft.com/office/drawing/2014/main" id="{3B3E6D26-CD9B-EE47-8932-6B0B3B8BF33C}"/>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5" name="green">
              <a:extLst>
                <a:ext uri="{FF2B5EF4-FFF2-40B4-BE49-F238E27FC236}">
                  <a16:creationId xmlns:a16="http://schemas.microsoft.com/office/drawing/2014/main" id="{70A4A9C1-D410-7B49-9F90-4736A2E50A0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3029158571"/>
      </p:ext>
    </p:extLst>
  </p:cSld>
  <p:clrMapOvr>
    <a:masterClrMapping/>
  </p:clrMapOvr>
  <p:transition spd="slow">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0" name="waves">
            <a:extLst>
              <a:ext uri="{FF2B5EF4-FFF2-40B4-BE49-F238E27FC236}">
                <a16:creationId xmlns:a16="http://schemas.microsoft.com/office/drawing/2014/main" id="{39616EB5-6B04-604F-BAC6-C005AC2B886C}"/>
              </a:ext>
            </a:extLst>
          </p:cNvPr>
          <p:cNvGrpSpPr/>
          <p:nvPr userDrawn="1"/>
        </p:nvGrpSpPr>
        <p:grpSpPr>
          <a:xfrm>
            <a:off x="-1566254" y="5170549"/>
            <a:ext cx="17037436" cy="1687452"/>
            <a:chOff x="4253152" y="151074"/>
            <a:chExt cx="6930220" cy="2076330"/>
          </a:xfrm>
        </p:grpSpPr>
        <p:sp>
          <p:nvSpPr>
            <p:cNvPr id="21" name="coral">
              <a:extLst>
                <a:ext uri="{FF2B5EF4-FFF2-40B4-BE49-F238E27FC236}">
                  <a16:creationId xmlns:a16="http://schemas.microsoft.com/office/drawing/2014/main" id="{E3EF3A70-98AF-2E48-BCCD-D3F505097C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4C75630-123C-354A-90FC-64179A7F0B81}"/>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6032549" y="53553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941421710"/>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Divider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371481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5" name="Oval 64">
            <a:extLst>
              <a:ext uri="{FF2B5EF4-FFF2-40B4-BE49-F238E27FC236}">
                <a16:creationId xmlns:a16="http://schemas.microsoft.com/office/drawing/2014/main" id="{A67F92C1-226B-D34B-8F57-77A1E9414682}"/>
              </a:ext>
            </a:extLst>
          </p:cNvPr>
          <p:cNvSpPr/>
          <p:nvPr userDrawn="1"/>
        </p:nvSpPr>
        <p:spPr>
          <a:xfrm>
            <a:off x="6920522" y="976171"/>
            <a:ext cx="6570133" cy="6569803"/>
          </a:xfrm>
          <a:prstGeom prst="ellipse">
            <a:avLst/>
          </a:prstGeom>
          <a:gradFill flip="none" rotWithShape="1">
            <a:gsLst>
              <a:gs pos="0">
                <a:schemeClr val="accent1">
                  <a:lumMod val="40000"/>
                  <a:lumOff val="60000"/>
                  <a:alpha val="0"/>
                </a:schemeClr>
              </a:gs>
              <a:gs pos="100000">
                <a:schemeClr val="accent1">
                  <a:lumMod val="50000"/>
                  <a:alpha val="5358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44" name="Group 43">
            <a:extLst>
              <a:ext uri="{FF2B5EF4-FFF2-40B4-BE49-F238E27FC236}">
                <a16:creationId xmlns:a16="http://schemas.microsoft.com/office/drawing/2014/main" id="{88F3427C-E092-A140-8D3F-62B33A21BA3A}"/>
              </a:ext>
            </a:extLst>
          </p:cNvPr>
          <p:cNvGrpSpPr/>
          <p:nvPr userDrawn="1"/>
        </p:nvGrpSpPr>
        <p:grpSpPr>
          <a:xfrm>
            <a:off x="10347568" y="634359"/>
            <a:ext cx="881075" cy="705899"/>
            <a:chOff x="14900230" y="913506"/>
            <a:chExt cx="1268724" cy="1016526"/>
          </a:xfrm>
          <a:solidFill>
            <a:schemeClr val="accent5">
              <a:alpha val="15223"/>
            </a:schemeClr>
          </a:solidFill>
        </p:grpSpPr>
        <p:sp>
          <p:nvSpPr>
            <p:cNvPr id="58" name="Freeform 57">
              <a:extLst>
                <a:ext uri="{FF2B5EF4-FFF2-40B4-BE49-F238E27FC236}">
                  <a16:creationId xmlns:a16="http://schemas.microsoft.com/office/drawing/2014/main" id="{C1940409-CEC1-1549-90AF-3D9684535656}"/>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59" name="Freeform 58">
              <a:extLst>
                <a:ext uri="{FF2B5EF4-FFF2-40B4-BE49-F238E27FC236}">
                  <a16:creationId xmlns:a16="http://schemas.microsoft.com/office/drawing/2014/main" id="{4DC37843-7C17-F249-B0B1-0A8304D23720}"/>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60" name="Freeform 59">
              <a:extLst>
                <a:ext uri="{FF2B5EF4-FFF2-40B4-BE49-F238E27FC236}">
                  <a16:creationId xmlns:a16="http://schemas.microsoft.com/office/drawing/2014/main" id="{70C2FA0D-385E-8348-9EEC-BFBFDD1E5245}"/>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32" name="waves">
            <a:extLst>
              <a:ext uri="{FF2B5EF4-FFF2-40B4-BE49-F238E27FC236}">
                <a16:creationId xmlns:a16="http://schemas.microsoft.com/office/drawing/2014/main" id="{B3697C6D-79F7-AC41-BFF3-CCAEC86A9EF9}"/>
              </a:ext>
            </a:extLst>
          </p:cNvPr>
          <p:cNvGrpSpPr/>
          <p:nvPr userDrawn="1"/>
        </p:nvGrpSpPr>
        <p:grpSpPr>
          <a:xfrm>
            <a:off x="6096001" y="4542732"/>
            <a:ext cx="7779727" cy="2330729"/>
            <a:chOff x="4253152" y="151074"/>
            <a:chExt cx="6930220" cy="2076330"/>
          </a:xfrm>
        </p:grpSpPr>
        <p:sp>
          <p:nvSpPr>
            <p:cNvPr id="33" name="coral">
              <a:extLst>
                <a:ext uri="{FF2B5EF4-FFF2-40B4-BE49-F238E27FC236}">
                  <a16:creationId xmlns:a16="http://schemas.microsoft.com/office/drawing/2014/main" id="{D4BABF9B-7D7A-F042-B042-23A66D30317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4" name="green">
              <a:extLst>
                <a:ext uri="{FF2B5EF4-FFF2-40B4-BE49-F238E27FC236}">
                  <a16:creationId xmlns:a16="http://schemas.microsoft.com/office/drawing/2014/main" id="{33243E7D-BA9B-7F45-AEC0-0F2863FB31C7}"/>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7" name="x group">
            <a:extLst>
              <a:ext uri="{FF2B5EF4-FFF2-40B4-BE49-F238E27FC236}">
                <a16:creationId xmlns:a16="http://schemas.microsoft.com/office/drawing/2014/main" id="{05AFA936-C545-6A4A-B90C-A953E9352147}"/>
              </a:ext>
            </a:extLst>
          </p:cNvPr>
          <p:cNvGrpSpPr/>
          <p:nvPr userDrawn="1"/>
        </p:nvGrpSpPr>
        <p:grpSpPr>
          <a:xfrm>
            <a:off x="5800321" y="5558584"/>
            <a:ext cx="1731668" cy="951920"/>
            <a:chOff x="8352309" y="8004618"/>
            <a:chExt cx="2493557" cy="1370809"/>
          </a:xfrm>
          <a:solidFill>
            <a:schemeClr val="accent5">
              <a:alpha val="15000"/>
            </a:schemeClr>
          </a:solidFill>
        </p:grpSpPr>
        <p:sp>
          <p:nvSpPr>
            <p:cNvPr id="51" name="Graphic 37">
              <a:extLst>
                <a:ext uri="{FF2B5EF4-FFF2-40B4-BE49-F238E27FC236}">
                  <a16:creationId xmlns:a16="http://schemas.microsoft.com/office/drawing/2014/main" id="{DD3283B4-864E-594B-8F9A-5F48D7FBE39D}"/>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52" name="Graphic 37">
              <a:extLst>
                <a:ext uri="{FF2B5EF4-FFF2-40B4-BE49-F238E27FC236}">
                  <a16:creationId xmlns:a16="http://schemas.microsoft.com/office/drawing/2014/main" id="{418BCBEB-890E-9243-B3C9-36895F32DF41}"/>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53" name="Graphic 37">
              <a:extLst>
                <a:ext uri="{FF2B5EF4-FFF2-40B4-BE49-F238E27FC236}">
                  <a16:creationId xmlns:a16="http://schemas.microsoft.com/office/drawing/2014/main" id="{6193150E-70A5-E045-9908-FE1CC5413FEC}"/>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54" name="Graphic 37">
              <a:extLst>
                <a:ext uri="{FF2B5EF4-FFF2-40B4-BE49-F238E27FC236}">
                  <a16:creationId xmlns:a16="http://schemas.microsoft.com/office/drawing/2014/main" id="{5C13C9E3-5FB7-9A41-B3D1-AEA64B16ED23}"/>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0" name="Leaner">
            <a:extLst>
              <a:ext uri="{FF2B5EF4-FFF2-40B4-BE49-F238E27FC236}">
                <a16:creationId xmlns:a16="http://schemas.microsoft.com/office/drawing/2014/main" id="{FAE98D69-9F0F-9A4B-AB29-4B998E34CFFD}"/>
              </a:ext>
            </a:extLst>
          </p:cNvPr>
          <p:cNvSpPr/>
          <p:nvPr userDrawn="1"/>
        </p:nvSpPr>
        <p:spPr>
          <a:xfrm>
            <a:off x="9128101" y="2641373"/>
            <a:ext cx="3063903" cy="4216456"/>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grpSp>
        <p:nvGrpSpPr>
          <p:cNvPr id="2" name="x group">
            <a:extLst>
              <a:ext uri="{FF2B5EF4-FFF2-40B4-BE49-F238E27FC236}">
                <a16:creationId xmlns:a16="http://schemas.microsoft.com/office/drawing/2014/main" id="{E161DCFD-4A3C-8E45-BC44-DDC3F8156193}"/>
              </a:ext>
            </a:extLst>
          </p:cNvPr>
          <p:cNvGrpSpPr/>
          <p:nvPr userDrawn="1"/>
        </p:nvGrpSpPr>
        <p:grpSpPr>
          <a:xfrm>
            <a:off x="10839923" y="3223803"/>
            <a:ext cx="932751" cy="740596"/>
            <a:chOff x="15609207" y="4642424"/>
            <a:chExt cx="1343137" cy="1066493"/>
          </a:xfrm>
        </p:grpSpPr>
        <p:sp>
          <p:nvSpPr>
            <p:cNvPr id="48" name="Graphic 37">
              <a:extLst>
                <a:ext uri="{FF2B5EF4-FFF2-40B4-BE49-F238E27FC236}">
                  <a16:creationId xmlns:a16="http://schemas.microsoft.com/office/drawing/2014/main" id="{3974826D-A538-F14B-818F-3385232E6703}"/>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9" name="Graphic 37">
              <a:extLst>
                <a:ext uri="{FF2B5EF4-FFF2-40B4-BE49-F238E27FC236}">
                  <a16:creationId xmlns:a16="http://schemas.microsoft.com/office/drawing/2014/main" id="{15237D61-59AE-2F4B-94CB-8314E55CDC53}"/>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50" name="Graphic 37">
              <a:extLst>
                <a:ext uri="{FF2B5EF4-FFF2-40B4-BE49-F238E27FC236}">
                  <a16:creationId xmlns:a16="http://schemas.microsoft.com/office/drawing/2014/main" id="{6C65F2DB-260E-6643-BBB0-74F8B0F6B0A9}"/>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281484379"/>
      </p:ext>
    </p:extLst>
  </p:cSld>
  <p:clrMapOvr>
    <a:masterClrMapping/>
  </p:clrMapOvr>
  <p:transition spd="slow">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8" name="waves">
            <a:extLst>
              <a:ext uri="{FF2B5EF4-FFF2-40B4-BE49-F238E27FC236}">
                <a16:creationId xmlns:a16="http://schemas.microsoft.com/office/drawing/2014/main" id="{E555CF5C-748A-CE43-8182-BD26B45F50E8}"/>
              </a:ext>
            </a:extLst>
          </p:cNvPr>
          <p:cNvGrpSpPr/>
          <p:nvPr userDrawn="1"/>
        </p:nvGrpSpPr>
        <p:grpSpPr>
          <a:xfrm>
            <a:off x="6096001" y="4542732"/>
            <a:ext cx="7779727" cy="2330729"/>
            <a:chOff x="4253152" y="151074"/>
            <a:chExt cx="6930220" cy="2076330"/>
          </a:xfrm>
        </p:grpSpPr>
        <p:sp>
          <p:nvSpPr>
            <p:cNvPr id="49" name="coral">
              <a:extLst>
                <a:ext uri="{FF2B5EF4-FFF2-40B4-BE49-F238E27FC236}">
                  <a16:creationId xmlns:a16="http://schemas.microsoft.com/office/drawing/2014/main" id="{DED7FFEF-61C3-444A-B7CB-C47A60D8543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50" name="green">
              <a:extLst>
                <a:ext uri="{FF2B5EF4-FFF2-40B4-BE49-F238E27FC236}">
                  <a16:creationId xmlns:a16="http://schemas.microsoft.com/office/drawing/2014/main" id="{129EAA55-280A-E044-A52E-E0E15738E950}"/>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6" name="Group 45">
            <a:extLst>
              <a:ext uri="{FF2B5EF4-FFF2-40B4-BE49-F238E27FC236}">
                <a16:creationId xmlns:a16="http://schemas.microsoft.com/office/drawing/2014/main" id="{46A6346B-7DAE-1C4D-8DE2-EACC5D88565B}"/>
              </a:ext>
            </a:extLst>
          </p:cNvPr>
          <p:cNvGrpSpPr/>
          <p:nvPr userDrawn="1"/>
        </p:nvGrpSpPr>
        <p:grpSpPr>
          <a:xfrm>
            <a:off x="5800320" y="174"/>
            <a:ext cx="6391683" cy="6857657"/>
            <a:chOff x="8352309" y="248"/>
            <a:chExt cx="9203857" cy="9875345"/>
          </a:xfrm>
        </p:grpSpPr>
        <p:sp>
          <p:nvSpPr>
            <p:cNvPr id="22" name="Leaner">
              <a:extLst>
                <a:ext uri="{FF2B5EF4-FFF2-40B4-BE49-F238E27FC236}">
                  <a16:creationId xmlns:a16="http://schemas.microsoft.com/office/drawing/2014/main" id="{83721039-05D0-1146-A528-B3E736CD4F1C}"/>
                </a:ext>
              </a:extLst>
            </p:cNvPr>
            <p:cNvSpPr/>
            <p:nvPr userDrawn="1"/>
          </p:nvSpPr>
          <p:spPr>
            <a:xfrm>
              <a:off x="13144226" y="3803701"/>
              <a:ext cx="4411940" cy="6071892"/>
            </a:xfrm>
            <a:custGeom>
              <a:avLst/>
              <a:gdLst>
                <a:gd name="connsiteX0" fmla="*/ 0 w 3227122"/>
                <a:gd name="connsiteY0" fmla="*/ 4438775 h 4441297"/>
                <a:gd name="connsiteX1" fmla="*/ 828359 w 3227122"/>
                <a:gd name="connsiteY1" fmla="*/ 714911 h 4441297"/>
                <a:gd name="connsiteX2" fmla="*/ 1719342 w 3227122"/>
                <a:gd name="connsiteY2" fmla="*/ 0 h 4441297"/>
                <a:gd name="connsiteX3" fmla="*/ 3227123 w 3227122"/>
                <a:gd name="connsiteY3" fmla="*/ 0 h 4441297"/>
                <a:gd name="connsiteX4" fmla="*/ 3227123 w 3227122"/>
                <a:gd name="connsiteY4" fmla="*/ 4441298 h 4441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7122" h="4441297">
                  <a:moveTo>
                    <a:pt x="0" y="4438775"/>
                  </a:moveTo>
                  <a:lnTo>
                    <a:pt x="828359" y="714911"/>
                  </a:lnTo>
                  <a:cubicBezTo>
                    <a:pt x="921159" y="297197"/>
                    <a:pt x="1291548" y="0"/>
                    <a:pt x="1719342" y="0"/>
                  </a:cubicBezTo>
                  <a:lnTo>
                    <a:pt x="3227123" y="0"/>
                  </a:lnTo>
                  <a:lnTo>
                    <a:pt x="3227123" y="4441298"/>
                  </a:lnTo>
                  <a:close/>
                </a:path>
              </a:pathLst>
            </a:custGeom>
            <a:gradFill flip="none" rotWithShape="1">
              <a:gsLst>
                <a:gs pos="100000">
                  <a:srgbClr val="1475BA">
                    <a:alpha val="23065"/>
                  </a:srgbClr>
                </a:gs>
                <a:gs pos="0">
                  <a:srgbClr val="1475BA">
                    <a:alpha val="12000"/>
                  </a:srgbClr>
                </a:gs>
              </a:gsLst>
              <a:lin ang="16200000" scaled="1"/>
              <a:tileRect/>
            </a:gradFill>
            <a:ln w="9497" cap="flat">
              <a:noFill/>
              <a:prstDash val="solid"/>
              <a:miter/>
            </a:ln>
          </p:spPr>
          <p:txBody>
            <a:bodyPr rtlCol="0" anchor="ctr"/>
            <a:lstStyle/>
            <a:p>
              <a:endParaRPr lang="en-US" sz="4608"/>
            </a:p>
          </p:txBody>
        </p:sp>
        <p:sp>
          <p:nvSpPr>
            <p:cNvPr id="27" name="Graphic 6">
              <a:extLst>
                <a:ext uri="{FF2B5EF4-FFF2-40B4-BE49-F238E27FC236}">
                  <a16:creationId xmlns:a16="http://schemas.microsoft.com/office/drawing/2014/main" id="{24B07B6C-2ED5-8846-AC61-257D0BEB18BB}"/>
                </a:ext>
              </a:extLst>
            </p:cNvPr>
            <p:cNvSpPr/>
            <p:nvPr userDrawn="1"/>
          </p:nvSpPr>
          <p:spPr>
            <a:xfrm rot="10800000">
              <a:off x="14008676" y="248"/>
              <a:ext cx="3547485" cy="4380263"/>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2">
                <a:alphaModFix amt="10000"/>
                <a:extLst>
                  <a:ext uri="{BEBA8EAE-BF5A-486C-A8C5-ECC9F3942E4B}">
                    <a14:imgProps xmlns:a14="http://schemas.microsoft.com/office/drawing/2010/main">
                      <a14:imgLayer r:embed="rId3">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4608" dirty="0"/>
            </a:p>
          </p:txBody>
        </p:sp>
        <p:grpSp>
          <p:nvGrpSpPr>
            <p:cNvPr id="28" name="Group 27">
              <a:extLst>
                <a:ext uri="{FF2B5EF4-FFF2-40B4-BE49-F238E27FC236}">
                  <a16:creationId xmlns:a16="http://schemas.microsoft.com/office/drawing/2014/main" id="{57235399-C95B-1943-B9EF-860E65AFDD01}"/>
                </a:ext>
              </a:extLst>
            </p:cNvPr>
            <p:cNvGrpSpPr/>
            <p:nvPr userDrawn="1"/>
          </p:nvGrpSpPr>
          <p:grpSpPr>
            <a:xfrm>
              <a:off x="14900230" y="913506"/>
              <a:ext cx="1268724" cy="1016526"/>
              <a:chOff x="14900230" y="913506"/>
              <a:chExt cx="1268724" cy="1016526"/>
            </a:xfrm>
            <a:solidFill>
              <a:schemeClr val="accent5">
                <a:alpha val="15223"/>
              </a:schemeClr>
            </a:solidFill>
          </p:grpSpPr>
          <p:sp>
            <p:nvSpPr>
              <p:cNvPr id="39" name="Freeform 38">
                <a:extLst>
                  <a:ext uri="{FF2B5EF4-FFF2-40B4-BE49-F238E27FC236}">
                    <a16:creationId xmlns:a16="http://schemas.microsoft.com/office/drawing/2014/main" id="{5B5C8F91-AF88-874B-9D3A-24B6B89475B0}"/>
                  </a:ext>
                </a:extLst>
              </p:cNvPr>
              <p:cNvSpPr/>
              <p:nvPr/>
            </p:nvSpPr>
            <p:spPr>
              <a:xfrm>
                <a:off x="14900230" y="1249030"/>
                <a:ext cx="174646" cy="17639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4608"/>
              </a:p>
            </p:txBody>
          </p:sp>
          <p:sp>
            <p:nvSpPr>
              <p:cNvPr id="40" name="Freeform 39">
                <a:extLst>
                  <a:ext uri="{FF2B5EF4-FFF2-40B4-BE49-F238E27FC236}">
                    <a16:creationId xmlns:a16="http://schemas.microsoft.com/office/drawing/2014/main" id="{B6609D64-423C-DC43-BAD9-388F8D5BEB88}"/>
                  </a:ext>
                </a:extLst>
              </p:cNvPr>
              <p:cNvSpPr/>
              <p:nvPr/>
            </p:nvSpPr>
            <p:spPr>
              <a:xfrm>
                <a:off x="15166193" y="1605494"/>
                <a:ext cx="321187" cy="324538"/>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4608"/>
              </a:p>
            </p:txBody>
          </p:sp>
          <p:sp>
            <p:nvSpPr>
              <p:cNvPr id="41" name="Freeform 40">
                <a:extLst>
                  <a:ext uri="{FF2B5EF4-FFF2-40B4-BE49-F238E27FC236}">
                    <a16:creationId xmlns:a16="http://schemas.microsoft.com/office/drawing/2014/main" id="{BD6BAF1C-7522-754B-B806-5C8F99B9050F}"/>
                  </a:ext>
                </a:extLst>
              </p:cNvPr>
              <p:cNvSpPr/>
              <p:nvPr/>
            </p:nvSpPr>
            <p:spPr>
              <a:xfrm>
                <a:off x="15580196" y="913506"/>
                <a:ext cx="588758" cy="594458"/>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4608"/>
              </a:p>
            </p:txBody>
          </p:sp>
        </p:grpSp>
        <p:grpSp>
          <p:nvGrpSpPr>
            <p:cNvPr id="29" name="Group 28">
              <a:extLst>
                <a:ext uri="{FF2B5EF4-FFF2-40B4-BE49-F238E27FC236}">
                  <a16:creationId xmlns:a16="http://schemas.microsoft.com/office/drawing/2014/main" id="{B9821EA1-C321-4246-A6D2-DACB94F87897}"/>
                </a:ext>
              </a:extLst>
            </p:cNvPr>
            <p:cNvGrpSpPr/>
            <p:nvPr userDrawn="1"/>
          </p:nvGrpSpPr>
          <p:grpSpPr>
            <a:xfrm>
              <a:off x="15782242" y="1613278"/>
              <a:ext cx="1036054" cy="2188200"/>
              <a:chOff x="15782242" y="1613278"/>
              <a:chExt cx="1036054" cy="2188200"/>
            </a:xfrm>
          </p:grpSpPr>
          <p:sp>
            <p:nvSpPr>
              <p:cNvPr id="36" name="Graphic 43">
                <a:extLst>
                  <a:ext uri="{FF2B5EF4-FFF2-40B4-BE49-F238E27FC236}">
                    <a16:creationId xmlns:a16="http://schemas.microsoft.com/office/drawing/2014/main" id="{6FD28292-19D6-944A-ADB4-2DC046E6FDCE}"/>
                  </a:ext>
                </a:extLst>
              </p:cNvPr>
              <p:cNvSpPr/>
              <p:nvPr userDrawn="1"/>
            </p:nvSpPr>
            <p:spPr>
              <a:xfrm>
                <a:off x="15782242" y="1613278"/>
                <a:ext cx="225014" cy="2188200"/>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7" name="Graphic 43">
                <a:extLst>
                  <a:ext uri="{FF2B5EF4-FFF2-40B4-BE49-F238E27FC236}">
                    <a16:creationId xmlns:a16="http://schemas.microsoft.com/office/drawing/2014/main" id="{35FAB3DF-38A8-3F43-B269-6CFA1F7B25A6}"/>
                  </a:ext>
                </a:extLst>
              </p:cNvPr>
              <p:cNvSpPr/>
              <p:nvPr userDrawn="1"/>
            </p:nvSpPr>
            <p:spPr>
              <a:xfrm>
                <a:off x="16187762" y="1736380"/>
                <a:ext cx="225014" cy="2065098"/>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sp>
            <p:nvSpPr>
              <p:cNvPr id="38" name="Graphic 43">
                <a:extLst>
                  <a:ext uri="{FF2B5EF4-FFF2-40B4-BE49-F238E27FC236}">
                    <a16:creationId xmlns:a16="http://schemas.microsoft.com/office/drawing/2014/main" id="{59FFEE35-F625-1F42-9CC5-050597A6730D}"/>
                  </a:ext>
                </a:extLst>
              </p:cNvPr>
              <p:cNvSpPr/>
              <p:nvPr userDrawn="1"/>
            </p:nvSpPr>
            <p:spPr>
              <a:xfrm>
                <a:off x="16593280" y="1897677"/>
                <a:ext cx="225016" cy="190380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adFill>
                <a:gsLst>
                  <a:gs pos="100000">
                    <a:srgbClr val="F9F8F6">
                      <a:alpha val="0"/>
                    </a:srgbClr>
                  </a:gs>
                  <a:gs pos="0">
                    <a:srgbClr val="F9F8F6">
                      <a:alpha val="14955"/>
                    </a:srgbClr>
                  </a:gs>
                </a:gsLst>
                <a:lin ang="16200000" scaled="1"/>
              </a:gradFill>
              <a:ln w="6872" cap="flat">
                <a:noFill/>
                <a:prstDash val="solid"/>
                <a:miter/>
              </a:ln>
            </p:spPr>
            <p:txBody>
              <a:bodyPr rtlCol="0" anchor="ctr"/>
              <a:lstStyle/>
              <a:p>
                <a:endParaRPr lang="en-US" sz="4608"/>
              </a:p>
            </p:txBody>
          </p:sp>
        </p:grpSp>
        <p:grpSp>
          <p:nvGrpSpPr>
            <p:cNvPr id="31" name="Group 30">
              <a:extLst>
                <a:ext uri="{FF2B5EF4-FFF2-40B4-BE49-F238E27FC236}">
                  <a16:creationId xmlns:a16="http://schemas.microsoft.com/office/drawing/2014/main" id="{F64662D9-FDD8-D74A-A047-ECE36115525F}"/>
                </a:ext>
              </a:extLst>
            </p:cNvPr>
            <p:cNvGrpSpPr/>
            <p:nvPr userDrawn="1"/>
          </p:nvGrpSpPr>
          <p:grpSpPr>
            <a:xfrm>
              <a:off x="8352309" y="8004618"/>
              <a:ext cx="2493557" cy="1370809"/>
              <a:chOff x="8352309" y="8004618"/>
              <a:chExt cx="2493557" cy="1370809"/>
            </a:xfrm>
            <a:solidFill>
              <a:schemeClr val="accent5">
                <a:alpha val="15000"/>
              </a:schemeClr>
            </a:solidFill>
          </p:grpSpPr>
          <p:sp>
            <p:nvSpPr>
              <p:cNvPr id="32" name="Graphic 37">
                <a:extLst>
                  <a:ext uri="{FF2B5EF4-FFF2-40B4-BE49-F238E27FC236}">
                    <a16:creationId xmlns:a16="http://schemas.microsoft.com/office/drawing/2014/main" id="{5F034B92-D224-3B4E-8094-BAAFB1849982}"/>
                  </a:ext>
                </a:extLst>
              </p:cNvPr>
              <p:cNvSpPr/>
              <p:nvPr/>
            </p:nvSpPr>
            <p:spPr>
              <a:xfrm>
                <a:off x="9672143" y="8208789"/>
                <a:ext cx="1173723" cy="1166638"/>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3" name="Graphic 37">
                <a:extLst>
                  <a:ext uri="{FF2B5EF4-FFF2-40B4-BE49-F238E27FC236}">
                    <a16:creationId xmlns:a16="http://schemas.microsoft.com/office/drawing/2014/main" id="{851A9A68-BCE4-224D-A466-8BD12D9901F4}"/>
                  </a:ext>
                </a:extLst>
              </p:cNvPr>
              <p:cNvSpPr/>
              <p:nvPr/>
            </p:nvSpPr>
            <p:spPr>
              <a:xfrm>
                <a:off x="9087379" y="8004618"/>
                <a:ext cx="614406" cy="61050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4A7F1B2-2F65-2F48-BC9B-B7F22AFAFD8B}"/>
                  </a:ext>
                </a:extLst>
              </p:cNvPr>
              <p:cNvSpPr/>
              <p:nvPr/>
            </p:nvSpPr>
            <p:spPr>
              <a:xfrm>
                <a:off x="8352309" y="8344746"/>
                <a:ext cx="182253" cy="181153"/>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AE6F6364-72CC-584C-B571-B83A9F1D0BE6}"/>
                  </a:ext>
                </a:extLst>
              </p:cNvPr>
              <p:cNvSpPr/>
              <p:nvPr/>
            </p:nvSpPr>
            <p:spPr>
              <a:xfrm>
                <a:off x="8726017" y="8651581"/>
                <a:ext cx="335180" cy="333296"/>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
          <p:nvSpPr>
            <p:cNvPr id="43" name="Graphic 37">
              <a:extLst>
                <a:ext uri="{FF2B5EF4-FFF2-40B4-BE49-F238E27FC236}">
                  <a16:creationId xmlns:a16="http://schemas.microsoft.com/office/drawing/2014/main" id="{51B656EC-CC0C-724C-815C-A302B01D58E5}"/>
                </a:ext>
              </a:extLst>
            </p:cNvPr>
            <p:cNvSpPr/>
            <p:nvPr/>
          </p:nvSpPr>
          <p:spPr>
            <a:xfrm flipV="1">
              <a:off x="16284499" y="4642424"/>
              <a:ext cx="667845" cy="663813"/>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4" name="Graphic 37">
              <a:extLst>
                <a:ext uri="{FF2B5EF4-FFF2-40B4-BE49-F238E27FC236}">
                  <a16:creationId xmlns:a16="http://schemas.microsoft.com/office/drawing/2014/main" id="{2E43EAF9-5A2B-4249-AB20-41EF2B363F05}"/>
                </a:ext>
              </a:extLst>
            </p:cNvPr>
            <p:cNvSpPr/>
            <p:nvPr/>
          </p:nvSpPr>
          <p:spPr>
            <a:xfrm flipV="1">
              <a:off x="15854235" y="5361544"/>
              <a:ext cx="349595" cy="347373"/>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chemeClr val="accent5">
                <a:alpha val="19000"/>
              </a:schemeClr>
            </a:solidFill>
            <a:ln w="6818" cap="flat">
              <a:noFill/>
              <a:prstDash val="solid"/>
              <a:miter/>
            </a:ln>
          </p:spPr>
          <p:txBody>
            <a:bodyPr rtlCol="0" anchor="ctr"/>
            <a:lstStyle/>
            <a:p>
              <a:endParaRPr lang="en-US" sz="4608"/>
            </a:p>
          </p:txBody>
        </p:sp>
        <p:sp>
          <p:nvSpPr>
            <p:cNvPr id="45" name="Graphic 37">
              <a:extLst>
                <a:ext uri="{FF2B5EF4-FFF2-40B4-BE49-F238E27FC236}">
                  <a16:creationId xmlns:a16="http://schemas.microsoft.com/office/drawing/2014/main" id="{D498DEC1-9FCB-A040-B6B6-E1C58389FBE0}"/>
                </a:ext>
              </a:extLst>
            </p:cNvPr>
            <p:cNvSpPr/>
            <p:nvPr/>
          </p:nvSpPr>
          <p:spPr>
            <a:xfrm flipV="1">
              <a:off x="15609207" y="5026167"/>
              <a:ext cx="150887" cy="150040"/>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solidFill>
              <a:schemeClr val="accent5">
                <a:alpha val="19000"/>
              </a:schemeClr>
            </a:solid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70250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Blank Slide Blu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24" name="waves">
            <a:extLst>
              <a:ext uri="{FF2B5EF4-FFF2-40B4-BE49-F238E27FC236}">
                <a16:creationId xmlns:a16="http://schemas.microsoft.com/office/drawing/2014/main" id="{2063CD0F-C9EB-3C44-9748-EA1260C4D8A4}"/>
              </a:ext>
            </a:extLst>
          </p:cNvPr>
          <p:cNvGrpSpPr/>
          <p:nvPr userDrawn="1"/>
        </p:nvGrpSpPr>
        <p:grpSpPr>
          <a:xfrm>
            <a:off x="-1566254" y="5170549"/>
            <a:ext cx="17037436" cy="1687452"/>
            <a:chOff x="4253152" y="151074"/>
            <a:chExt cx="6930220" cy="2076330"/>
          </a:xfrm>
        </p:grpSpPr>
        <p:sp>
          <p:nvSpPr>
            <p:cNvPr id="25" name="coral">
              <a:extLst>
                <a:ext uri="{FF2B5EF4-FFF2-40B4-BE49-F238E27FC236}">
                  <a16:creationId xmlns:a16="http://schemas.microsoft.com/office/drawing/2014/main" id="{E135005D-56A8-C644-9F2A-FE8BF5E183F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6" name="green">
              <a:extLst>
                <a:ext uri="{FF2B5EF4-FFF2-40B4-BE49-F238E27FC236}">
                  <a16:creationId xmlns:a16="http://schemas.microsoft.com/office/drawing/2014/main" id="{26519B29-1185-F047-B6D7-88E348CE352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13389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wave background">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9F543-4184-3E4F-9977-55C81E78063A}"/>
              </a:ext>
            </a:extLst>
          </p:cNvPr>
          <p:cNvGrpSpPr/>
          <p:nvPr userDrawn="1"/>
        </p:nvGrpSpPr>
        <p:grpSpPr>
          <a:xfrm>
            <a:off x="-733314" y="5049600"/>
            <a:ext cx="19125951" cy="1808401"/>
            <a:chOff x="7994577" y="7729729"/>
            <a:chExt cx="9753466" cy="2185140"/>
          </a:xfrm>
        </p:grpSpPr>
        <p:sp>
          <p:nvSpPr>
            <p:cNvPr id="5" name="Graphic 56">
              <a:extLst>
                <a:ext uri="{FF2B5EF4-FFF2-40B4-BE49-F238E27FC236}">
                  <a16:creationId xmlns:a16="http://schemas.microsoft.com/office/drawing/2014/main" id="{D7489825-F018-3B4F-8E18-461B40E9925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 name="Graphic 61">
              <a:extLst>
                <a:ext uri="{FF2B5EF4-FFF2-40B4-BE49-F238E27FC236}">
                  <a16:creationId xmlns:a16="http://schemas.microsoft.com/office/drawing/2014/main" id="{11B6F687-57A9-2742-9150-64E0A457153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43764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Org chart 1 row">
    <p:spTree>
      <p:nvGrpSpPr>
        <p:cNvPr id="1" name=""/>
        <p:cNvGrpSpPr/>
        <p:nvPr/>
      </p:nvGrpSpPr>
      <p:grpSpPr>
        <a:xfrm>
          <a:off x="0" y="0"/>
          <a:ext cx="0" cy="0"/>
          <a:chOff x="0" y="0"/>
          <a:chExt cx="0" cy="0"/>
        </a:xfrm>
      </p:grpSpPr>
      <p:pic>
        <p:nvPicPr>
          <p:cNvPr id="41" name="wave pattern" descr="A picture containing nature, dune&#10;&#10;Description automatically generated">
            <a:extLst>
              <a:ext uri="{FF2B5EF4-FFF2-40B4-BE49-F238E27FC236}">
                <a16:creationId xmlns:a16="http://schemas.microsoft.com/office/drawing/2014/main" id="{FEA6B481-BC84-A24D-857C-DFC0F3E0055E}"/>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2495674098"/>
      </p:ext>
    </p:extLst>
  </p:cSld>
  <p:clrMapOvr>
    <a:masterClrMapping/>
  </p:clrMapOvr>
  <p:transition spd="slow">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Org chart 2 row">
    <p:spTree>
      <p:nvGrpSpPr>
        <p:cNvPr id="1" name=""/>
        <p:cNvGrpSpPr/>
        <p:nvPr/>
      </p:nvGrpSpPr>
      <p:grpSpPr>
        <a:xfrm>
          <a:off x="0" y="0"/>
          <a:ext cx="0" cy="0"/>
          <a:chOff x="0" y="0"/>
          <a:chExt cx="0" cy="0"/>
        </a:xfrm>
      </p:grpSpPr>
      <p:pic>
        <p:nvPicPr>
          <p:cNvPr id="77" name="wave pattern" descr="A picture containing nature, dune&#10;&#10;Description automatically generated">
            <a:extLst>
              <a:ext uri="{FF2B5EF4-FFF2-40B4-BE49-F238E27FC236}">
                <a16:creationId xmlns:a16="http://schemas.microsoft.com/office/drawing/2014/main" id="{431210A4-7017-1C43-B12A-A6086FB5EFA8}"/>
              </a:ext>
            </a:extLst>
          </p:cNvPr>
          <p:cNvPicPr>
            <a:picLocks noChangeAspect="1"/>
          </p:cNvPicPr>
          <p:nvPr userDrawn="1"/>
        </p:nvPicPr>
        <p:blipFill rotWithShape="1">
          <a:blip r:embed="rId2"/>
          <a:srcRect l="13868" t="-190" r="18137" b="1051"/>
          <a:stretch/>
        </p:blipFill>
        <p:spPr>
          <a:xfrm>
            <a:off x="0" y="-86982"/>
            <a:ext cx="12192000" cy="6944983"/>
          </a:xfrm>
          <a:prstGeom prst="rect">
            <a:avLst/>
          </a:prstGeom>
        </p:spPr>
      </p:pic>
      <p:sp>
        <p:nvSpPr>
          <p:cNvPr id="7" name="Slide Number Placeholder 5">
            <a:extLst>
              <a:ext uri="{FF2B5EF4-FFF2-40B4-BE49-F238E27FC236}">
                <a16:creationId xmlns:a16="http://schemas.microsoft.com/office/drawing/2014/main" id="{02FFEA81-BB5A-E84B-8FBF-DF8658B0DFEC}"/>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sp>
        <p:nvSpPr>
          <p:cNvPr id="8" name="Slide Number Placeholder 5">
            <a:extLst>
              <a:ext uri="{FF2B5EF4-FFF2-40B4-BE49-F238E27FC236}">
                <a16:creationId xmlns:a16="http://schemas.microsoft.com/office/drawing/2014/main" id="{1E1766E1-6F1F-2E40-8922-5A29D6162A58}"/>
              </a:ext>
            </a:extLst>
          </p:cNvPr>
          <p:cNvSpPr txBox="1">
            <a:spLocks/>
          </p:cNvSpPr>
          <p:nvPr userDrawn="1"/>
        </p:nvSpPr>
        <p:spPr>
          <a:xfrm>
            <a:off x="11442448"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accent5"/>
                </a:solidFill>
                <a:latin typeface="+mn-lt"/>
                <a:cs typeface="PT Sans Regular" charset="-52"/>
              </a:rPr>
              <a:pPr fontAlgn="auto">
                <a:spcBef>
                  <a:spcPts val="0"/>
                </a:spcBef>
                <a:spcAft>
                  <a:spcPts val="0"/>
                </a:spcAft>
                <a:defRPr/>
              </a:pPr>
              <a:t>‹#›</a:t>
            </a:fld>
            <a:endParaRPr lang="en-US" sz="1067" b="0" i="0">
              <a:solidFill>
                <a:schemeClr val="accent5"/>
              </a:solidFill>
              <a:latin typeface="+mn-lt"/>
              <a:cs typeface="PT Sans Regular" charset="-52"/>
            </a:endParaRPr>
          </a:p>
        </p:txBody>
      </p:sp>
      <p:cxnSp>
        <p:nvCxnSpPr>
          <p:cNvPr id="17" name="Straight Connector 16">
            <a:extLst>
              <a:ext uri="{FF2B5EF4-FFF2-40B4-BE49-F238E27FC236}">
                <a16:creationId xmlns:a16="http://schemas.microsoft.com/office/drawing/2014/main" id="{1FAED90D-3E01-4D7F-A073-BB7A8866CF48}"/>
              </a:ext>
            </a:extLst>
          </p:cNvPr>
          <p:cNvCxnSpPr>
            <a:cxnSpLocks/>
          </p:cNvCxnSpPr>
          <p:nvPr userDrawn="1"/>
        </p:nvCxnSpPr>
        <p:spPr>
          <a:xfrm>
            <a:off x="1828800" y="3146641"/>
            <a:ext cx="85344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55CD30C9-91E9-43B2-98D0-469914FEDC20}"/>
              </a:ext>
            </a:extLst>
          </p:cNvPr>
          <p:cNvSpPr>
            <a:spLocks noGrp="1"/>
          </p:cNvSpPr>
          <p:nvPr>
            <p:ph type="pic" sz="quarter" idx="10"/>
          </p:nvPr>
        </p:nvSpPr>
        <p:spPr>
          <a:xfrm>
            <a:off x="5425440" y="1147133"/>
            <a:ext cx="1341120" cy="1341120"/>
          </a:xfrm>
          <a:prstGeom prst="ellipse">
            <a:avLst/>
          </a:prstGeom>
          <a:ln>
            <a:solidFill>
              <a:schemeClr val="tx2"/>
            </a:solidFill>
          </a:ln>
        </p:spPr>
        <p:txBody>
          <a:bodyPr>
            <a:normAutofit/>
          </a:bodyPr>
          <a:lstStyle>
            <a:lvl1pPr>
              <a:defRPr sz="1067">
                <a:latin typeface="+mn-lt"/>
              </a:defRPr>
            </a:lvl1pPr>
          </a:lstStyle>
          <a:p>
            <a:r>
              <a:rPr lang="en-US"/>
              <a:t>Click icon to add picture</a:t>
            </a:r>
          </a:p>
        </p:txBody>
      </p:sp>
      <p:sp>
        <p:nvSpPr>
          <p:cNvPr id="6" name="Text Placeholder 5">
            <a:extLst>
              <a:ext uri="{FF2B5EF4-FFF2-40B4-BE49-F238E27FC236}">
                <a16:creationId xmlns:a16="http://schemas.microsoft.com/office/drawing/2014/main" id="{F755BAB9-4E3A-430D-91BE-994C95DBA1E6}"/>
              </a:ext>
            </a:extLst>
          </p:cNvPr>
          <p:cNvSpPr>
            <a:spLocks noGrp="1"/>
          </p:cNvSpPr>
          <p:nvPr>
            <p:ph type="body" sz="quarter" idx="11" hasCustomPrompt="1"/>
          </p:nvPr>
        </p:nvSpPr>
        <p:spPr>
          <a:xfrm>
            <a:off x="4548193" y="2525018"/>
            <a:ext cx="3095617" cy="232895"/>
          </a:xfrm>
        </p:spPr>
        <p:txBody>
          <a:bodyPr>
            <a:noAutofit/>
          </a:bodyPr>
          <a:lstStyle>
            <a:lvl1pPr algn="ctr">
              <a:defRPr sz="1400" b="1" i="0">
                <a:solidFill>
                  <a:schemeClr val="accent1"/>
                </a:solidFill>
                <a:latin typeface="+mn-lt"/>
              </a:defRPr>
            </a:lvl1pPr>
          </a:lstStyle>
          <a:p>
            <a:pPr lvl="0"/>
            <a:r>
              <a:rPr lang="en-US"/>
              <a:t>FULL NAME</a:t>
            </a:r>
          </a:p>
        </p:txBody>
      </p:sp>
      <p:sp>
        <p:nvSpPr>
          <p:cNvPr id="54" name="Text Placeholder 5">
            <a:extLst>
              <a:ext uri="{FF2B5EF4-FFF2-40B4-BE49-F238E27FC236}">
                <a16:creationId xmlns:a16="http://schemas.microsoft.com/office/drawing/2014/main" id="{4E40A115-0DE7-499E-B2D7-C85707BC5AEE}"/>
              </a:ext>
            </a:extLst>
          </p:cNvPr>
          <p:cNvSpPr>
            <a:spLocks noGrp="1"/>
          </p:cNvSpPr>
          <p:nvPr>
            <p:ph type="body" sz="quarter" idx="12" hasCustomPrompt="1"/>
          </p:nvPr>
        </p:nvSpPr>
        <p:spPr>
          <a:xfrm>
            <a:off x="4548193" y="2784654"/>
            <a:ext cx="3095617" cy="232895"/>
          </a:xfrm>
        </p:spPr>
        <p:txBody>
          <a:bodyPr>
            <a:noAutofit/>
          </a:bodyPr>
          <a:lstStyle>
            <a:lvl1pPr algn="ctr">
              <a:defRPr sz="1200" b="0" i="1">
                <a:solidFill>
                  <a:schemeClr val="tx1"/>
                </a:solidFill>
                <a:latin typeface="+mn-lt"/>
              </a:defRPr>
            </a:lvl1pPr>
          </a:lstStyle>
          <a:p>
            <a:pPr lvl="0"/>
            <a:r>
              <a:rPr lang="en-US"/>
              <a:t>Title</a:t>
            </a:r>
          </a:p>
        </p:txBody>
      </p:sp>
      <p:sp>
        <p:nvSpPr>
          <p:cNvPr id="55" name="Text Placeholder 5">
            <a:extLst>
              <a:ext uri="{FF2B5EF4-FFF2-40B4-BE49-F238E27FC236}">
                <a16:creationId xmlns:a16="http://schemas.microsoft.com/office/drawing/2014/main" id="{7A5577AF-4019-4D0B-B333-78DBD858EB3D}"/>
              </a:ext>
            </a:extLst>
          </p:cNvPr>
          <p:cNvSpPr>
            <a:spLocks noGrp="1"/>
          </p:cNvSpPr>
          <p:nvPr>
            <p:ph type="body" sz="quarter" idx="13" hasCustomPrompt="1"/>
          </p:nvPr>
        </p:nvSpPr>
        <p:spPr>
          <a:xfrm>
            <a:off x="872244" y="417746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56" name="Text Placeholder 5">
            <a:extLst>
              <a:ext uri="{FF2B5EF4-FFF2-40B4-BE49-F238E27FC236}">
                <a16:creationId xmlns:a16="http://schemas.microsoft.com/office/drawing/2014/main" id="{7EF1590F-3F1D-4933-B1EE-8DA2C557704D}"/>
              </a:ext>
            </a:extLst>
          </p:cNvPr>
          <p:cNvSpPr>
            <a:spLocks noGrp="1"/>
          </p:cNvSpPr>
          <p:nvPr>
            <p:ph type="body" sz="quarter" idx="14" hasCustomPrompt="1"/>
          </p:nvPr>
        </p:nvSpPr>
        <p:spPr>
          <a:xfrm>
            <a:off x="984669" y="4360895"/>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57" name="Picture Placeholder 3">
            <a:extLst>
              <a:ext uri="{FF2B5EF4-FFF2-40B4-BE49-F238E27FC236}">
                <a16:creationId xmlns:a16="http://schemas.microsoft.com/office/drawing/2014/main" id="{1F6227B5-A688-4851-8C9E-219F83C370A1}"/>
              </a:ext>
            </a:extLst>
          </p:cNvPr>
          <p:cNvSpPr>
            <a:spLocks noGrp="1"/>
          </p:cNvSpPr>
          <p:nvPr>
            <p:ph type="pic" sz="quarter" idx="15"/>
          </p:nvPr>
        </p:nvSpPr>
        <p:spPr>
          <a:xfrm>
            <a:off x="1463901" y="3397401"/>
            <a:ext cx="731520" cy="731520"/>
          </a:xfrm>
          <a:prstGeom prst="ellipse">
            <a:avLst/>
          </a:prstGeom>
          <a:ln>
            <a:solidFill>
              <a:schemeClr val="tx1"/>
            </a:solidFill>
          </a:ln>
        </p:spPr>
        <p:txBody>
          <a:bodyPr>
            <a:normAutofit/>
          </a:bodyPr>
          <a:lstStyle>
            <a:lvl1pPr>
              <a:defRPr sz="933">
                <a:latin typeface="+mn-lt"/>
              </a:defRPr>
            </a:lvl1pPr>
          </a:lstStyle>
          <a:p>
            <a:r>
              <a:rPr lang="en-US"/>
              <a:t>Click icon to add picture</a:t>
            </a:r>
          </a:p>
        </p:txBody>
      </p:sp>
      <p:cxnSp>
        <p:nvCxnSpPr>
          <p:cNvPr id="58" name="Straight Connector 57">
            <a:extLst>
              <a:ext uri="{FF2B5EF4-FFF2-40B4-BE49-F238E27FC236}">
                <a16:creationId xmlns:a16="http://schemas.microsoft.com/office/drawing/2014/main" id="{6A9D37A4-18F9-43C9-B507-0EEC363889BA}"/>
              </a:ext>
            </a:extLst>
          </p:cNvPr>
          <p:cNvCxnSpPr>
            <a:cxnSpLocks/>
          </p:cNvCxnSpPr>
          <p:nvPr userDrawn="1"/>
        </p:nvCxnSpPr>
        <p:spPr>
          <a:xfrm>
            <a:off x="1828800" y="3153563"/>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D97595CC-956C-4D40-A197-28C4D08134A4}"/>
              </a:ext>
            </a:extLst>
          </p:cNvPr>
          <p:cNvSpPr>
            <a:spLocks noGrp="1"/>
          </p:cNvSpPr>
          <p:nvPr>
            <p:ph type="body" sz="quarter" idx="16" hasCustomPrompt="1"/>
          </p:nvPr>
        </p:nvSpPr>
        <p:spPr>
          <a:xfrm>
            <a:off x="3359890" y="417787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1" name="Text Placeholder 5">
            <a:extLst>
              <a:ext uri="{FF2B5EF4-FFF2-40B4-BE49-F238E27FC236}">
                <a16:creationId xmlns:a16="http://schemas.microsoft.com/office/drawing/2014/main" id="{76021254-2390-4EF5-BA94-9C413D0FE993}"/>
              </a:ext>
            </a:extLst>
          </p:cNvPr>
          <p:cNvSpPr>
            <a:spLocks noGrp="1"/>
          </p:cNvSpPr>
          <p:nvPr>
            <p:ph type="body" sz="quarter" idx="17" hasCustomPrompt="1"/>
          </p:nvPr>
        </p:nvSpPr>
        <p:spPr>
          <a:xfrm>
            <a:off x="3472317" y="436130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2" name="Picture Placeholder 3">
            <a:extLst>
              <a:ext uri="{FF2B5EF4-FFF2-40B4-BE49-F238E27FC236}">
                <a16:creationId xmlns:a16="http://schemas.microsoft.com/office/drawing/2014/main" id="{BFED8703-9423-4469-B974-F733F39E46A4}"/>
              </a:ext>
            </a:extLst>
          </p:cNvPr>
          <p:cNvSpPr>
            <a:spLocks noGrp="1"/>
          </p:cNvSpPr>
          <p:nvPr>
            <p:ph type="pic" sz="quarter" idx="18"/>
          </p:nvPr>
        </p:nvSpPr>
        <p:spPr>
          <a:xfrm>
            <a:off x="3951549" y="339781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3" name="Straight Connector 62">
            <a:extLst>
              <a:ext uri="{FF2B5EF4-FFF2-40B4-BE49-F238E27FC236}">
                <a16:creationId xmlns:a16="http://schemas.microsoft.com/office/drawing/2014/main" id="{DAFC5E09-488A-4466-9CAA-A696938D17A8}"/>
              </a:ext>
            </a:extLst>
          </p:cNvPr>
          <p:cNvCxnSpPr>
            <a:cxnSpLocks/>
          </p:cNvCxnSpPr>
          <p:nvPr userDrawn="1"/>
        </p:nvCxnSpPr>
        <p:spPr>
          <a:xfrm>
            <a:off x="4316448" y="3153971"/>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E058737D-9505-41C5-A234-E1FE4235326E}"/>
              </a:ext>
            </a:extLst>
          </p:cNvPr>
          <p:cNvSpPr>
            <a:spLocks noGrp="1"/>
          </p:cNvSpPr>
          <p:nvPr>
            <p:ph type="body" sz="quarter" idx="19" hasCustomPrompt="1"/>
          </p:nvPr>
        </p:nvSpPr>
        <p:spPr>
          <a:xfrm>
            <a:off x="6066105" y="4177912"/>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5" name="Text Placeholder 5">
            <a:extLst>
              <a:ext uri="{FF2B5EF4-FFF2-40B4-BE49-F238E27FC236}">
                <a16:creationId xmlns:a16="http://schemas.microsoft.com/office/drawing/2014/main" id="{F4311872-4596-4C6C-B3C6-FA5D8F5E4736}"/>
              </a:ext>
            </a:extLst>
          </p:cNvPr>
          <p:cNvSpPr>
            <a:spLocks noGrp="1"/>
          </p:cNvSpPr>
          <p:nvPr>
            <p:ph type="body" sz="quarter" idx="20" hasCustomPrompt="1"/>
          </p:nvPr>
        </p:nvSpPr>
        <p:spPr>
          <a:xfrm>
            <a:off x="6178532" y="4361346"/>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66" name="Picture Placeholder 3">
            <a:extLst>
              <a:ext uri="{FF2B5EF4-FFF2-40B4-BE49-F238E27FC236}">
                <a16:creationId xmlns:a16="http://schemas.microsoft.com/office/drawing/2014/main" id="{4707E112-455D-4D13-B3FF-C062C5771809}"/>
              </a:ext>
            </a:extLst>
          </p:cNvPr>
          <p:cNvSpPr>
            <a:spLocks noGrp="1"/>
          </p:cNvSpPr>
          <p:nvPr>
            <p:ph type="pic" sz="quarter" idx="21"/>
          </p:nvPr>
        </p:nvSpPr>
        <p:spPr>
          <a:xfrm>
            <a:off x="6657763" y="3397852"/>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67" name="Straight Connector 66">
            <a:extLst>
              <a:ext uri="{FF2B5EF4-FFF2-40B4-BE49-F238E27FC236}">
                <a16:creationId xmlns:a16="http://schemas.microsoft.com/office/drawing/2014/main" id="{FD97C558-1CF7-4AA2-AAAE-0EA27C72FC59}"/>
              </a:ext>
            </a:extLst>
          </p:cNvPr>
          <p:cNvCxnSpPr>
            <a:cxnSpLocks/>
          </p:cNvCxnSpPr>
          <p:nvPr userDrawn="1"/>
        </p:nvCxnSpPr>
        <p:spPr>
          <a:xfrm>
            <a:off x="7022661" y="3154012"/>
            <a:ext cx="0" cy="24384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 Placeholder 5">
            <a:extLst>
              <a:ext uri="{FF2B5EF4-FFF2-40B4-BE49-F238E27FC236}">
                <a16:creationId xmlns:a16="http://schemas.microsoft.com/office/drawing/2014/main" id="{42AAB65F-EFBD-4A72-82BF-3BA87DAC2496}"/>
              </a:ext>
            </a:extLst>
          </p:cNvPr>
          <p:cNvSpPr>
            <a:spLocks noGrp="1"/>
          </p:cNvSpPr>
          <p:nvPr>
            <p:ph type="body" sz="quarter" idx="22" hasCustomPrompt="1"/>
          </p:nvPr>
        </p:nvSpPr>
        <p:spPr>
          <a:xfrm>
            <a:off x="9425026" y="4170011"/>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69" name="Text Placeholder 5">
            <a:extLst>
              <a:ext uri="{FF2B5EF4-FFF2-40B4-BE49-F238E27FC236}">
                <a16:creationId xmlns:a16="http://schemas.microsoft.com/office/drawing/2014/main" id="{6A56D2C4-9A8C-43C0-B676-EF1042CE3040}"/>
              </a:ext>
            </a:extLst>
          </p:cNvPr>
          <p:cNvSpPr>
            <a:spLocks noGrp="1"/>
          </p:cNvSpPr>
          <p:nvPr>
            <p:ph type="body" sz="quarter" idx="23" hasCustomPrompt="1"/>
          </p:nvPr>
        </p:nvSpPr>
        <p:spPr>
          <a:xfrm>
            <a:off x="9537453" y="4353443"/>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0" name="Picture Placeholder 3">
            <a:extLst>
              <a:ext uri="{FF2B5EF4-FFF2-40B4-BE49-F238E27FC236}">
                <a16:creationId xmlns:a16="http://schemas.microsoft.com/office/drawing/2014/main" id="{970257AE-0DF1-4A5B-ADBF-7F68F9C1BFC6}"/>
              </a:ext>
            </a:extLst>
          </p:cNvPr>
          <p:cNvSpPr>
            <a:spLocks noGrp="1"/>
          </p:cNvSpPr>
          <p:nvPr>
            <p:ph type="pic" sz="quarter" idx="24"/>
          </p:nvPr>
        </p:nvSpPr>
        <p:spPr>
          <a:xfrm>
            <a:off x="10016685" y="3389951"/>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cxnSp>
        <p:nvCxnSpPr>
          <p:cNvPr id="71" name="Straight Connector 70">
            <a:extLst>
              <a:ext uri="{FF2B5EF4-FFF2-40B4-BE49-F238E27FC236}">
                <a16:creationId xmlns:a16="http://schemas.microsoft.com/office/drawing/2014/main" id="{78308673-524D-48C9-803F-BD63B890F0DB}"/>
              </a:ext>
            </a:extLst>
          </p:cNvPr>
          <p:cNvCxnSpPr>
            <a:cxnSpLocks/>
          </p:cNvCxnSpPr>
          <p:nvPr userDrawn="1"/>
        </p:nvCxnSpPr>
        <p:spPr>
          <a:xfrm>
            <a:off x="10381584" y="3146111"/>
            <a:ext cx="0" cy="24384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2" name="Text Placeholder 5">
            <a:extLst>
              <a:ext uri="{FF2B5EF4-FFF2-40B4-BE49-F238E27FC236}">
                <a16:creationId xmlns:a16="http://schemas.microsoft.com/office/drawing/2014/main" id="{625CEA20-C308-4985-9019-C7849F0CEB1F}"/>
              </a:ext>
            </a:extLst>
          </p:cNvPr>
          <p:cNvSpPr>
            <a:spLocks noGrp="1"/>
          </p:cNvSpPr>
          <p:nvPr>
            <p:ph type="body" sz="quarter" idx="25" hasCustomPrompt="1"/>
          </p:nvPr>
        </p:nvSpPr>
        <p:spPr>
          <a:xfrm>
            <a:off x="3359890"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73" name="Text Placeholder 5">
            <a:extLst>
              <a:ext uri="{FF2B5EF4-FFF2-40B4-BE49-F238E27FC236}">
                <a16:creationId xmlns:a16="http://schemas.microsoft.com/office/drawing/2014/main" id="{187DE7C3-613E-40DD-AC7A-A0D560A23A10}"/>
              </a:ext>
            </a:extLst>
          </p:cNvPr>
          <p:cNvSpPr>
            <a:spLocks noGrp="1"/>
          </p:cNvSpPr>
          <p:nvPr>
            <p:ph type="body" sz="quarter" idx="26" hasCustomPrompt="1"/>
          </p:nvPr>
        </p:nvSpPr>
        <p:spPr>
          <a:xfrm>
            <a:off x="3472317"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74" name="Picture Placeholder 3">
            <a:extLst>
              <a:ext uri="{FF2B5EF4-FFF2-40B4-BE49-F238E27FC236}">
                <a16:creationId xmlns:a16="http://schemas.microsoft.com/office/drawing/2014/main" id="{9F06B8F8-FC3A-434C-B505-D2A38DAB4ECE}"/>
              </a:ext>
            </a:extLst>
          </p:cNvPr>
          <p:cNvSpPr>
            <a:spLocks noGrp="1"/>
          </p:cNvSpPr>
          <p:nvPr>
            <p:ph type="pic" sz="quarter" idx="27"/>
          </p:nvPr>
        </p:nvSpPr>
        <p:spPr>
          <a:xfrm>
            <a:off x="3951549"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78" name="Title 1">
            <a:extLst>
              <a:ext uri="{FF2B5EF4-FFF2-40B4-BE49-F238E27FC236}">
                <a16:creationId xmlns:a16="http://schemas.microsoft.com/office/drawing/2014/main" id="{01076341-BBAB-4F77-B737-6A92B8F0C0A8}"/>
              </a:ext>
            </a:extLst>
          </p:cNvPr>
          <p:cNvSpPr>
            <a:spLocks noGrp="1"/>
          </p:cNvSpPr>
          <p:nvPr>
            <p:ph type="title" hasCustomPrompt="1"/>
          </p:nvPr>
        </p:nvSpPr>
        <p:spPr>
          <a:xfrm>
            <a:off x="508000" y="405548"/>
            <a:ext cx="11176000" cy="1325563"/>
          </a:xfrm>
        </p:spPr>
        <p:txBody>
          <a:bodyPr>
            <a:normAutofit/>
          </a:bodyPr>
          <a:lstStyle>
            <a:lvl1pPr algn="ct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9" name="Text Placeholder 5">
            <a:extLst>
              <a:ext uri="{FF2B5EF4-FFF2-40B4-BE49-F238E27FC236}">
                <a16:creationId xmlns:a16="http://schemas.microsoft.com/office/drawing/2014/main" id="{F317067F-20ED-48A8-87A9-D3EB255D2D50}"/>
              </a:ext>
            </a:extLst>
          </p:cNvPr>
          <p:cNvSpPr>
            <a:spLocks noGrp="1"/>
          </p:cNvSpPr>
          <p:nvPr>
            <p:ph type="body" sz="quarter" idx="28" hasCustomPrompt="1"/>
          </p:nvPr>
        </p:nvSpPr>
        <p:spPr>
          <a:xfrm>
            <a:off x="1262602"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0" name="Text Placeholder 5">
            <a:extLst>
              <a:ext uri="{FF2B5EF4-FFF2-40B4-BE49-F238E27FC236}">
                <a16:creationId xmlns:a16="http://schemas.microsoft.com/office/drawing/2014/main" id="{322E8456-010A-4ECB-9467-E64085FBF60B}"/>
              </a:ext>
            </a:extLst>
          </p:cNvPr>
          <p:cNvSpPr>
            <a:spLocks noGrp="1"/>
          </p:cNvSpPr>
          <p:nvPr>
            <p:ph type="body" sz="quarter" idx="29" hasCustomPrompt="1"/>
          </p:nvPr>
        </p:nvSpPr>
        <p:spPr>
          <a:xfrm>
            <a:off x="1375028"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1" name="Picture Placeholder 3">
            <a:extLst>
              <a:ext uri="{FF2B5EF4-FFF2-40B4-BE49-F238E27FC236}">
                <a16:creationId xmlns:a16="http://schemas.microsoft.com/office/drawing/2014/main" id="{FC02D8D5-63F0-4AA9-AD7F-1F26A35376FF}"/>
              </a:ext>
            </a:extLst>
          </p:cNvPr>
          <p:cNvSpPr>
            <a:spLocks noGrp="1"/>
          </p:cNvSpPr>
          <p:nvPr>
            <p:ph type="pic" sz="quarter" idx="30"/>
          </p:nvPr>
        </p:nvSpPr>
        <p:spPr>
          <a:xfrm>
            <a:off x="1854260"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
        <p:nvSpPr>
          <p:cNvPr id="82" name="Text Placeholder 5">
            <a:extLst>
              <a:ext uri="{FF2B5EF4-FFF2-40B4-BE49-F238E27FC236}">
                <a16:creationId xmlns:a16="http://schemas.microsoft.com/office/drawing/2014/main" id="{DCF0BE4B-017B-49C3-B0B7-06895E83352E}"/>
              </a:ext>
            </a:extLst>
          </p:cNvPr>
          <p:cNvSpPr>
            <a:spLocks noGrp="1"/>
          </p:cNvSpPr>
          <p:nvPr>
            <p:ph type="body" sz="quarter" idx="31" hasCustomPrompt="1"/>
          </p:nvPr>
        </p:nvSpPr>
        <p:spPr>
          <a:xfrm>
            <a:off x="5431974" y="5784187"/>
            <a:ext cx="1914841" cy="269659"/>
          </a:xfrm>
        </p:spPr>
        <p:txBody>
          <a:bodyPr wrap="none" anchor="ctr">
            <a:noAutofit/>
          </a:bodyPr>
          <a:lstStyle>
            <a:lvl1pPr algn="ctr">
              <a:defRPr sz="1200" b="1" i="0">
                <a:solidFill>
                  <a:schemeClr val="accent1"/>
                </a:solidFill>
                <a:latin typeface="+mn-lt"/>
              </a:defRPr>
            </a:lvl1pPr>
          </a:lstStyle>
          <a:p>
            <a:pPr lvl="0"/>
            <a:r>
              <a:rPr lang="en-US"/>
              <a:t>FULL NAME</a:t>
            </a:r>
          </a:p>
        </p:txBody>
      </p:sp>
      <p:sp>
        <p:nvSpPr>
          <p:cNvPr id="83" name="Text Placeholder 5">
            <a:extLst>
              <a:ext uri="{FF2B5EF4-FFF2-40B4-BE49-F238E27FC236}">
                <a16:creationId xmlns:a16="http://schemas.microsoft.com/office/drawing/2014/main" id="{3C074944-EBBA-46F5-A25F-97955A83D933}"/>
              </a:ext>
            </a:extLst>
          </p:cNvPr>
          <p:cNvSpPr>
            <a:spLocks noGrp="1"/>
          </p:cNvSpPr>
          <p:nvPr>
            <p:ph type="body" sz="quarter" idx="32" hasCustomPrompt="1"/>
          </p:nvPr>
        </p:nvSpPr>
        <p:spPr>
          <a:xfrm>
            <a:off x="5544401" y="5967621"/>
            <a:ext cx="1689984" cy="344628"/>
          </a:xfrm>
        </p:spPr>
        <p:txBody>
          <a:bodyPr wrap="square" anchor="ctr">
            <a:noAutofit/>
          </a:bodyPr>
          <a:lstStyle>
            <a:lvl1pPr algn="ctr">
              <a:defRPr sz="1067" b="0" i="1">
                <a:solidFill>
                  <a:schemeClr val="tx1"/>
                </a:solidFill>
                <a:latin typeface="+mn-lt"/>
              </a:defRPr>
            </a:lvl1pPr>
          </a:lstStyle>
          <a:p>
            <a:pPr lvl="0"/>
            <a:r>
              <a:rPr lang="en-US"/>
              <a:t>Title</a:t>
            </a:r>
          </a:p>
        </p:txBody>
      </p:sp>
      <p:sp>
        <p:nvSpPr>
          <p:cNvPr id="84" name="Picture Placeholder 3">
            <a:extLst>
              <a:ext uri="{FF2B5EF4-FFF2-40B4-BE49-F238E27FC236}">
                <a16:creationId xmlns:a16="http://schemas.microsoft.com/office/drawing/2014/main" id="{DCB9E13D-1BF4-4542-B93E-D74C4986BB96}"/>
              </a:ext>
            </a:extLst>
          </p:cNvPr>
          <p:cNvSpPr>
            <a:spLocks noGrp="1"/>
          </p:cNvSpPr>
          <p:nvPr>
            <p:ph type="pic" sz="quarter" idx="33"/>
          </p:nvPr>
        </p:nvSpPr>
        <p:spPr>
          <a:xfrm>
            <a:off x="6023633" y="5004127"/>
            <a:ext cx="731520" cy="731520"/>
          </a:xfrm>
          <a:prstGeom prst="ellipse">
            <a:avLst/>
          </a:prstGeom>
          <a:ln>
            <a:solidFill>
              <a:schemeClr val="tx1"/>
            </a:solidFill>
          </a:ln>
        </p:spPr>
        <p:txBody>
          <a:bodyPr>
            <a:normAutofit/>
          </a:bodyPr>
          <a:lstStyle>
            <a:lvl1pPr>
              <a:defRPr sz="1067">
                <a:latin typeface="+mn-lt"/>
              </a:defRPr>
            </a:lvl1pPr>
          </a:lstStyle>
          <a:p>
            <a:r>
              <a:rPr lang="en-US"/>
              <a:t>Click icon to add picture</a:t>
            </a:r>
          </a:p>
        </p:txBody>
      </p:sp>
    </p:spTree>
    <p:extLst>
      <p:ext uri="{BB962C8B-B14F-4D97-AF65-F5344CB8AC3E}">
        <p14:creationId xmlns:p14="http://schemas.microsoft.com/office/powerpoint/2010/main" val="2905827136"/>
      </p:ext>
    </p:extLst>
  </p:cSld>
  <p:clrMapOvr>
    <a:masterClrMapping/>
  </p:clrMapOvr>
  <p:transition spd="slow">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Engage Quote">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5" name="Rectangle 4">
            <a:extLst>
              <a:ext uri="{FF2B5EF4-FFF2-40B4-BE49-F238E27FC236}">
                <a16:creationId xmlns:a16="http://schemas.microsoft.com/office/drawing/2014/main" id="{CDEB7964-C5EE-104E-AB73-ECD369064086}"/>
              </a:ext>
            </a:extLst>
          </p:cNvPr>
          <p:cNvSpPr/>
          <p:nvPr userDrawn="1"/>
        </p:nvSpPr>
        <p:spPr>
          <a:xfrm>
            <a:off x="3314701"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Freeform: Shape 35">
            <a:extLst>
              <a:ext uri="{FF2B5EF4-FFF2-40B4-BE49-F238E27FC236}">
                <a16:creationId xmlns:a16="http://schemas.microsoft.com/office/drawing/2014/main" id="{3E06244D-399D-C244-BD04-78D56B482FA2}"/>
              </a:ext>
            </a:extLst>
          </p:cNvPr>
          <p:cNvSpPr/>
          <p:nvPr userDrawn="1"/>
        </p:nvSpPr>
        <p:spPr>
          <a:xfrm>
            <a:off x="-4951714" y="-193154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10000">
                <a:schemeClr val="tx1">
                  <a:alpha val="0"/>
                </a:schemeClr>
              </a:gs>
              <a:gs pos="100000">
                <a:schemeClr val="tx1">
                  <a:lumMod val="60000"/>
                  <a:lumOff val="40000"/>
                  <a:alpha val="30000"/>
                </a:schemeClr>
              </a:gs>
            </a:gsLst>
            <a:lin ang="10800000" scaled="1"/>
            <a:tileRect/>
          </a:gradFill>
          <a:ln w="2358" cap="flat">
            <a:noFill/>
            <a:prstDash val="solid"/>
            <a:miter/>
          </a:ln>
        </p:spPr>
        <p:txBody>
          <a:bodyPr rtlCol="0" anchor="ctr"/>
          <a:lstStyle/>
          <a:p>
            <a:endParaRPr lang="en-US" sz="2400"/>
          </a:p>
        </p:txBody>
      </p:sp>
      <p:sp>
        <p:nvSpPr>
          <p:cNvPr id="8" name="Rectangle 7">
            <a:extLst>
              <a:ext uri="{FF2B5EF4-FFF2-40B4-BE49-F238E27FC236}">
                <a16:creationId xmlns:a16="http://schemas.microsoft.com/office/drawing/2014/main" id="{878F7EAB-5EEF-5843-8277-AF186213EFF8}"/>
              </a:ext>
            </a:extLst>
          </p:cNvPr>
          <p:cNvSpPr/>
          <p:nvPr userDrawn="1"/>
        </p:nvSpPr>
        <p:spPr>
          <a:xfrm>
            <a:off x="2197099" y="-4099035"/>
            <a:ext cx="7810501"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77">
              <a:spcBef>
                <a:spcPct val="0"/>
              </a:spcBef>
            </a:pPr>
            <a:r>
              <a:rPr lang="en-GB" sz="3200" b="1" i="0" dirty="0">
                <a:solidFill>
                  <a:schemeClr val="tx2"/>
                </a:solidFill>
                <a:latin typeface="Source Sans Pro" panose="020B0503030403020204" pitchFamily="34" charset="0"/>
                <a:ea typeface="+mj-ea"/>
                <a:cs typeface="+mj-cs"/>
              </a:rPr>
              <a:t>Building a foundation for...</a:t>
            </a:r>
            <a:endParaRPr lang="en-US" sz="3200" b="1" i="0" dirty="0">
              <a:solidFill>
                <a:schemeClr val="tx2"/>
              </a:solidFill>
              <a:latin typeface="Source Sans Pro" panose="020B0503030403020204" pitchFamily="34" charset="0"/>
              <a:ea typeface="+mj-ea"/>
              <a:cs typeface="+mj-cs"/>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72EDE628-C243-344C-A7A9-A7B75D33690A}"/>
                  </a:ext>
                </a:extLst>
              </p14:cNvPr>
              <p14:cNvContentPartPr/>
              <p14:nvPr userDrawn="1"/>
            </p14:nvContentPartPr>
            <p14:xfrm>
              <a:off x="-5605893" y="439840"/>
              <a:ext cx="480" cy="480"/>
            </p14:xfrm>
          </p:contentPart>
        </mc:Choice>
        <mc:Fallback xmlns="">
          <p:pic>
            <p:nvPicPr>
              <p:cNvPr id="9" name="Ink 8">
                <a:extLst>
                  <a:ext uri="{FF2B5EF4-FFF2-40B4-BE49-F238E27FC236}">
                    <a16:creationId xmlns:a16="http://schemas.microsoft.com/office/drawing/2014/main" id="{72EDE628-C243-344C-A7A9-A7B75D33690A}"/>
                  </a:ext>
                </a:extLst>
              </p:cNvPr>
              <p:cNvPicPr/>
              <p:nvPr/>
            </p:nvPicPr>
            <p:blipFill>
              <a:blip r:embed="rId4"/>
              <a:stretch>
                <a:fillRect/>
              </a:stretch>
            </p:blipFill>
            <p:spPr>
              <a:xfrm>
                <a:off x="-5617893" y="427840"/>
                <a:ext cx="24000" cy="24000"/>
              </a:xfrm>
              <a:prstGeom prst="rect">
                <a:avLst/>
              </a:prstGeom>
            </p:spPr>
          </p:pic>
        </mc:Fallback>
      </mc:AlternateContent>
      <p:sp>
        <p:nvSpPr>
          <p:cNvPr id="31" name="TITLE">
            <a:extLst>
              <a:ext uri="{FF2B5EF4-FFF2-40B4-BE49-F238E27FC236}">
                <a16:creationId xmlns:a16="http://schemas.microsoft.com/office/drawing/2014/main" id="{0DE24C69-53C3-AE48-B542-909C6ABD56BF}"/>
              </a:ext>
            </a:extLst>
          </p:cNvPr>
          <p:cNvSpPr>
            <a:spLocks noGrp="1"/>
          </p:cNvSpPr>
          <p:nvPr>
            <p:ph type="body" sz="quarter" idx="12" hasCustomPrompt="1"/>
          </p:nvPr>
        </p:nvSpPr>
        <p:spPr>
          <a:xfrm>
            <a:off x="4229099" y="5432171"/>
            <a:ext cx="7454901" cy="533400"/>
          </a:xfrm>
        </p:spPr>
        <p:txBody>
          <a:bodyPr/>
          <a:lstStyle>
            <a:lvl1pPr>
              <a:defRPr b="1" i="0">
                <a:solidFill>
                  <a:schemeClr val="tx2"/>
                </a:solidFill>
                <a:latin typeface="Source Sans Pro Semibold" panose="020B0503030403020204" pitchFamily="34" charset="0"/>
                <a:ea typeface="Source Sans Pro Semibold" panose="020B0503030403020204" pitchFamily="34" charset="0"/>
              </a:defRPr>
            </a:lvl1pPr>
          </a:lstStyle>
          <a:p>
            <a:pPr lvl="0"/>
            <a:r>
              <a:rPr lang="en-US" dirty="0"/>
              <a:t>— Name, Title</a:t>
            </a:r>
          </a:p>
        </p:txBody>
      </p:sp>
      <p:sp>
        <p:nvSpPr>
          <p:cNvPr id="17" name="Title 1">
            <a:extLst>
              <a:ext uri="{FF2B5EF4-FFF2-40B4-BE49-F238E27FC236}">
                <a16:creationId xmlns:a16="http://schemas.microsoft.com/office/drawing/2014/main" id="{75015F69-F9C8-9540-AF88-3152FE5DD6D4}"/>
              </a:ext>
            </a:extLst>
          </p:cNvPr>
          <p:cNvSpPr txBox="1">
            <a:spLocks/>
          </p:cNvSpPr>
          <p:nvPr userDrawn="1"/>
        </p:nvSpPr>
        <p:spPr>
          <a:xfrm>
            <a:off x="4115904" y="1063410"/>
            <a:ext cx="760897" cy="1323439"/>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8000" dirty="0">
                <a:solidFill>
                  <a:srgbClr val="FF6D70"/>
                </a:solidFill>
                <a:latin typeface="+mn-lt"/>
              </a:rPr>
              <a:t>“</a:t>
            </a:r>
            <a:endParaRPr lang="en-US" sz="9600" dirty="0">
              <a:solidFill>
                <a:srgbClr val="FF6D70"/>
              </a:solidFill>
              <a:latin typeface="+mn-lt"/>
            </a:endParaRPr>
          </a:p>
        </p:txBody>
      </p:sp>
      <p:sp>
        <p:nvSpPr>
          <p:cNvPr id="18" name="Oval 17">
            <a:extLst>
              <a:ext uri="{FF2B5EF4-FFF2-40B4-BE49-F238E27FC236}">
                <a16:creationId xmlns:a16="http://schemas.microsoft.com/office/drawing/2014/main" id="{200E090A-065F-BC41-9689-182CD87141CD}"/>
              </a:ext>
            </a:extLst>
          </p:cNvPr>
          <p:cNvSpPr/>
          <p:nvPr userDrawn="1"/>
        </p:nvSpPr>
        <p:spPr>
          <a:xfrm>
            <a:off x="3822701" y="641667"/>
            <a:ext cx="1384300" cy="1384300"/>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w="12700">
                <a:solidFill>
                  <a:srgbClr val="FF6D70"/>
                </a:solidFill>
              </a:ln>
              <a:noFill/>
              <a:latin typeface="+mn-lt"/>
            </a:endParaRPr>
          </a:p>
        </p:txBody>
      </p:sp>
      <p:sp>
        <p:nvSpPr>
          <p:cNvPr id="27" name="QUOTE">
            <a:extLst>
              <a:ext uri="{FF2B5EF4-FFF2-40B4-BE49-F238E27FC236}">
                <a16:creationId xmlns:a16="http://schemas.microsoft.com/office/drawing/2014/main" id="{9D7187EA-700C-864A-B857-4AAA95FDC2CA}"/>
              </a:ext>
            </a:extLst>
          </p:cNvPr>
          <p:cNvSpPr>
            <a:spLocks noGrp="1"/>
          </p:cNvSpPr>
          <p:nvPr>
            <p:ph type="body" sz="quarter" idx="11"/>
          </p:nvPr>
        </p:nvSpPr>
        <p:spPr>
          <a:xfrm>
            <a:off x="4229099" y="1728721"/>
            <a:ext cx="7454901" cy="2768048"/>
          </a:xfrm>
        </p:spPr>
        <p:txBody>
          <a:bodyPr>
            <a:normAutofit/>
          </a:bodyPr>
          <a:lstStyle>
            <a:lvl1pPr>
              <a:defRPr sz="3733" b="0" i="0">
                <a:solidFill>
                  <a:schemeClr val="tx1"/>
                </a:solidFill>
                <a:latin typeface="Source Sans Pro" panose="020B0503030403020204" pitchFamily="34" charset="0"/>
              </a:defRPr>
            </a:lvl1pPr>
          </a:lstStyle>
          <a:p>
            <a:pPr lvl="0"/>
            <a:r>
              <a:rPr lang="en-US" dirty="0"/>
              <a:t>Click to edit</a:t>
            </a:r>
          </a:p>
        </p:txBody>
      </p:sp>
      <p:sp>
        <p:nvSpPr>
          <p:cNvPr id="19" name="SIDEBAR">
            <a:extLst>
              <a:ext uri="{FF2B5EF4-FFF2-40B4-BE49-F238E27FC236}">
                <a16:creationId xmlns:a16="http://schemas.microsoft.com/office/drawing/2014/main" id="{88EEB87D-BBD1-5843-A566-BDF32AA33488}"/>
              </a:ext>
            </a:extLst>
          </p:cNvPr>
          <p:cNvSpPr>
            <a:spLocks noGrp="1"/>
          </p:cNvSpPr>
          <p:nvPr>
            <p:ph type="body" sz="quarter" idx="10"/>
          </p:nvPr>
        </p:nvSpPr>
        <p:spPr>
          <a:xfrm>
            <a:off x="523355" y="1728722"/>
            <a:ext cx="2577347" cy="860385"/>
          </a:xfrm>
        </p:spPr>
        <p:txBody>
          <a:bodyPr/>
          <a:lstStyle>
            <a:lvl1pPr>
              <a:defRPr b="1" i="0">
                <a:solidFill>
                  <a:schemeClr val="bg1"/>
                </a:solidFill>
                <a:latin typeface="Source Sans Pro Semibold" panose="020B0503030403020204" pitchFamily="34" charset="0"/>
                <a:ea typeface="Source Sans Pro Semibold" panose="020B0503030403020204" pitchFamily="34" charset="0"/>
              </a:defRPr>
            </a:lvl1pPr>
          </a:lstStyle>
          <a:p>
            <a:pPr lvl="0"/>
            <a:r>
              <a:rPr lang="en-US" dirty="0"/>
              <a:t>Click to edit</a:t>
            </a:r>
          </a:p>
        </p:txBody>
      </p:sp>
    </p:spTree>
    <p:extLst>
      <p:ext uri="{BB962C8B-B14F-4D97-AF65-F5344CB8AC3E}">
        <p14:creationId xmlns:p14="http://schemas.microsoft.com/office/powerpoint/2010/main" val="3088295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10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1000"/>
                            </p:stCondLst>
                            <p:childTnLst>
                              <p:par>
                                <p:cTn id="12" presetID="10" presetClass="entr" presetSubtype="0" fill="hold" grpId="1" nodeType="afterEffect">
                                  <p:stCondLst>
                                    <p:cond delay="0"/>
                                  </p:stCondLst>
                                  <p:childTnLst>
                                    <p:set>
                                      <p:cBhvr>
                                        <p:cTn id="13" dur="1" fill="hold">
                                          <p:stCondLst>
                                            <p:cond delay="0"/>
                                          </p:stCondLst>
                                        </p:cTn>
                                        <p:tgtEl>
                                          <p:spTgt spid="27">
                                            <p:txEl>
                                              <p:pRg st="0" end="0"/>
                                            </p:txEl>
                                          </p:spTgt>
                                        </p:tgtEl>
                                        <p:attrNameLst>
                                          <p:attrName>style.visibility</p:attrName>
                                        </p:attrNameLst>
                                      </p:cBhvr>
                                      <p:to>
                                        <p:strVal val="visible"/>
                                      </p:to>
                                    </p:set>
                                    <p:animEffect transition="in" filter="fade">
                                      <p:cBhvr>
                                        <p:cTn id="14" dur="500"/>
                                        <p:tgtEl>
                                          <p:spTgt spid="27">
                                            <p:txEl>
                                              <p:pRg st="0" end="0"/>
                                            </p:txEl>
                                          </p:spTgt>
                                        </p:tgtEl>
                                      </p:cBhvr>
                                    </p:animEffect>
                                  </p:childTnLst>
                                </p:cTn>
                              </p:par>
                              <p:par>
                                <p:cTn id="15" presetID="64" presetClass="path" presetSubtype="0" accel="50000" decel="50000" fill="hold" grpId="0" nodeType="withEffect">
                                  <p:stCondLst>
                                    <p:cond delay="0"/>
                                  </p:stCondLst>
                                  <p:childTnLst>
                                    <p:animMotion origin="layout" path="M 3.05556E-6 -0.03148 L 3.05556E-6 0.00154 " pathEditMode="relative" rAng="0" ptsTypes="AA">
                                      <p:cBhvr>
                                        <p:cTn id="16" dur="2000" fill="hold"/>
                                        <p:tgtEl>
                                          <p:spTgt spid="27">
                                            <p:txEl>
                                              <p:pRg st="0" end="0"/>
                                            </p:txEl>
                                          </p:spTgt>
                                        </p:tgtEl>
                                        <p:attrNameLst>
                                          <p:attrName>ppt_x</p:attrName>
                                          <p:attrName>ppt_y</p:attrName>
                                        </p:attrNameLst>
                                      </p:cBhvr>
                                      <p:rCtr x="0" y="1636"/>
                                    </p:animMotion>
                                  </p:childTnLst>
                                </p:cTn>
                              </p:par>
                              <p:par>
                                <p:cTn id="17" presetID="10" presetClass="entr" presetSubtype="0" fill="hold" grpId="1" nodeType="with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animEffect transition="in" filter="fade">
                                      <p:cBhvr>
                                        <p:cTn id="19" dur="500"/>
                                        <p:tgtEl>
                                          <p:spTgt spid="19">
                                            <p:txEl>
                                              <p:pRg st="0" end="0"/>
                                            </p:txEl>
                                          </p:spTgt>
                                        </p:tgtEl>
                                      </p:cBhvr>
                                    </p:animEffect>
                                  </p:childTnLst>
                                </p:cTn>
                              </p:par>
                              <p:par>
                                <p:cTn id="20" presetID="42" presetClass="path" presetSubtype="0" accel="50000" decel="50000" fill="hold" grpId="0" nodeType="withEffect">
                                  <p:stCondLst>
                                    <p:cond delay="0"/>
                                  </p:stCondLst>
                                  <p:childTnLst>
                                    <p:animMotion origin="layout" path="M -3.88889E-6 -0.05247 L -3.88889E-6 1.11111E-6 " pathEditMode="relative" rAng="0" ptsTypes="AA">
                                      <p:cBhvr>
                                        <p:cTn id="21" dur="2000" fill="hold"/>
                                        <p:tgtEl>
                                          <p:spTgt spid="19">
                                            <p:txEl>
                                              <p:pRg st="0" end="0"/>
                                            </p:txEl>
                                          </p:spTgt>
                                        </p:tgtEl>
                                        <p:attrNameLst>
                                          <p:attrName>ppt_x</p:attrName>
                                          <p:attrName>ppt_y</p:attrName>
                                        </p:attrNameLst>
                                      </p:cBhvr>
                                      <p:rCtr x="0" y="2623"/>
                                    </p:animMotion>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animEffect transition="in" filter="fade">
                                      <p:cBhvr>
                                        <p:cTn id="25"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tmplLst>
          <p:tmpl lvl="1">
            <p:tnLst>
              <p:par>
                <p:cTn presetID="10" presetClass="entr" presetSubtype="0" fill="hold" nodeType="afterEffect">
                  <p:stCondLst>
                    <p:cond delay="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17" grpId="0"/>
      <p:bldP spid="18" grpId="0" animBg="1"/>
      <p:bldP spid="27" grpId="0" build="p">
        <p:tmplLst>
          <p:tmpl lvl="1">
            <p:tnLst>
              <p:par>
                <p:cTn presetID="64" presetClass="path" presetSubtype="0" accel="50000" decel="50000" fill="hold" nodeType="withEffect">
                  <p:stCondLst>
                    <p:cond delay="0"/>
                  </p:stCondLst>
                  <p:childTnLst>
                    <p:animMotion origin="layout" path="M 3.05556E-6 -0.03148 L 3.05556E-6 0.00154 " pathEditMode="relative" rAng="0" ptsTypes="AA">
                      <p:cBhvr>
                        <p:cTn dur="2000" fill="hold"/>
                        <p:tgtEl>
                          <p:spTgt spid="27"/>
                        </p:tgtEl>
                        <p:attrNameLst>
                          <p:attrName>ppt_x</p:attrName>
                          <p:attrName>ppt_y</p:attrName>
                        </p:attrNameLst>
                      </p:cBhvr>
                      <p:rCtr x="0" y="1636"/>
                    </p:animMotion>
                  </p:childTnLst>
                </p:cTn>
              </p:par>
            </p:tnLst>
          </p:tmpl>
        </p:tmplLst>
      </p:bldP>
      <p:bldP spid="27" grpId="1" build="p">
        <p:tmplLst>
          <p:tmpl lvl="1">
            <p:tnLst>
              <p:par>
                <p:cTn presetID="10" presetClass="entr" presetSubtype="0" fill="hold" nodeType="after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fade">
                      <p:cBhvr>
                        <p:cTn dur="500"/>
                        <p:tgtEl>
                          <p:spTgt spid="27"/>
                        </p:tgtEl>
                      </p:cBhvr>
                    </p:animEffect>
                  </p:childTnLst>
                </p:cTn>
              </p:par>
            </p:tnLst>
          </p:tmpl>
        </p:tmplLst>
      </p:bldP>
      <p:bldP spid="19" grpId="0" build="p">
        <p:tmplLst>
          <p:tmpl lvl="1">
            <p:tnLst>
              <p:par>
                <p:cTn presetID="42" presetClass="path" presetSubtype="0" accel="50000" decel="50000" fill="hold" nodeType="withEffect">
                  <p:stCondLst>
                    <p:cond delay="0"/>
                  </p:stCondLst>
                  <p:childTnLst>
                    <p:animMotion origin="layout" path="M -3.88889E-6 -0.05247 L -3.88889E-6 1.11111E-6 " pathEditMode="relative" rAng="0" ptsTypes="AA">
                      <p:cBhvr>
                        <p:cTn dur="2000" fill="hold"/>
                        <p:tgtEl>
                          <p:spTgt spid="19"/>
                        </p:tgtEl>
                        <p:attrNameLst>
                          <p:attrName>ppt_x</p:attrName>
                          <p:attrName>ppt_y</p:attrName>
                        </p:attrNameLst>
                      </p:cBhvr>
                      <p:rCtr x="0" y="2623"/>
                    </p:animMotion>
                  </p:childTnLst>
                </p:cTn>
              </p:par>
            </p:tnLst>
          </p:tmpl>
        </p:tmplLst>
      </p:bldP>
      <p:bldP spid="19" grpId="1" build="p">
        <p:tmplLst>
          <p:tmpl lvl="1">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Slide 2">
    <p:bg>
      <p:bgPr>
        <a:gradFill flip="none" rotWithShape="1">
          <a:gsLst>
            <a:gs pos="0">
              <a:srgbClr val="3C4857"/>
            </a:gs>
            <a:gs pos="100000">
              <a:srgbClr val="1D2024"/>
            </a:gs>
          </a:gsLst>
          <a:lin ang="2700000" scaled="1"/>
          <a:tileRect/>
        </a:gradFill>
        <a:effectLst/>
      </p:bgPr>
    </p:bg>
    <p:spTree>
      <p:nvGrpSpPr>
        <p:cNvPr id="1" name=""/>
        <p:cNvGrpSpPr/>
        <p:nvPr/>
      </p:nvGrpSpPr>
      <p:grpSpPr>
        <a:xfrm>
          <a:off x="0" y="0"/>
          <a:ext cx="0" cy="0"/>
          <a:chOff x="0" y="0"/>
          <a:chExt cx="0" cy="0"/>
        </a:xfrm>
      </p:grpSpPr>
      <p:pic>
        <p:nvPicPr>
          <p:cNvPr id="6" name="Picture 5" descr="A picture containing blue, player, tower&#10;&#10;Description automatically generated">
            <a:extLst>
              <a:ext uri="{FF2B5EF4-FFF2-40B4-BE49-F238E27FC236}">
                <a16:creationId xmlns:a16="http://schemas.microsoft.com/office/drawing/2014/main" id="{73FB78CE-8F45-3443-AA1B-A2B3CE474C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7" y="0"/>
            <a:ext cx="12192000" cy="6858000"/>
          </a:xfrm>
          <a:prstGeom prst="rect">
            <a:avLst/>
          </a:prstGeom>
        </p:spPr>
      </p:pic>
      <p:pic>
        <p:nvPicPr>
          <p:cNvPr id="8" name="Graphic 7">
            <a:extLst>
              <a:ext uri="{FF2B5EF4-FFF2-40B4-BE49-F238E27FC236}">
                <a16:creationId xmlns:a16="http://schemas.microsoft.com/office/drawing/2014/main" id="{921E36DD-3FDD-E44B-8242-ECD49E2F91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43600" y="6378047"/>
            <a:ext cx="321733" cy="321733"/>
          </a:xfrm>
          <a:prstGeom prst="rect">
            <a:avLst/>
          </a:prstGeom>
        </p:spPr>
      </p:pic>
      <p:sp>
        <p:nvSpPr>
          <p:cNvPr id="7" name="Title 2">
            <a:extLst>
              <a:ext uri="{FF2B5EF4-FFF2-40B4-BE49-F238E27FC236}">
                <a16:creationId xmlns:a16="http://schemas.microsoft.com/office/drawing/2014/main" id="{7FF2C8AD-F83F-704B-860E-AB211814B778}"/>
              </a:ext>
            </a:extLst>
          </p:cNvPr>
          <p:cNvSpPr>
            <a:spLocks noGrp="1"/>
          </p:cNvSpPr>
          <p:nvPr>
            <p:ph type="title" hasCustomPrompt="1"/>
          </p:nvPr>
        </p:nvSpPr>
        <p:spPr>
          <a:xfrm>
            <a:off x="1824217" y="2591105"/>
            <a:ext cx="7615359" cy="992419"/>
          </a:xfrm>
        </p:spPr>
        <p:txBody>
          <a:bodyPr lIns="0" tIns="0" rIns="0" bIns="0" rtlCol="0" anchor="b" anchorCtr="0">
            <a:noAutofit/>
          </a:bodyPr>
          <a:lstStyle>
            <a:lvl1pPr algn="l">
              <a:defRPr lang="en-US" sz="3733" b="1" i="0" cap="none" baseline="0">
                <a:solidFill>
                  <a:schemeClr val="bg1"/>
                </a:solidFill>
                <a:latin typeface="Source Sans Pro" panose="020B0503030403020204" pitchFamily="34" charset="0"/>
                <a:ea typeface="Source Sans Pro" panose="020B0503030403020204" pitchFamily="34" charset="0"/>
                <a:cs typeface="Calibri" charset="0"/>
              </a:defRPr>
            </a:lvl1pPr>
          </a:lstStyle>
          <a:p>
            <a:pPr lvl="0"/>
            <a:r>
              <a:rPr lang="en-US" dirty="0"/>
              <a:t>Section slide</a:t>
            </a:r>
          </a:p>
        </p:txBody>
      </p:sp>
      <p:sp>
        <p:nvSpPr>
          <p:cNvPr id="9" name="Subtitle 2">
            <a:extLst>
              <a:ext uri="{FF2B5EF4-FFF2-40B4-BE49-F238E27FC236}">
                <a16:creationId xmlns:a16="http://schemas.microsoft.com/office/drawing/2014/main" id="{1F6E3133-BF85-5C44-B03E-8C5CFC3220B9}"/>
              </a:ext>
            </a:extLst>
          </p:cNvPr>
          <p:cNvSpPr>
            <a:spLocks noGrp="1"/>
          </p:cNvSpPr>
          <p:nvPr>
            <p:ph type="subTitle" idx="1" hasCustomPrompt="1"/>
          </p:nvPr>
        </p:nvSpPr>
        <p:spPr>
          <a:xfrm>
            <a:off x="1824216" y="3605229"/>
            <a:ext cx="7615360" cy="332399"/>
          </a:xfrm>
          <a:prstGeom prst="rect">
            <a:avLst/>
          </a:prstGeom>
          <a:ln>
            <a:noFill/>
          </a:ln>
        </p:spPr>
        <p:txBody>
          <a:bodyPr wrap="square" tIns="0" bIns="0" anchor="t" anchorCtr="0">
            <a:normAutofit/>
          </a:bodyPr>
          <a:lstStyle>
            <a:lvl1pPr marL="0" indent="0" algn="l">
              <a:buNone/>
              <a:defRPr sz="2400" b="0" i="0" cap="none" baseline="0">
                <a:solidFill>
                  <a:schemeClr val="tx2"/>
                </a:solidFill>
                <a:latin typeface="+mn-lt"/>
                <a:ea typeface="Source Sans Pro" panose="020B0503030403020204" pitchFamily="34" charset="0"/>
                <a:cs typeface="Calibri" charset="0"/>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79348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Product">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316503-A161-5147-8B45-78DF01687921}"/>
              </a:ext>
            </a:extLst>
          </p:cNvPr>
          <p:cNvSpPr>
            <a:spLocks noGrp="1"/>
          </p:cNvSpPr>
          <p:nvPr>
            <p:ph type="dt" sz="half" idx="10"/>
          </p:nvPr>
        </p:nvSpPr>
        <p:spPr/>
        <p:txBody>
          <a:bodyPr/>
          <a:lstStyle/>
          <a:p>
            <a:fld id="{B01F1F41-2107-2B4A-AFD3-0A9C893A5C18}" type="datetimeFigureOut">
              <a:rPr lang="en-US" smtClean="0"/>
              <a:pPr/>
              <a:t>7/16/2021</a:t>
            </a:fld>
            <a:endParaRPr lang="en-US"/>
          </a:p>
        </p:txBody>
      </p:sp>
      <p:sp>
        <p:nvSpPr>
          <p:cNvPr id="4" name="Footer Placeholder 3">
            <a:extLst>
              <a:ext uri="{FF2B5EF4-FFF2-40B4-BE49-F238E27FC236}">
                <a16:creationId xmlns:a16="http://schemas.microsoft.com/office/drawing/2014/main" id="{C257ABA9-F3BA-1F4A-B98E-56BCF10A8916}"/>
              </a:ext>
            </a:extLst>
          </p:cNvPr>
          <p:cNvSpPr>
            <a:spLocks noGrp="1"/>
          </p:cNvSpPr>
          <p:nvPr>
            <p:ph type="ftr" sz="quarter" idx="11"/>
          </p:nvPr>
        </p:nvSpPr>
        <p:spPr/>
        <p:txBody>
          <a:bodyPr/>
          <a:lstStyle/>
          <a:p>
            <a:r>
              <a:rPr lang="en-US">
                <a:solidFill>
                  <a:schemeClr val="tx2"/>
                </a:solidFill>
              </a:rPr>
              <a:t>|</a:t>
            </a:r>
            <a:r>
              <a:rPr lang="en-US"/>
              <a:t>  Footer</a:t>
            </a:r>
          </a:p>
        </p:txBody>
      </p:sp>
      <p:sp>
        <p:nvSpPr>
          <p:cNvPr id="5" name="Slide Number Placeholder 4">
            <a:extLst>
              <a:ext uri="{FF2B5EF4-FFF2-40B4-BE49-F238E27FC236}">
                <a16:creationId xmlns:a16="http://schemas.microsoft.com/office/drawing/2014/main" id="{63A21C34-E675-7148-A7D0-8CBAE9B8C9F1}"/>
              </a:ext>
            </a:extLst>
          </p:cNvPr>
          <p:cNvSpPr>
            <a:spLocks noGrp="1"/>
          </p:cNvSpPr>
          <p:nvPr>
            <p:ph type="sldNum" sz="quarter" idx="12"/>
          </p:nvPr>
        </p:nvSpPr>
        <p:spPr/>
        <p:txBody>
          <a:bodyPr/>
          <a:lstStyle/>
          <a:p>
            <a:fld id="{47F042C8-DDB5-0141-B946-4F962685D46A}" type="slidenum">
              <a:rPr lang="en-US" smtClean="0"/>
              <a:pPr/>
              <a:t>‹#›</a:t>
            </a:fld>
            <a:endParaRPr lang="en-US"/>
          </a:p>
        </p:txBody>
      </p:sp>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6"/>
            <a:ext cx="5709920" cy="1034001"/>
          </a:xfrm>
        </p:spPr>
        <p:txBody>
          <a:body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9" name="Graphic 8">
            <a:extLst>
              <a:ext uri="{FF2B5EF4-FFF2-40B4-BE49-F238E27FC236}">
                <a16:creationId xmlns:a16="http://schemas.microsoft.com/office/drawing/2014/main" id="{9DB19048-B503-8646-AFB8-50C0B50715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25464"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dirty="0"/>
              <a:t>Click icon to add picture</a:t>
            </a:r>
          </a:p>
        </p:txBody>
      </p:sp>
    </p:spTree>
    <p:extLst>
      <p:ext uri="{BB962C8B-B14F-4D97-AF65-F5344CB8AC3E}">
        <p14:creationId xmlns:p14="http://schemas.microsoft.com/office/powerpoint/2010/main" val="63319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lide With Picture">
    <p:bg>
      <p:bgPr>
        <a:solidFill>
          <a:schemeClr val="accent5"/>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5874542-2663-4892-90C2-92A4C0B8E5DE}"/>
              </a:ext>
            </a:extLst>
          </p:cNvPr>
          <p:cNvSpPr>
            <a:spLocks noGrp="1"/>
          </p:cNvSpPr>
          <p:nvPr>
            <p:ph type="ctrTitle" hasCustomPrompt="1"/>
          </p:nvPr>
        </p:nvSpPr>
        <p:spPr>
          <a:xfrm>
            <a:off x="5195456" y="1122363"/>
            <a:ext cx="6488544" cy="2387600"/>
          </a:xfrm>
        </p:spPr>
        <p:txBody>
          <a:bodyPr anchor="b">
            <a:normAutofit/>
          </a:bodyPr>
          <a:lstStyle>
            <a:lvl1pPr algn="l">
              <a:defRPr sz="3733" b="1" i="0">
                <a:latin typeface="Source Sans Pro" panose="020B0503030403020204" pitchFamily="34" charset="0"/>
              </a:defRPr>
            </a:lvl1pPr>
          </a:lstStyle>
          <a:p>
            <a:r>
              <a:rPr lang="en-US" dirty="0"/>
              <a:t>Title slide with picture</a:t>
            </a:r>
            <a:endParaRPr lang="en-ID" dirty="0"/>
          </a:p>
        </p:txBody>
      </p:sp>
      <p:sp>
        <p:nvSpPr>
          <p:cNvPr id="10" name="Subtitle 2">
            <a:extLst>
              <a:ext uri="{FF2B5EF4-FFF2-40B4-BE49-F238E27FC236}">
                <a16:creationId xmlns:a16="http://schemas.microsoft.com/office/drawing/2014/main" id="{8A567B3B-9E58-4A6B-BCE5-9CD5B1264987}"/>
              </a:ext>
            </a:extLst>
          </p:cNvPr>
          <p:cNvSpPr>
            <a:spLocks noGrp="1"/>
          </p:cNvSpPr>
          <p:nvPr>
            <p:ph type="subTitle" idx="1" hasCustomPrompt="1"/>
          </p:nvPr>
        </p:nvSpPr>
        <p:spPr>
          <a:xfrm>
            <a:off x="5195456" y="3602037"/>
            <a:ext cx="6488544" cy="1655763"/>
          </a:xfrm>
          <a:prstGeom prst="rect">
            <a:avLst/>
          </a:prstGeom>
        </p:spPr>
        <p:txBody>
          <a:bodyPr/>
          <a:lstStyle>
            <a:lvl1pPr marL="0" indent="0" algn="l">
              <a:buNone/>
              <a:defRPr sz="2400" b="0" i="0">
                <a:solidFill>
                  <a:schemeClr val="tx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ID" dirty="0"/>
          </a:p>
        </p:txBody>
      </p:sp>
      <p:sp>
        <p:nvSpPr>
          <p:cNvPr id="6" name="Picture Placeholder 5">
            <a:extLst>
              <a:ext uri="{FF2B5EF4-FFF2-40B4-BE49-F238E27FC236}">
                <a16:creationId xmlns:a16="http://schemas.microsoft.com/office/drawing/2014/main" id="{6E05BEAC-C1DD-43E1-A339-67C947C61DDE}"/>
              </a:ext>
            </a:extLst>
          </p:cNvPr>
          <p:cNvSpPr>
            <a:spLocks noGrp="1"/>
          </p:cNvSpPr>
          <p:nvPr>
            <p:ph type="pic" sz="quarter" idx="13"/>
          </p:nvPr>
        </p:nvSpPr>
        <p:spPr>
          <a:xfrm>
            <a:off x="2" y="0"/>
            <a:ext cx="4804756" cy="6858000"/>
          </a:xfrm>
          <a:prstGeom prst="rect">
            <a:avLst/>
          </a:prstGeom>
        </p:spPr>
        <p:txBody>
          <a:bodyPr/>
          <a:lstStyle/>
          <a:p>
            <a:r>
              <a:rPr lang="en-US" dirty="0"/>
              <a:t>Click icon to add picture</a:t>
            </a:r>
            <a:endParaRPr lang="en-ID" dirty="0"/>
          </a:p>
        </p:txBody>
      </p:sp>
      <p:pic>
        <p:nvPicPr>
          <p:cNvPr id="5" name="Graphic 4">
            <a:extLst>
              <a:ext uri="{FF2B5EF4-FFF2-40B4-BE49-F238E27FC236}">
                <a16:creationId xmlns:a16="http://schemas.microsoft.com/office/drawing/2014/main" id="{97503836-1E64-4842-9A26-FE9E3077A6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410904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1_Divider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tx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1">
                  <a:lumMod val="60000"/>
                  <a:lumOff val="40000"/>
                </a:schemeClr>
              </a:gs>
              <a:gs pos="100000">
                <a:schemeClr val="accent3">
                  <a:lumMod val="40000"/>
                  <a:lumOff val="60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44" name="Group 43">
            <a:extLst>
              <a:ext uri="{FF2B5EF4-FFF2-40B4-BE49-F238E27FC236}">
                <a16:creationId xmlns:a16="http://schemas.microsoft.com/office/drawing/2014/main" id="{9F385DED-ED43-A743-AE64-BC03522DC7DC}"/>
              </a:ext>
            </a:extLst>
          </p:cNvPr>
          <p:cNvGrpSpPr/>
          <p:nvPr userDrawn="1"/>
        </p:nvGrpSpPr>
        <p:grpSpPr>
          <a:xfrm>
            <a:off x="-733314" y="5049600"/>
            <a:ext cx="19125951" cy="1808401"/>
            <a:chOff x="7994577" y="7729729"/>
            <a:chExt cx="9753466" cy="2185140"/>
          </a:xfrm>
        </p:grpSpPr>
        <p:sp>
          <p:nvSpPr>
            <p:cNvPr id="45" name="Graphic 56">
              <a:extLst>
                <a:ext uri="{FF2B5EF4-FFF2-40B4-BE49-F238E27FC236}">
                  <a16:creationId xmlns:a16="http://schemas.microsoft.com/office/drawing/2014/main" id="{3FA4DCE2-42D3-F848-9A47-7D27C5A6AF7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46" name="Graphic 61">
              <a:extLst>
                <a:ext uri="{FF2B5EF4-FFF2-40B4-BE49-F238E27FC236}">
                  <a16:creationId xmlns:a16="http://schemas.microsoft.com/office/drawing/2014/main" id="{329069BE-19D3-3845-8A43-23C29D6BB37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17623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Seashell">
    <p:bg>
      <p:bgPr>
        <a:gradFill>
          <a:gsLst>
            <a:gs pos="0">
              <a:srgbClr val="3C4857"/>
            </a:gs>
            <a:gs pos="100000">
              <a:srgbClr val="1D2024"/>
            </a:gs>
          </a:gsLst>
          <a:lin ang="2700000" scaled="1"/>
        </a:gradFill>
        <a:effectLst/>
      </p:bgPr>
    </p:bg>
    <p:spTree>
      <p:nvGrpSpPr>
        <p:cNvPr id="1" name=""/>
        <p:cNvGrpSpPr/>
        <p:nvPr/>
      </p:nvGrpSpPr>
      <p:grpSpPr>
        <a:xfrm>
          <a:off x="0" y="0"/>
          <a:ext cx="0" cy="0"/>
          <a:chOff x="0" y="0"/>
          <a:chExt cx="0" cy="0"/>
        </a:xfrm>
      </p:grpSpPr>
      <p:sp>
        <p:nvSpPr>
          <p:cNvPr id="8" name="Graphic 5">
            <a:extLst>
              <a:ext uri="{FF2B5EF4-FFF2-40B4-BE49-F238E27FC236}">
                <a16:creationId xmlns:a16="http://schemas.microsoft.com/office/drawing/2014/main" id="{4426409D-282C-CA41-BFFD-ADE2A84D2310}"/>
              </a:ext>
            </a:extLst>
          </p:cNvPr>
          <p:cNvSpPr/>
          <p:nvPr userDrawn="1"/>
        </p:nvSpPr>
        <p:spPr>
          <a:xfrm>
            <a:off x="7973182" y="-1891675"/>
            <a:ext cx="13459527" cy="15023667"/>
          </a:xfrm>
          <a:custGeom>
            <a:avLst/>
            <a:gdLst>
              <a:gd name="connsiteX0" fmla="*/ 8138639 w 8149731"/>
              <a:gd name="connsiteY0" fmla="*/ 3007983 h 9096817"/>
              <a:gd name="connsiteX1" fmla="*/ 4605491 w 8149731"/>
              <a:gd name="connsiteY1" fmla="*/ 11294 h 9096817"/>
              <a:gd name="connsiteX2" fmla="*/ 3352793 w 8149731"/>
              <a:gd name="connsiteY2" fmla="*/ 375758 h 9096817"/>
              <a:gd name="connsiteX3" fmla="*/ 2930116 w 8149731"/>
              <a:gd name="connsiteY3" fmla="*/ 639448 h 9096817"/>
              <a:gd name="connsiteX4" fmla="*/ 2033409 w 8149731"/>
              <a:gd name="connsiteY4" fmla="*/ 1317023 h 9096817"/>
              <a:gd name="connsiteX5" fmla="*/ 1295095 w 8149731"/>
              <a:gd name="connsiteY5" fmla="*/ 2119401 h 9096817"/>
              <a:gd name="connsiteX6" fmla="*/ 692914 w 8149731"/>
              <a:gd name="connsiteY6" fmla="*/ 3064662 h 9096817"/>
              <a:gd name="connsiteX7" fmla="*/ 271862 w 8149731"/>
              <a:gd name="connsiteY7" fmla="*/ 4121045 h 9096817"/>
              <a:gd name="connsiteX8" fmla="*/ 55077 w 8149731"/>
              <a:gd name="connsiteY8" fmla="*/ 5216163 h 9096817"/>
              <a:gd name="connsiteX9" fmla="*/ 1 w 8149731"/>
              <a:gd name="connsiteY9" fmla="*/ 5818844 h 9096817"/>
              <a:gd name="connsiteX10" fmla="*/ 3279449 w 8149731"/>
              <a:gd name="connsiteY10" fmla="*/ 9096817 h 9096817"/>
              <a:gd name="connsiteX11" fmla="*/ 6295493 w 8149731"/>
              <a:gd name="connsiteY11" fmla="*/ 7095240 h 9096817"/>
              <a:gd name="connsiteX12" fmla="*/ 6541034 w 8149731"/>
              <a:gd name="connsiteY12" fmla="*/ 6101697 h 9096817"/>
              <a:gd name="connsiteX13" fmla="*/ 8138639 w 8149731"/>
              <a:gd name="connsiteY13" fmla="*/ 3007983 h 9096817"/>
              <a:gd name="connsiteX14" fmla="*/ 2931943 w 8149731"/>
              <a:gd name="connsiteY14" fmla="*/ 642360 h 9096817"/>
              <a:gd name="connsiteX15" fmla="*/ 7339227 w 8149731"/>
              <a:gd name="connsiteY15" fmla="*/ 2066257 h 9096817"/>
              <a:gd name="connsiteX16" fmla="*/ 7288549 w 8149731"/>
              <a:gd name="connsiteY16" fmla="*/ 5148514 h 9096817"/>
              <a:gd name="connsiteX17" fmla="*/ 6544688 w 8149731"/>
              <a:gd name="connsiteY17" fmla="*/ 6054770 h 9096817"/>
              <a:gd name="connsiteX18" fmla="*/ 6546785 w 8149731"/>
              <a:gd name="connsiteY18" fmla="*/ 6022266 h 9096817"/>
              <a:gd name="connsiteX19" fmla="*/ 6148588 w 8149731"/>
              <a:gd name="connsiteY19" fmla="*/ 1400600 h 9096817"/>
              <a:gd name="connsiteX20" fmla="*/ 2628282 w 8149731"/>
              <a:gd name="connsiteY20" fmla="*/ 949862 h 9096817"/>
              <a:gd name="connsiteX21" fmla="*/ 2516845 w 8149731"/>
              <a:gd name="connsiteY21" fmla="*/ 1005729 h 9096817"/>
              <a:gd name="connsiteX22" fmla="*/ 2931943 w 8149731"/>
              <a:gd name="connsiteY22" fmla="*/ 642360 h 9096817"/>
              <a:gd name="connsiteX23" fmla="*/ 6470599 w 8149731"/>
              <a:gd name="connsiteY23" fmla="*/ 6104609 h 9096817"/>
              <a:gd name="connsiteX24" fmla="*/ 6489138 w 8149731"/>
              <a:gd name="connsiteY24" fmla="*/ 6075423 h 9096817"/>
              <a:gd name="connsiteX25" fmla="*/ 6482372 w 8149731"/>
              <a:gd name="connsiteY25" fmla="*/ 6091743 h 9096817"/>
              <a:gd name="connsiteX26" fmla="*/ 6477906 w 8149731"/>
              <a:gd name="connsiteY26" fmla="*/ 6101562 h 9096817"/>
              <a:gd name="connsiteX27" fmla="*/ 6472155 w 8149731"/>
              <a:gd name="connsiteY27" fmla="*/ 6114564 h 9096817"/>
              <a:gd name="connsiteX28" fmla="*/ 6455578 w 8149731"/>
              <a:gd name="connsiteY28" fmla="*/ 6128107 h 9096817"/>
              <a:gd name="connsiteX29" fmla="*/ 6459232 w 8149731"/>
              <a:gd name="connsiteY29" fmla="*/ 6122419 h 9096817"/>
              <a:gd name="connsiteX30" fmla="*/ 6456593 w 8149731"/>
              <a:gd name="connsiteY30" fmla="*/ 6120049 h 9096817"/>
              <a:gd name="connsiteX31" fmla="*/ 6433453 w 8149731"/>
              <a:gd name="connsiteY31" fmla="*/ 6145104 h 9096817"/>
              <a:gd name="connsiteX32" fmla="*/ 6374318 w 8149731"/>
              <a:gd name="connsiteY32" fmla="*/ 6190000 h 9096817"/>
              <a:gd name="connsiteX33" fmla="*/ 1965159 w 8149731"/>
              <a:gd name="connsiteY33" fmla="*/ 4783520 h 9096817"/>
              <a:gd name="connsiteX34" fmla="*/ 1612356 w 8149731"/>
              <a:gd name="connsiteY34" fmla="*/ 2997419 h 9096817"/>
              <a:gd name="connsiteX35" fmla="*/ 6094392 w 8149731"/>
              <a:gd name="connsiteY35" fmla="*/ 4150692 h 9096817"/>
              <a:gd name="connsiteX36" fmla="*/ 6549559 w 8149731"/>
              <a:gd name="connsiteY36" fmla="*/ 5819115 h 9096817"/>
              <a:gd name="connsiteX37" fmla="*/ 6548747 w 8149731"/>
              <a:gd name="connsiteY37" fmla="*/ 5892114 h 9096817"/>
              <a:gd name="connsiteX38" fmla="*/ 6535215 w 8149731"/>
              <a:gd name="connsiteY38" fmla="*/ 5960575 h 9096817"/>
              <a:gd name="connsiteX39" fmla="*/ 6497190 w 8149731"/>
              <a:gd name="connsiteY39" fmla="*/ 6055718 h 9096817"/>
              <a:gd name="connsiteX40" fmla="*/ 6456526 w 8149731"/>
              <a:gd name="connsiteY40" fmla="*/ 6120049 h 9096817"/>
              <a:gd name="connsiteX41" fmla="*/ 2621516 w 8149731"/>
              <a:gd name="connsiteY41" fmla="*/ 2099628 h 9096817"/>
              <a:gd name="connsiteX42" fmla="*/ 6525486 w 8149731"/>
              <a:gd name="connsiteY42" fmla="*/ 4584602 h 9096817"/>
              <a:gd name="connsiteX43" fmla="*/ 6552604 w 8149731"/>
              <a:gd name="connsiteY43" fmla="*/ 5871460 h 9096817"/>
              <a:gd name="connsiteX44" fmla="*/ 6553010 w 8149731"/>
              <a:gd name="connsiteY44" fmla="*/ 5819250 h 9096817"/>
              <a:gd name="connsiteX45" fmla="*/ 3278129 w 8149731"/>
              <a:gd name="connsiteY45" fmla="*/ 2539009 h 9096817"/>
              <a:gd name="connsiteX46" fmla="*/ 1612694 w 8149731"/>
              <a:gd name="connsiteY46" fmla="*/ 2993491 h 9096817"/>
              <a:gd name="connsiteX47" fmla="*/ 1706472 w 8149731"/>
              <a:gd name="connsiteY47" fmla="*/ 2454261 h 9096817"/>
              <a:gd name="connsiteX48" fmla="*/ 2621516 w 8149731"/>
              <a:gd name="connsiteY48" fmla="*/ 2099628 h 9096817"/>
              <a:gd name="connsiteX49" fmla="*/ 1707690 w 8149731"/>
              <a:gd name="connsiteY49" fmla="*/ 2449453 h 9096817"/>
              <a:gd name="connsiteX50" fmla="*/ 1749640 w 8149731"/>
              <a:gd name="connsiteY50" fmla="*/ 2303320 h 9096817"/>
              <a:gd name="connsiteX51" fmla="*/ 1893486 w 8149731"/>
              <a:gd name="connsiteY51" fmla="*/ 1925054 h 9096817"/>
              <a:gd name="connsiteX52" fmla="*/ 2137065 w 8149731"/>
              <a:gd name="connsiteY52" fmla="*/ 1803163 h 9096817"/>
              <a:gd name="connsiteX53" fmla="*/ 6463522 w 8149731"/>
              <a:gd name="connsiteY53" fmla="*/ 3442827 h 9096817"/>
              <a:gd name="connsiteX54" fmla="*/ 6551521 w 8149731"/>
              <a:gd name="connsiteY54" fmla="*/ 5917643 h 9096817"/>
              <a:gd name="connsiteX55" fmla="*/ 6552130 w 8149731"/>
              <a:gd name="connsiteY55" fmla="*/ 5892452 h 9096817"/>
              <a:gd name="connsiteX56" fmla="*/ 6552807 w 8149731"/>
              <a:gd name="connsiteY56" fmla="*/ 5888999 h 9096817"/>
              <a:gd name="connsiteX57" fmla="*/ 3925473 w 8149731"/>
              <a:gd name="connsiteY57" fmla="*/ 2071979 h 9096817"/>
              <a:gd name="connsiteX58" fmla="*/ 1707690 w 8149731"/>
              <a:gd name="connsiteY58" fmla="*/ 2449453 h 9096817"/>
              <a:gd name="connsiteX59" fmla="*/ 1609108 w 8149731"/>
              <a:gd name="connsiteY59" fmla="*/ 2995387 h 9096817"/>
              <a:gd name="connsiteX60" fmla="*/ 1162548 w 8149731"/>
              <a:gd name="connsiteY60" fmla="*/ 3313250 h 9096817"/>
              <a:gd name="connsiteX61" fmla="*/ 1177636 w 8149731"/>
              <a:gd name="connsiteY61" fmla="*/ 3160752 h 9096817"/>
              <a:gd name="connsiteX62" fmla="*/ 1249356 w 8149731"/>
              <a:gd name="connsiteY62" fmla="*/ 2770025 h 9096817"/>
              <a:gd name="connsiteX63" fmla="*/ 1471892 w 8149731"/>
              <a:gd name="connsiteY63" fmla="*/ 2602155 h 9096817"/>
              <a:gd name="connsiteX64" fmla="*/ 1702345 w 8149731"/>
              <a:gd name="connsiteY64" fmla="*/ 2456564 h 9096817"/>
              <a:gd name="connsiteX65" fmla="*/ 1609108 w 8149731"/>
              <a:gd name="connsiteY65" fmla="*/ 2995387 h 9096817"/>
              <a:gd name="connsiteX66" fmla="*/ 1609108 w 8149731"/>
              <a:gd name="connsiteY66" fmla="*/ 2999518 h 9096817"/>
              <a:gd name="connsiteX67" fmla="*/ 4589597 w 8149731"/>
              <a:gd name="connsiteY67" fmla="*/ 6547180 h 9096817"/>
              <a:gd name="connsiteX68" fmla="*/ 6357673 w 8149731"/>
              <a:gd name="connsiteY68" fmla="*/ 6202528 h 9096817"/>
              <a:gd name="connsiteX69" fmla="*/ 1785121 w 8149731"/>
              <a:gd name="connsiteY69" fmla="*/ 5493390 h 9096817"/>
              <a:gd name="connsiteX70" fmla="*/ 1162751 w 8149731"/>
              <a:gd name="connsiteY70" fmla="*/ 3317787 h 9096817"/>
              <a:gd name="connsiteX71" fmla="*/ 1608770 w 8149731"/>
              <a:gd name="connsiteY71" fmla="*/ 2999518 h 9096817"/>
              <a:gd name="connsiteX72" fmla="*/ 1263362 w 8149731"/>
              <a:gd name="connsiteY72" fmla="*/ 4414260 h 9096817"/>
              <a:gd name="connsiteX73" fmla="*/ 5279324 w 8149731"/>
              <a:gd name="connsiteY73" fmla="*/ 6724314 h 9096817"/>
              <a:gd name="connsiteX74" fmla="*/ 6376077 w 8149731"/>
              <a:gd name="connsiteY74" fmla="*/ 6192912 h 9096817"/>
              <a:gd name="connsiteX75" fmla="*/ 6393736 w 8149731"/>
              <a:gd name="connsiteY75" fmla="*/ 6183703 h 9096817"/>
              <a:gd name="connsiteX76" fmla="*/ 6400096 w 8149731"/>
              <a:gd name="connsiteY76" fmla="*/ 6180384 h 9096817"/>
              <a:gd name="connsiteX77" fmla="*/ 1773727 w 8149731"/>
              <a:gd name="connsiteY77" fmla="*/ 6273942 h 9096817"/>
              <a:gd name="connsiteX78" fmla="*/ 773904 w 8149731"/>
              <a:gd name="connsiteY78" fmla="*/ 4105877 h 9096817"/>
              <a:gd name="connsiteX79" fmla="*/ 773904 w 8149731"/>
              <a:gd name="connsiteY79" fmla="*/ 3707566 h 9096817"/>
              <a:gd name="connsiteX80" fmla="*/ 962136 w 8149731"/>
              <a:gd name="connsiteY80" fmla="*/ 3502790 h 9096817"/>
              <a:gd name="connsiteX81" fmla="*/ 1158894 w 8149731"/>
              <a:gd name="connsiteY81" fmla="*/ 3321038 h 9096817"/>
              <a:gd name="connsiteX82" fmla="*/ 1263362 w 8149731"/>
              <a:gd name="connsiteY82" fmla="*/ 4414260 h 9096817"/>
              <a:gd name="connsiteX83" fmla="*/ 6392924 w 8149731"/>
              <a:gd name="connsiteY83" fmla="*/ 6180317 h 9096817"/>
              <a:gd name="connsiteX84" fmla="*/ 6418906 w 8149731"/>
              <a:gd name="connsiteY84" fmla="*/ 6160611 h 9096817"/>
              <a:gd name="connsiteX85" fmla="*/ 6407472 w 8149731"/>
              <a:gd name="connsiteY85" fmla="*/ 6172597 h 9096817"/>
              <a:gd name="connsiteX86" fmla="*/ 6435686 w 8149731"/>
              <a:gd name="connsiteY86" fmla="*/ 6147610 h 9096817"/>
              <a:gd name="connsiteX87" fmla="*/ 6441234 w 8149731"/>
              <a:gd name="connsiteY87" fmla="*/ 6143276 h 9096817"/>
              <a:gd name="connsiteX88" fmla="*/ 6429529 w 8149731"/>
              <a:gd name="connsiteY88" fmla="*/ 6160814 h 9096817"/>
              <a:gd name="connsiteX89" fmla="*/ 6416944 w 8149731"/>
              <a:gd name="connsiteY89" fmla="*/ 6167586 h 9096817"/>
              <a:gd name="connsiteX90" fmla="*/ 6435686 w 8149731"/>
              <a:gd name="connsiteY90" fmla="*/ 6147610 h 9096817"/>
              <a:gd name="connsiteX91" fmla="*/ 6548274 w 8149731"/>
              <a:gd name="connsiteY91" fmla="*/ 5913241 h 9096817"/>
              <a:gd name="connsiteX92" fmla="*/ 6547800 w 8149731"/>
              <a:gd name="connsiteY92" fmla="*/ 5927597 h 9096817"/>
              <a:gd name="connsiteX93" fmla="*/ 6542861 w 8149731"/>
              <a:gd name="connsiteY93" fmla="*/ 5941141 h 9096817"/>
              <a:gd name="connsiteX94" fmla="*/ 6548274 w 8149731"/>
              <a:gd name="connsiteY94" fmla="*/ 5913241 h 9096817"/>
              <a:gd name="connsiteX95" fmla="*/ 6531156 w 8149731"/>
              <a:gd name="connsiteY95" fmla="*/ 5980958 h 9096817"/>
              <a:gd name="connsiteX96" fmla="*/ 6524389 w 8149731"/>
              <a:gd name="connsiteY96" fmla="*/ 6010686 h 9096817"/>
              <a:gd name="connsiteX97" fmla="*/ 6516067 w 8149731"/>
              <a:gd name="connsiteY97" fmla="*/ 6024229 h 9096817"/>
              <a:gd name="connsiteX98" fmla="*/ 6508286 w 8149731"/>
              <a:gd name="connsiteY98" fmla="*/ 6037028 h 9096817"/>
              <a:gd name="connsiteX99" fmla="*/ 6531156 w 8149731"/>
              <a:gd name="connsiteY99" fmla="*/ 5981094 h 9096817"/>
              <a:gd name="connsiteX100" fmla="*/ 6538666 w 8149731"/>
              <a:gd name="connsiteY100" fmla="*/ 5961388 h 9096817"/>
              <a:gd name="connsiteX101" fmla="*/ 6541913 w 8149731"/>
              <a:gd name="connsiteY101" fmla="*/ 5952856 h 9096817"/>
              <a:gd name="connsiteX102" fmla="*/ 6547462 w 8149731"/>
              <a:gd name="connsiteY102" fmla="*/ 5938161 h 9096817"/>
              <a:gd name="connsiteX103" fmla="*/ 6545973 w 8149731"/>
              <a:gd name="connsiteY103" fmla="*/ 5974593 h 9096817"/>
              <a:gd name="connsiteX104" fmla="*/ 6530140 w 8149731"/>
              <a:gd name="connsiteY104" fmla="*/ 6001679 h 9096817"/>
              <a:gd name="connsiteX105" fmla="*/ 6538666 w 8149731"/>
              <a:gd name="connsiteY105" fmla="*/ 5961523 h 9096817"/>
              <a:gd name="connsiteX106" fmla="*/ 6549289 w 8149731"/>
              <a:gd name="connsiteY106" fmla="*/ 5975609 h 9096817"/>
              <a:gd name="connsiteX107" fmla="*/ 5356965 w 8149731"/>
              <a:gd name="connsiteY107" fmla="*/ 1493203 h 9096817"/>
              <a:gd name="connsiteX108" fmla="*/ 2164197 w 8149731"/>
              <a:gd name="connsiteY108" fmla="*/ 1440945 h 9096817"/>
              <a:gd name="connsiteX109" fmla="*/ 2345460 w 8149731"/>
              <a:gd name="connsiteY109" fmla="*/ 1198316 h 9096817"/>
              <a:gd name="connsiteX110" fmla="*/ 2509470 w 8149731"/>
              <a:gd name="connsiteY110" fmla="*/ 1013313 h 9096817"/>
              <a:gd name="connsiteX111" fmla="*/ 2629770 w 8149731"/>
              <a:gd name="connsiteY111" fmla="*/ 952774 h 9096817"/>
              <a:gd name="connsiteX112" fmla="*/ 6995105 w 8149731"/>
              <a:gd name="connsiteY112" fmla="*/ 2493219 h 9096817"/>
              <a:gd name="connsiteX113" fmla="*/ 6547326 w 8149731"/>
              <a:gd name="connsiteY113" fmla="*/ 6016442 h 9096817"/>
              <a:gd name="connsiteX114" fmla="*/ 6549559 w 8149731"/>
              <a:gd name="connsiteY114" fmla="*/ 5975744 h 9096817"/>
              <a:gd name="connsiteX115" fmla="*/ 2934108 w 8149731"/>
              <a:gd name="connsiteY115" fmla="*/ 1148950 h 9096817"/>
              <a:gd name="connsiteX116" fmla="*/ 6894493 w 8149731"/>
              <a:gd name="connsiteY116" fmla="*/ 3542831 h 9096817"/>
              <a:gd name="connsiteX117" fmla="*/ 6549559 w 8149731"/>
              <a:gd name="connsiteY117" fmla="*/ 5968363 h 9096817"/>
              <a:gd name="connsiteX118" fmla="*/ 6551115 w 8149731"/>
              <a:gd name="connsiteY118" fmla="*/ 5928275 h 9096817"/>
              <a:gd name="connsiteX119" fmla="*/ 4619767 w 8149731"/>
              <a:gd name="connsiteY119" fmla="*/ 1715470 h 9096817"/>
              <a:gd name="connsiteX120" fmla="*/ 2135779 w 8149731"/>
              <a:gd name="connsiteY120" fmla="*/ 1800048 h 9096817"/>
              <a:gd name="connsiteX121" fmla="*/ 1895855 w 8149731"/>
              <a:gd name="connsiteY121" fmla="*/ 1919839 h 9096817"/>
              <a:gd name="connsiteX122" fmla="*/ 2160137 w 8149731"/>
              <a:gd name="connsiteY122" fmla="*/ 1447108 h 9096817"/>
              <a:gd name="connsiteX123" fmla="*/ 2934108 w 8149731"/>
              <a:gd name="connsiteY123" fmla="*/ 1148950 h 9096817"/>
              <a:gd name="connsiteX124" fmla="*/ 1890847 w 8149731"/>
              <a:gd name="connsiteY124" fmla="*/ 1922616 h 9096817"/>
              <a:gd name="connsiteX125" fmla="*/ 1434408 w 8149731"/>
              <a:gd name="connsiteY125" fmla="*/ 2227748 h 9096817"/>
              <a:gd name="connsiteX126" fmla="*/ 1564655 w 8149731"/>
              <a:gd name="connsiteY126" fmla="*/ 1966225 h 9096817"/>
              <a:gd name="connsiteX127" fmla="*/ 1693549 w 8149731"/>
              <a:gd name="connsiteY127" fmla="*/ 1753256 h 9096817"/>
              <a:gd name="connsiteX128" fmla="*/ 1795040 w 8149731"/>
              <a:gd name="connsiteY128" fmla="*/ 1676397 h 9096817"/>
              <a:gd name="connsiteX129" fmla="*/ 2153168 w 8149731"/>
              <a:gd name="connsiteY129" fmla="*/ 1450629 h 9096817"/>
              <a:gd name="connsiteX130" fmla="*/ 1890847 w 8149731"/>
              <a:gd name="connsiteY130" fmla="*/ 1922616 h 9096817"/>
              <a:gd name="connsiteX131" fmla="*/ 1888547 w 8149731"/>
              <a:gd name="connsiteY131" fmla="*/ 1927762 h 9096817"/>
              <a:gd name="connsiteX132" fmla="*/ 1746460 w 8149731"/>
              <a:gd name="connsiteY132" fmla="*/ 2302305 h 9096817"/>
              <a:gd name="connsiteX133" fmla="*/ 1703630 w 8149731"/>
              <a:gd name="connsiteY133" fmla="*/ 2451824 h 9096817"/>
              <a:gd name="connsiteX134" fmla="*/ 1470066 w 8149731"/>
              <a:gd name="connsiteY134" fmla="*/ 2599243 h 9096817"/>
              <a:gd name="connsiteX135" fmla="*/ 1250777 w 8149731"/>
              <a:gd name="connsiteY135" fmla="*/ 2764405 h 9096817"/>
              <a:gd name="connsiteX136" fmla="*/ 1431702 w 8149731"/>
              <a:gd name="connsiteY136" fmla="*/ 2234520 h 9096817"/>
              <a:gd name="connsiteX137" fmla="*/ 1888547 w 8149731"/>
              <a:gd name="connsiteY137" fmla="*/ 1927762 h 9096817"/>
              <a:gd name="connsiteX138" fmla="*/ 1246379 w 8149731"/>
              <a:gd name="connsiteY138" fmla="*/ 2767994 h 9096817"/>
              <a:gd name="connsiteX139" fmla="*/ 857127 w 8149731"/>
              <a:gd name="connsiteY139" fmla="*/ 3146870 h 9096817"/>
              <a:gd name="connsiteX140" fmla="*/ 939267 w 8149731"/>
              <a:gd name="connsiteY140" fmla="*/ 2861037 h 9096817"/>
              <a:gd name="connsiteX141" fmla="*/ 1034804 w 8149731"/>
              <a:gd name="connsiteY141" fmla="*/ 2611568 h 9096817"/>
              <a:gd name="connsiteX142" fmla="*/ 1112479 w 8149731"/>
              <a:gd name="connsiteY142" fmla="*/ 2527328 h 9096817"/>
              <a:gd name="connsiteX143" fmla="*/ 1425951 w 8149731"/>
              <a:gd name="connsiteY143" fmla="*/ 2239057 h 9096817"/>
              <a:gd name="connsiteX144" fmla="*/ 1246379 w 8149731"/>
              <a:gd name="connsiteY144" fmla="*/ 2767994 h 9096817"/>
              <a:gd name="connsiteX145" fmla="*/ 1245026 w 8149731"/>
              <a:gd name="connsiteY145" fmla="*/ 2773479 h 9096817"/>
              <a:gd name="connsiteX146" fmla="*/ 1174456 w 8149731"/>
              <a:gd name="connsiteY146" fmla="*/ 3160346 h 9096817"/>
              <a:gd name="connsiteX147" fmla="*/ 1159165 w 8149731"/>
              <a:gd name="connsiteY147" fmla="*/ 3316095 h 9096817"/>
              <a:gd name="connsiteX148" fmla="*/ 959633 w 8149731"/>
              <a:gd name="connsiteY148" fmla="*/ 3500149 h 9096817"/>
              <a:gd name="connsiteX149" fmla="*/ 774175 w 8149731"/>
              <a:gd name="connsiteY149" fmla="*/ 3701675 h 9096817"/>
              <a:gd name="connsiteX150" fmla="*/ 855368 w 8149731"/>
              <a:gd name="connsiteY150" fmla="*/ 3153777 h 9096817"/>
              <a:gd name="connsiteX151" fmla="*/ 1244958 w 8149731"/>
              <a:gd name="connsiteY151" fmla="*/ 2773479 h 9096817"/>
              <a:gd name="connsiteX152" fmla="*/ 770521 w 8149731"/>
              <a:gd name="connsiteY152" fmla="*/ 3706212 h 9096817"/>
              <a:gd name="connsiteX153" fmla="*/ 447035 w 8149731"/>
              <a:gd name="connsiteY153" fmla="*/ 4164113 h 9096817"/>
              <a:gd name="connsiteX154" fmla="*/ 476874 w 8149731"/>
              <a:gd name="connsiteY154" fmla="*/ 3858033 h 9096817"/>
              <a:gd name="connsiteX155" fmla="*/ 521191 w 8149731"/>
              <a:gd name="connsiteY155" fmla="*/ 3616283 h 9096817"/>
              <a:gd name="connsiteX156" fmla="*/ 594468 w 8149731"/>
              <a:gd name="connsiteY156" fmla="*/ 3499404 h 9096817"/>
              <a:gd name="connsiteX157" fmla="*/ 850632 w 8149731"/>
              <a:gd name="connsiteY157" fmla="*/ 3159533 h 9096817"/>
              <a:gd name="connsiteX158" fmla="*/ 770521 w 8149731"/>
              <a:gd name="connsiteY158" fmla="*/ 3706212 h 9096817"/>
              <a:gd name="connsiteX159" fmla="*/ 770521 w 8149731"/>
              <a:gd name="connsiteY159" fmla="*/ 3711832 h 9096817"/>
              <a:gd name="connsiteX160" fmla="*/ 770521 w 8149731"/>
              <a:gd name="connsiteY160" fmla="*/ 4106080 h 9096817"/>
              <a:gd name="connsiteX161" fmla="*/ 4234027 w 8149731"/>
              <a:gd name="connsiteY161" fmla="*/ 7184423 h 9096817"/>
              <a:gd name="connsiteX162" fmla="*/ 6409569 w 8149731"/>
              <a:gd name="connsiteY162" fmla="*/ 6175374 h 9096817"/>
              <a:gd name="connsiteX163" fmla="*/ 6425469 w 8149731"/>
              <a:gd name="connsiteY163" fmla="*/ 6166841 h 9096817"/>
              <a:gd name="connsiteX164" fmla="*/ 1878215 w 8149731"/>
              <a:gd name="connsiteY164" fmla="*/ 7037952 h 9096817"/>
              <a:gd name="connsiteX165" fmla="*/ 446562 w 8149731"/>
              <a:gd name="connsiteY165" fmla="*/ 4171765 h 9096817"/>
              <a:gd name="connsiteX166" fmla="*/ 770183 w 8149731"/>
              <a:gd name="connsiteY166" fmla="*/ 3711832 h 9096817"/>
              <a:gd name="connsiteX167" fmla="*/ 535197 w 8149731"/>
              <a:gd name="connsiteY167" fmla="*/ 5113031 h 9096817"/>
              <a:gd name="connsiteX168" fmla="*/ 4495664 w 8149731"/>
              <a:gd name="connsiteY168" fmla="*/ 7515627 h 9096817"/>
              <a:gd name="connsiteX169" fmla="*/ 6431897 w 8149731"/>
              <a:gd name="connsiteY169" fmla="*/ 6163387 h 9096817"/>
              <a:gd name="connsiteX170" fmla="*/ 6456255 w 8149731"/>
              <a:gd name="connsiteY170" fmla="*/ 6149844 h 9096817"/>
              <a:gd name="connsiteX171" fmla="*/ 2318463 w 8149731"/>
              <a:gd name="connsiteY171" fmla="*/ 7851367 h 9096817"/>
              <a:gd name="connsiteX172" fmla="*/ 208667 w 8149731"/>
              <a:gd name="connsiteY172" fmla="*/ 4910963 h 9096817"/>
              <a:gd name="connsiteX173" fmla="*/ 208261 w 8149731"/>
              <a:gd name="connsiteY173" fmla="*/ 4675647 h 9096817"/>
              <a:gd name="connsiteX174" fmla="*/ 260630 w 8149731"/>
              <a:gd name="connsiteY174" fmla="*/ 4544005 h 9096817"/>
              <a:gd name="connsiteX175" fmla="*/ 442976 w 8149731"/>
              <a:gd name="connsiteY175" fmla="*/ 4177792 h 9096817"/>
              <a:gd name="connsiteX176" fmla="*/ 535197 w 8149731"/>
              <a:gd name="connsiteY176" fmla="*/ 5113031 h 9096817"/>
              <a:gd name="connsiteX177" fmla="*/ 6435957 w 8149731"/>
              <a:gd name="connsiteY177" fmla="*/ 6157293 h 9096817"/>
              <a:gd name="connsiteX178" fmla="*/ 6449489 w 8149731"/>
              <a:gd name="connsiteY178" fmla="*/ 6136978 h 9096817"/>
              <a:gd name="connsiteX179" fmla="*/ 6469043 w 8149731"/>
              <a:gd name="connsiteY179" fmla="*/ 6121538 h 9096817"/>
              <a:gd name="connsiteX180" fmla="*/ 6458420 w 8149731"/>
              <a:gd name="connsiteY180" fmla="*/ 6145172 h 9096817"/>
              <a:gd name="connsiteX181" fmla="*/ 6435957 w 8149731"/>
              <a:gd name="connsiteY181" fmla="*/ 6157293 h 9096817"/>
              <a:gd name="connsiteX182" fmla="*/ 6474862 w 8149731"/>
              <a:gd name="connsiteY182" fmla="*/ 6116663 h 9096817"/>
              <a:gd name="connsiteX183" fmla="*/ 6505647 w 8149731"/>
              <a:gd name="connsiteY183" fmla="*/ 6091676 h 9096817"/>
              <a:gd name="connsiteX184" fmla="*/ 6497798 w 8149731"/>
              <a:gd name="connsiteY184" fmla="*/ 6122825 h 9096817"/>
              <a:gd name="connsiteX185" fmla="*/ 6463495 w 8149731"/>
              <a:gd name="connsiteY185" fmla="*/ 6142124 h 9096817"/>
              <a:gd name="connsiteX186" fmla="*/ 6475132 w 8149731"/>
              <a:gd name="connsiteY186" fmla="*/ 6116730 h 9096817"/>
              <a:gd name="connsiteX187" fmla="*/ 6477839 w 8149731"/>
              <a:gd name="connsiteY187" fmla="*/ 6109891 h 9096817"/>
              <a:gd name="connsiteX188" fmla="*/ 6484943 w 8149731"/>
              <a:gd name="connsiteY188" fmla="*/ 6093436 h 9096817"/>
              <a:gd name="connsiteX189" fmla="*/ 6492521 w 8149731"/>
              <a:gd name="connsiteY189" fmla="*/ 6084904 h 9096817"/>
              <a:gd name="connsiteX190" fmla="*/ 6512819 w 8149731"/>
              <a:gd name="connsiteY190" fmla="*/ 6061677 h 9096817"/>
              <a:gd name="connsiteX191" fmla="*/ 6506865 w 8149731"/>
              <a:gd name="connsiteY191" fmla="*/ 6086123 h 9096817"/>
              <a:gd name="connsiteX192" fmla="*/ 6477839 w 8149731"/>
              <a:gd name="connsiteY192" fmla="*/ 6110027 h 9096817"/>
              <a:gd name="connsiteX193" fmla="*/ 6490018 w 8149731"/>
              <a:gd name="connsiteY193" fmla="*/ 6082805 h 9096817"/>
              <a:gd name="connsiteX194" fmla="*/ 6489206 w 8149731"/>
              <a:gd name="connsiteY194" fmla="*/ 6083685 h 9096817"/>
              <a:gd name="connsiteX195" fmla="*/ 6500370 w 8149731"/>
              <a:gd name="connsiteY195" fmla="*/ 6057275 h 9096817"/>
              <a:gd name="connsiteX196" fmla="*/ 6519247 w 8149731"/>
              <a:gd name="connsiteY196" fmla="*/ 6026464 h 9096817"/>
              <a:gd name="connsiteX197" fmla="*/ 6522292 w 8149731"/>
              <a:gd name="connsiteY197" fmla="*/ 6021318 h 9096817"/>
              <a:gd name="connsiteX198" fmla="*/ 6514646 w 8149731"/>
              <a:gd name="connsiteY198" fmla="*/ 6054702 h 9096817"/>
              <a:gd name="connsiteX199" fmla="*/ 6490018 w 8149731"/>
              <a:gd name="connsiteY199" fmla="*/ 6082805 h 9096817"/>
              <a:gd name="connsiteX200" fmla="*/ 6527840 w 8149731"/>
              <a:gd name="connsiteY200" fmla="*/ 6012108 h 9096817"/>
              <a:gd name="connsiteX201" fmla="*/ 6545635 w 8149731"/>
              <a:gd name="connsiteY201" fmla="*/ 5982042 h 9096817"/>
              <a:gd name="connsiteX202" fmla="*/ 6543469 w 8149731"/>
              <a:gd name="connsiteY202" fmla="*/ 6020911 h 9096817"/>
              <a:gd name="connsiteX203" fmla="*/ 6519382 w 8149731"/>
              <a:gd name="connsiteY203" fmla="*/ 6049217 h 9096817"/>
              <a:gd name="connsiteX204" fmla="*/ 6527840 w 8149731"/>
              <a:gd name="connsiteY204" fmla="*/ 6012108 h 9096817"/>
              <a:gd name="connsiteX205" fmla="*/ 2409602 w 8149731"/>
              <a:gd name="connsiteY205" fmla="*/ 977694 h 9096817"/>
              <a:gd name="connsiteX206" fmla="*/ 2912863 w 8149731"/>
              <a:gd name="connsiteY206" fmla="*/ 652653 h 9096817"/>
              <a:gd name="connsiteX207" fmla="*/ 2507372 w 8149731"/>
              <a:gd name="connsiteY207" fmla="*/ 1011078 h 9096817"/>
              <a:gd name="connsiteX208" fmla="*/ 2050595 w 8149731"/>
              <a:gd name="connsiteY208" fmla="*/ 1304157 h 9096817"/>
              <a:gd name="connsiteX209" fmla="*/ 2409602 w 8149731"/>
              <a:gd name="connsiteY209" fmla="*/ 977694 h 9096817"/>
              <a:gd name="connsiteX210" fmla="*/ 2035709 w 8149731"/>
              <a:gd name="connsiteY210" fmla="*/ 1319529 h 9096817"/>
              <a:gd name="connsiteX211" fmla="*/ 2499997 w 8149731"/>
              <a:gd name="connsiteY211" fmla="*/ 1018527 h 9096817"/>
              <a:gd name="connsiteX212" fmla="*/ 2342889 w 8149731"/>
              <a:gd name="connsiteY212" fmla="*/ 1196284 h 9096817"/>
              <a:gd name="connsiteX213" fmla="*/ 2157769 w 8149731"/>
              <a:gd name="connsiteY213" fmla="*/ 1444534 h 9096817"/>
              <a:gd name="connsiteX214" fmla="*/ 1793619 w 8149731"/>
              <a:gd name="connsiteY214" fmla="*/ 1673621 h 9096817"/>
              <a:gd name="connsiteX215" fmla="*/ 1699638 w 8149731"/>
              <a:gd name="connsiteY215" fmla="*/ 1744317 h 9096817"/>
              <a:gd name="connsiteX216" fmla="*/ 2035709 w 8149731"/>
              <a:gd name="connsiteY216" fmla="*/ 1319529 h 9096817"/>
              <a:gd name="connsiteX217" fmla="*/ 1592058 w 8149731"/>
              <a:gd name="connsiteY217" fmla="*/ 1736191 h 9096817"/>
              <a:gd name="connsiteX218" fmla="*/ 2018659 w 8149731"/>
              <a:gd name="connsiteY218" fmla="*/ 1332937 h 9096817"/>
              <a:gd name="connsiteX219" fmla="*/ 1691519 w 8149731"/>
              <a:gd name="connsiteY219" fmla="*/ 1750886 h 9096817"/>
              <a:gd name="connsiteX220" fmla="*/ 1309777 w 8149731"/>
              <a:gd name="connsiteY220" fmla="*/ 2103691 h 9096817"/>
              <a:gd name="connsiteX221" fmla="*/ 1592058 w 8149731"/>
              <a:gd name="connsiteY221" fmla="*/ 1736191 h 9096817"/>
              <a:gd name="connsiteX222" fmla="*/ 1297801 w 8149731"/>
              <a:gd name="connsiteY222" fmla="*/ 2121500 h 9096817"/>
              <a:gd name="connsiteX223" fmla="*/ 1685362 w 8149731"/>
              <a:gd name="connsiteY223" fmla="*/ 1759824 h 9096817"/>
              <a:gd name="connsiteX224" fmla="*/ 1561881 w 8149731"/>
              <a:gd name="connsiteY224" fmla="*/ 1964600 h 9096817"/>
              <a:gd name="connsiteX225" fmla="*/ 1428928 w 8149731"/>
              <a:gd name="connsiteY225" fmla="*/ 2232353 h 9096817"/>
              <a:gd name="connsiteX226" fmla="*/ 1110043 w 8149731"/>
              <a:gd name="connsiteY226" fmla="*/ 2525026 h 9096817"/>
              <a:gd name="connsiteX227" fmla="*/ 1039067 w 8149731"/>
              <a:gd name="connsiteY227" fmla="*/ 2601681 h 9096817"/>
              <a:gd name="connsiteX228" fmla="*/ 1297801 w 8149731"/>
              <a:gd name="connsiteY228" fmla="*/ 2121500 h 9096817"/>
              <a:gd name="connsiteX229" fmla="*/ 916195 w 8149731"/>
              <a:gd name="connsiteY229" fmla="*/ 2633982 h 9096817"/>
              <a:gd name="connsiteX230" fmla="*/ 1283525 w 8149731"/>
              <a:gd name="connsiteY230" fmla="*/ 2137346 h 9096817"/>
              <a:gd name="connsiteX231" fmla="*/ 1031895 w 8149731"/>
              <a:gd name="connsiteY231" fmla="*/ 2609739 h 9096817"/>
              <a:gd name="connsiteX232" fmla="*/ 704687 w 8149731"/>
              <a:gd name="connsiteY232" fmla="*/ 3046107 h 9096817"/>
              <a:gd name="connsiteX233" fmla="*/ 916195 w 8149731"/>
              <a:gd name="connsiteY233" fmla="*/ 2633982 h 9096817"/>
              <a:gd name="connsiteX234" fmla="*/ 696162 w 8149731"/>
              <a:gd name="connsiteY234" fmla="*/ 3066219 h 9096817"/>
              <a:gd name="connsiteX235" fmla="*/ 1027700 w 8149731"/>
              <a:gd name="connsiteY235" fmla="*/ 2619287 h 9096817"/>
              <a:gd name="connsiteX236" fmla="*/ 936087 w 8149731"/>
              <a:gd name="connsiteY236" fmla="*/ 2859682 h 9096817"/>
              <a:gd name="connsiteX237" fmla="*/ 852323 w 8149731"/>
              <a:gd name="connsiteY237" fmla="*/ 3152152 h 9096817"/>
              <a:gd name="connsiteX238" fmla="*/ 591626 w 8149731"/>
              <a:gd name="connsiteY238" fmla="*/ 3497508 h 9096817"/>
              <a:gd name="connsiteX239" fmla="*/ 523492 w 8149731"/>
              <a:gd name="connsiteY239" fmla="*/ 3605855 h 9096817"/>
              <a:gd name="connsiteX240" fmla="*/ 696162 w 8149731"/>
              <a:gd name="connsiteY240" fmla="*/ 3066219 h 9096817"/>
              <a:gd name="connsiteX241" fmla="*/ 420174 w 8149731"/>
              <a:gd name="connsiteY241" fmla="*/ 3627863 h 9096817"/>
              <a:gd name="connsiteX242" fmla="*/ 684727 w 8149731"/>
              <a:gd name="connsiteY242" fmla="*/ 3084909 h 9096817"/>
              <a:gd name="connsiteX243" fmla="*/ 518011 w 8149731"/>
              <a:gd name="connsiteY243" fmla="*/ 3614997 h 9096817"/>
              <a:gd name="connsiteX244" fmla="*/ 279778 w 8149731"/>
              <a:gd name="connsiteY244" fmla="*/ 4101137 h 9096817"/>
              <a:gd name="connsiteX245" fmla="*/ 420174 w 8149731"/>
              <a:gd name="connsiteY245" fmla="*/ 3627863 h 9096817"/>
              <a:gd name="connsiteX246" fmla="*/ 275312 w 8149731"/>
              <a:gd name="connsiteY246" fmla="*/ 4122197 h 9096817"/>
              <a:gd name="connsiteX247" fmla="*/ 515643 w 8149731"/>
              <a:gd name="connsiteY247" fmla="*/ 3625628 h 9096817"/>
              <a:gd name="connsiteX248" fmla="*/ 473491 w 8149731"/>
              <a:gd name="connsiteY248" fmla="*/ 3857694 h 9096817"/>
              <a:gd name="connsiteX249" fmla="*/ 443314 w 8149731"/>
              <a:gd name="connsiteY249" fmla="*/ 4170546 h 9096817"/>
              <a:gd name="connsiteX250" fmla="*/ 257450 w 8149731"/>
              <a:gd name="connsiteY250" fmla="*/ 4542990 h 9096817"/>
              <a:gd name="connsiteX251" fmla="*/ 208667 w 8149731"/>
              <a:gd name="connsiteY251" fmla="*/ 4665286 h 9096817"/>
              <a:gd name="connsiteX252" fmla="*/ 275312 w 8149731"/>
              <a:gd name="connsiteY252" fmla="*/ 4122061 h 9096817"/>
              <a:gd name="connsiteX253" fmla="*/ 111776 w 8149731"/>
              <a:gd name="connsiteY253" fmla="*/ 4706729 h 9096817"/>
              <a:gd name="connsiteX254" fmla="*/ 267734 w 8149731"/>
              <a:gd name="connsiteY254" fmla="*/ 4141902 h 9096817"/>
              <a:gd name="connsiteX255" fmla="*/ 204878 w 8149731"/>
              <a:gd name="connsiteY255" fmla="*/ 4674834 h 9096817"/>
              <a:gd name="connsiteX256" fmla="*/ 59069 w 8149731"/>
              <a:gd name="connsiteY256" fmla="*/ 5194968 h 9096817"/>
              <a:gd name="connsiteX257" fmla="*/ 111776 w 8149731"/>
              <a:gd name="connsiteY257" fmla="*/ 4706729 h 9096817"/>
              <a:gd name="connsiteX258" fmla="*/ 58460 w 8149731"/>
              <a:gd name="connsiteY258" fmla="*/ 5216570 h 9096817"/>
              <a:gd name="connsiteX259" fmla="*/ 204539 w 8149731"/>
              <a:gd name="connsiteY259" fmla="*/ 4685669 h 9096817"/>
              <a:gd name="connsiteX260" fmla="*/ 205284 w 8149731"/>
              <a:gd name="connsiteY260" fmla="*/ 4911099 h 9096817"/>
              <a:gd name="connsiteX261" fmla="*/ 3603963 w 8149731"/>
              <a:gd name="connsiteY261" fmla="*/ 8065217 h 9096817"/>
              <a:gd name="connsiteX262" fmla="*/ 5848865 w 8149731"/>
              <a:gd name="connsiteY262" fmla="*/ 7054610 h 9096817"/>
              <a:gd name="connsiteX263" fmla="*/ 6461194 w 8149731"/>
              <a:gd name="connsiteY263" fmla="*/ 6147203 h 9096817"/>
              <a:gd name="connsiteX264" fmla="*/ 6496581 w 8149731"/>
              <a:gd name="connsiteY264" fmla="*/ 6127295 h 9096817"/>
              <a:gd name="connsiteX265" fmla="*/ 2740260 w 8149731"/>
              <a:gd name="connsiteY265" fmla="*/ 8519191 h 9096817"/>
              <a:gd name="connsiteX266" fmla="*/ 58460 w 8149731"/>
              <a:gd name="connsiteY266" fmla="*/ 5216570 h 9096817"/>
              <a:gd name="connsiteX267" fmla="*/ 6292448 w 8149731"/>
              <a:gd name="connsiteY267" fmla="*/ 7094224 h 9096817"/>
              <a:gd name="connsiteX268" fmla="*/ 2000329 w 8149731"/>
              <a:gd name="connsiteY268" fmla="*/ 8835226 h 9096817"/>
              <a:gd name="connsiteX269" fmla="*/ 260765 w 8149731"/>
              <a:gd name="connsiteY269" fmla="*/ 7094224 h 9096817"/>
              <a:gd name="connsiteX270" fmla="*/ 3655 w 8149731"/>
              <a:gd name="connsiteY270" fmla="*/ 5819115 h 9096817"/>
              <a:gd name="connsiteX271" fmla="*/ 54806 w 8149731"/>
              <a:gd name="connsiteY271" fmla="*/ 5237765 h 9096817"/>
              <a:gd name="connsiteX272" fmla="*/ 2740057 w 8149731"/>
              <a:gd name="connsiteY272" fmla="*/ 8522509 h 9096817"/>
              <a:gd name="connsiteX273" fmla="*/ 6500979 w 8149731"/>
              <a:gd name="connsiteY273" fmla="*/ 6125331 h 9096817"/>
              <a:gd name="connsiteX274" fmla="*/ 6537718 w 8149731"/>
              <a:gd name="connsiteY274" fmla="*/ 6104000 h 9096817"/>
              <a:gd name="connsiteX275" fmla="*/ 6292448 w 8149731"/>
              <a:gd name="connsiteY275" fmla="*/ 7094224 h 9096817"/>
              <a:gd name="connsiteX276" fmla="*/ 6537786 w 8149731"/>
              <a:gd name="connsiteY276" fmla="*/ 6099666 h 9096817"/>
              <a:gd name="connsiteX277" fmla="*/ 6501858 w 8149731"/>
              <a:gd name="connsiteY277" fmla="*/ 6120523 h 9096817"/>
              <a:gd name="connsiteX278" fmla="*/ 6510045 w 8149731"/>
              <a:gd name="connsiteY278" fmla="*/ 6088154 h 9096817"/>
              <a:gd name="connsiteX279" fmla="*/ 6540763 w 8149731"/>
              <a:gd name="connsiteY279" fmla="*/ 6062557 h 9096817"/>
              <a:gd name="connsiteX280" fmla="*/ 6537786 w 8149731"/>
              <a:gd name="connsiteY280" fmla="*/ 6099666 h 9096817"/>
              <a:gd name="connsiteX281" fmla="*/ 6511398 w 8149731"/>
              <a:gd name="connsiteY281" fmla="*/ 6082669 h 9096817"/>
              <a:gd name="connsiteX282" fmla="*/ 6517691 w 8149731"/>
              <a:gd name="connsiteY282" fmla="*/ 6056327 h 9096817"/>
              <a:gd name="connsiteX283" fmla="*/ 6543131 w 8149731"/>
              <a:gd name="connsiteY283" fmla="*/ 6026599 h 9096817"/>
              <a:gd name="connsiteX284" fmla="*/ 6541101 w 8149731"/>
              <a:gd name="connsiteY284" fmla="*/ 6057885 h 9096817"/>
              <a:gd name="connsiteX285" fmla="*/ 7996890 w 8149731"/>
              <a:gd name="connsiteY285" fmla="*/ 4256141 h 9096817"/>
              <a:gd name="connsiteX286" fmla="*/ 6541372 w 8149731"/>
              <a:gd name="connsiteY286" fmla="*/ 6097567 h 9096817"/>
              <a:gd name="connsiteX287" fmla="*/ 6544349 w 8149731"/>
              <a:gd name="connsiteY287" fmla="*/ 6059510 h 9096817"/>
              <a:gd name="connsiteX288" fmla="*/ 6923588 w 8149731"/>
              <a:gd name="connsiteY288" fmla="*/ 1436530 h 9096817"/>
              <a:gd name="connsiteX289" fmla="*/ 3570525 w 8149731"/>
              <a:gd name="connsiteY289" fmla="*/ 391604 h 9096817"/>
              <a:gd name="connsiteX290" fmla="*/ 2949332 w 8149731"/>
              <a:gd name="connsiteY290" fmla="*/ 629697 h 9096817"/>
              <a:gd name="connsiteX291" fmla="*/ 3354417 w 8149731"/>
              <a:gd name="connsiteY291" fmla="*/ 378738 h 9096817"/>
              <a:gd name="connsiteX292" fmla="*/ 7771512 w 8149731"/>
              <a:gd name="connsiteY292" fmla="*/ 1756080 h 9096817"/>
              <a:gd name="connsiteX293" fmla="*/ 7996890 w 8149731"/>
              <a:gd name="connsiteY293" fmla="*/ 4256141 h 90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8149731" h="9096817">
                <a:moveTo>
                  <a:pt x="8138639" y="3007983"/>
                </a:moveTo>
                <a:cubicBezTo>
                  <a:pt x="7989785" y="1204011"/>
                  <a:pt x="6407972" y="-137654"/>
                  <a:pt x="4605491" y="11294"/>
                </a:cubicBezTo>
                <a:cubicBezTo>
                  <a:pt x="4167732" y="47469"/>
                  <a:pt x="3741713" y="171416"/>
                  <a:pt x="3352793" y="375758"/>
                </a:cubicBezTo>
                <a:cubicBezTo>
                  <a:pt x="3205475" y="452895"/>
                  <a:pt x="3064186" y="541042"/>
                  <a:pt x="2930116" y="639448"/>
                </a:cubicBezTo>
                <a:cubicBezTo>
                  <a:pt x="2594993" y="812790"/>
                  <a:pt x="2291764" y="1041917"/>
                  <a:pt x="2033409" y="1317023"/>
                </a:cubicBezTo>
                <a:cubicBezTo>
                  <a:pt x="1744964" y="1542108"/>
                  <a:pt x="1495519" y="1813192"/>
                  <a:pt x="1295095" y="2119401"/>
                </a:cubicBezTo>
                <a:cubicBezTo>
                  <a:pt x="1042429" y="2398165"/>
                  <a:pt x="838818" y="2717775"/>
                  <a:pt x="692914" y="3064662"/>
                </a:cubicBezTo>
                <a:cubicBezTo>
                  <a:pt x="493053" y="3390007"/>
                  <a:pt x="350624" y="3747350"/>
                  <a:pt x="271862" y="4121045"/>
                </a:cubicBezTo>
                <a:cubicBezTo>
                  <a:pt x="138458" y="4471250"/>
                  <a:pt x="65163" y="4841506"/>
                  <a:pt x="55077" y="5216163"/>
                </a:cubicBezTo>
                <a:cubicBezTo>
                  <a:pt x="18282" y="5414940"/>
                  <a:pt x="-154" y="5616682"/>
                  <a:pt x="1" y="5818844"/>
                </a:cubicBezTo>
                <a:cubicBezTo>
                  <a:pt x="1159" y="7630407"/>
                  <a:pt x="1469416" y="9097967"/>
                  <a:pt x="3279449" y="9096817"/>
                </a:cubicBezTo>
                <a:cubicBezTo>
                  <a:pt x="4595078" y="9096004"/>
                  <a:pt x="5782692" y="8307847"/>
                  <a:pt x="6295493" y="7095240"/>
                </a:cubicBezTo>
                <a:cubicBezTo>
                  <a:pt x="6429279" y="6779137"/>
                  <a:pt x="6512156" y="6443783"/>
                  <a:pt x="6541034" y="6101697"/>
                </a:cubicBezTo>
                <a:cubicBezTo>
                  <a:pt x="7621305" y="5461481"/>
                  <a:pt x="8241618" y="4260251"/>
                  <a:pt x="8138639" y="3007983"/>
                </a:cubicBezTo>
                <a:close/>
                <a:moveTo>
                  <a:pt x="2931943" y="642360"/>
                </a:moveTo>
                <a:cubicBezTo>
                  <a:pt x="4541856" y="-182495"/>
                  <a:pt x="6515065" y="455005"/>
                  <a:pt x="7339227" y="2066257"/>
                </a:cubicBezTo>
                <a:cubicBezTo>
                  <a:pt x="7836331" y="3038001"/>
                  <a:pt x="7817318" y="4193658"/>
                  <a:pt x="7288549" y="5148514"/>
                </a:cubicBezTo>
                <a:cubicBezTo>
                  <a:pt x="7097611" y="5493274"/>
                  <a:pt x="6845507" y="5800364"/>
                  <a:pt x="6544688" y="6054770"/>
                </a:cubicBezTo>
                <a:cubicBezTo>
                  <a:pt x="6545432" y="6043935"/>
                  <a:pt x="6546176" y="6033100"/>
                  <a:pt x="6546785" y="6022266"/>
                </a:cubicBezTo>
                <a:cubicBezTo>
                  <a:pt x="7712038" y="4635978"/>
                  <a:pt x="7533752" y="2566786"/>
                  <a:pt x="6148588" y="1400600"/>
                </a:cubicBezTo>
                <a:cubicBezTo>
                  <a:pt x="5164991" y="572475"/>
                  <a:pt x="3788508" y="396232"/>
                  <a:pt x="2628282" y="949862"/>
                </a:cubicBezTo>
                <a:cubicBezTo>
                  <a:pt x="2590751" y="967922"/>
                  <a:pt x="2553605" y="986545"/>
                  <a:pt x="2516845" y="1005729"/>
                </a:cubicBezTo>
                <a:cubicBezTo>
                  <a:pt x="2644622" y="872997"/>
                  <a:pt x="2783489" y="751431"/>
                  <a:pt x="2931943" y="642360"/>
                </a:cubicBezTo>
                <a:close/>
                <a:moveTo>
                  <a:pt x="6470599" y="6104609"/>
                </a:moveTo>
                <a:cubicBezTo>
                  <a:pt x="6476824" y="6094946"/>
                  <a:pt x="6483001" y="6085222"/>
                  <a:pt x="6489138" y="6075423"/>
                </a:cubicBezTo>
                <a:lnTo>
                  <a:pt x="6482372" y="6091743"/>
                </a:lnTo>
                <a:close/>
                <a:moveTo>
                  <a:pt x="6477906" y="6101562"/>
                </a:moveTo>
                <a:cubicBezTo>
                  <a:pt x="6476012" y="6105896"/>
                  <a:pt x="6474117" y="6110230"/>
                  <a:pt x="6472155" y="6114564"/>
                </a:cubicBezTo>
                <a:cubicBezTo>
                  <a:pt x="6466675" y="6119033"/>
                  <a:pt x="6461126" y="6123435"/>
                  <a:pt x="6455578" y="6128107"/>
                </a:cubicBezTo>
                <a:lnTo>
                  <a:pt x="6459232" y="6122419"/>
                </a:lnTo>
                <a:close/>
                <a:moveTo>
                  <a:pt x="6456593" y="6120049"/>
                </a:moveTo>
                <a:cubicBezTo>
                  <a:pt x="6448880" y="6128446"/>
                  <a:pt x="6441166" y="6136843"/>
                  <a:pt x="6433453" y="6145104"/>
                </a:cubicBezTo>
                <a:cubicBezTo>
                  <a:pt x="6413920" y="6160361"/>
                  <a:pt x="6394210" y="6175326"/>
                  <a:pt x="6374318" y="6190000"/>
                </a:cubicBezTo>
                <a:cubicBezTo>
                  <a:pt x="4768695" y="7020210"/>
                  <a:pt x="2794646" y="6390469"/>
                  <a:pt x="1965159" y="4783520"/>
                </a:cubicBezTo>
                <a:cubicBezTo>
                  <a:pt x="1681248" y="4233489"/>
                  <a:pt x="1558918" y="3614191"/>
                  <a:pt x="1612356" y="2997419"/>
                </a:cubicBezTo>
                <a:cubicBezTo>
                  <a:pt x="3168241" y="2077180"/>
                  <a:pt x="5174917" y="2593514"/>
                  <a:pt x="6094392" y="4150692"/>
                </a:cubicBezTo>
                <a:cubicBezTo>
                  <a:pt x="6392742" y="4655969"/>
                  <a:pt x="6549951" y="5232199"/>
                  <a:pt x="6549559" y="5819115"/>
                </a:cubicBezTo>
                <a:cubicBezTo>
                  <a:pt x="6549559" y="5843493"/>
                  <a:pt x="6549289" y="5867824"/>
                  <a:pt x="6548747" y="5892114"/>
                </a:cubicBezTo>
                <a:cubicBezTo>
                  <a:pt x="6544552" y="5915002"/>
                  <a:pt x="6540039" y="5937822"/>
                  <a:pt x="6535215" y="5960575"/>
                </a:cubicBezTo>
                <a:cubicBezTo>
                  <a:pt x="6522989" y="5992538"/>
                  <a:pt x="6510316" y="6024250"/>
                  <a:pt x="6497190" y="6055718"/>
                </a:cubicBezTo>
                <a:cubicBezTo>
                  <a:pt x="6483928" y="6077340"/>
                  <a:pt x="6470376" y="6098786"/>
                  <a:pt x="6456526" y="6120049"/>
                </a:cubicBezTo>
                <a:close/>
                <a:moveTo>
                  <a:pt x="2621516" y="2099628"/>
                </a:moveTo>
                <a:cubicBezTo>
                  <a:pt x="4385208" y="1706890"/>
                  <a:pt x="6133074" y="2819445"/>
                  <a:pt x="6525486" y="4584602"/>
                </a:cubicBezTo>
                <a:cubicBezTo>
                  <a:pt x="6619513" y="5007535"/>
                  <a:pt x="6628729" y="5444938"/>
                  <a:pt x="6552604" y="5871460"/>
                </a:cubicBezTo>
                <a:cubicBezTo>
                  <a:pt x="6552874" y="5854036"/>
                  <a:pt x="6553010" y="5836633"/>
                  <a:pt x="6553010" y="5819250"/>
                </a:cubicBezTo>
                <a:cubicBezTo>
                  <a:pt x="6553740" y="4008351"/>
                  <a:pt x="5087526" y="2539740"/>
                  <a:pt x="3278129" y="2539009"/>
                </a:cubicBezTo>
                <a:cubicBezTo>
                  <a:pt x="2692370" y="2538772"/>
                  <a:pt x="2117261" y="2695713"/>
                  <a:pt x="1612694" y="2993491"/>
                </a:cubicBezTo>
                <a:cubicBezTo>
                  <a:pt x="1628838" y="2811441"/>
                  <a:pt x="1660206" y="2631063"/>
                  <a:pt x="1706472" y="2454261"/>
                </a:cubicBezTo>
                <a:cubicBezTo>
                  <a:pt x="1991818" y="2290427"/>
                  <a:pt x="2300337" y="2170859"/>
                  <a:pt x="2621516" y="2099628"/>
                </a:cubicBezTo>
                <a:close/>
                <a:moveTo>
                  <a:pt x="1707690" y="2449453"/>
                </a:moveTo>
                <a:cubicBezTo>
                  <a:pt x="1720545" y="2400562"/>
                  <a:pt x="1734531" y="2351853"/>
                  <a:pt x="1749640" y="2303320"/>
                </a:cubicBezTo>
                <a:cubicBezTo>
                  <a:pt x="1789830" y="2174408"/>
                  <a:pt x="1837869" y="2048088"/>
                  <a:pt x="1893486" y="1925054"/>
                </a:cubicBezTo>
                <a:cubicBezTo>
                  <a:pt x="1972649" y="1881220"/>
                  <a:pt x="2053842" y="1840590"/>
                  <a:pt x="2137065" y="1803163"/>
                </a:cubicBezTo>
                <a:cubicBezTo>
                  <a:pt x="3784191" y="1060234"/>
                  <a:pt x="5721209" y="1794333"/>
                  <a:pt x="6463522" y="3442827"/>
                </a:cubicBezTo>
                <a:cubicBezTo>
                  <a:pt x="6815466" y="4224416"/>
                  <a:pt x="6847063" y="5112990"/>
                  <a:pt x="6551521" y="5917643"/>
                </a:cubicBezTo>
                <a:cubicBezTo>
                  <a:pt x="6551521" y="5909246"/>
                  <a:pt x="6551995" y="5900849"/>
                  <a:pt x="6552130" y="5892452"/>
                </a:cubicBezTo>
                <a:cubicBezTo>
                  <a:pt x="6552130" y="5891301"/>
                  <a:pt x="6552536" y="5890150"/>
                  <a:pt x="6552807" y="5888999"/>
                </a:cubicBezTo>
                <a:cubicBezTo>
                  <a:pt x="6880487" y="4108836"/>
                  <a:pt x="5704159" y="2399898"/>
                  <a:pt x="3925473" y="2071979"/>
                </a:cubicBezTo>
                <a:cubicBezTo>
                  <a:pt x="3164872" y="1931751"/>
                  <a:pt x="2379223" y="2065471"/>
                  <a:pt x="1707690" y="2449453"/>
                </a:cubicBezTo>
                <a:close/>
                <a:moveTo>
                  <a:pt x="1609108" y="2995387"/>
                </a:moveTo>
                <a:cubicBezTo>
                  <a:pt x="1451614" y="3088627"/>
                  <a:pt x="1302233" y="3194956"/>
                  <a:pt x="1162548" y="3313250"/>
                </a:cubicBezTo>
                <a:cubicBezTo>
                  <a:pt x="1166384" y="3262463"/>
                  <a:pt x="1171411" y="3211628"/>
                  <a:pt x="1177636" y="3160752"/>
                </a:cubicBezTo>
                <a:cubicBezTo>
                  <a:pt x="1193678" y="3029185"/>
                  <a:pt x="1217630" y="2898708"/>
                  <a:pt x="1249356" y="2770025"/>
                </a:cubicBezTo>
                <a:cubicBezTo>
                  <a:pt x="1320853" y="2711335"/>
                  <a:pt x="1395030" y="2655381"/>
                  <a:pt x="1471892" y="2602155"/>
                </a:cubicBezTo>
                <a:cubicBezTo>
                  <a:pt x="1547084" y="2550284"/>
                  <a:pt x="1623906" y="2501751"/>
                  <a:pt x="1702345" y="2456564"/>
                </a:cubicBezTo>
                <a:cubicBezTo>
                  <a:pt x="1656302" y="2633251"/>
                  <a:pt x="1625110" y="2813493"/>
                  <a:pt x="1609108" y="2995387"/>
                </a:cubicBezTo>
                <a:close/>
                <a:moveTo>
                  <a:pt x="1609108" y="2999518"/>
                </a:moveTo>
                <a:cubicBezTo>
                  <a:pt x="1453299" y="4802901"/>
                  <a:pt x="2787711" y="6391241"/>
                  <a:pt x="4589597" y="6547180"/>
                </a:cubicBezTo>
                <a:cubicBezTo>
                  <a:pt x="5199558" y="6599972"/>
                  <a:pt x="5812091" y="6480567"/>
                  <a:pt x="6357673" y="6202528"/>
                </a:cubicBezTo>
                <a:cubicBezTo>
                  <a:pt x="4899335" y="7270423"/>
                  <a:pt x="2852137" y="6952967"/>
                  <a:pt x="1785121" y="5493390"/>
                </a:cubicBezTo>
                <a:cubicBezTo>
                  <a:pt x="1325921" y="4865261"/>
                  <a:pt x="1105280" y="4093965"/>
                  <a:pt x="1162751" y="3317787"/>
                </a:cubicBezTo>
                <a:cubicBezTo>
                  <a:pt x="1302213" y="3199330"/>
                  <a:pt x="1451418" y="3092866"/>
                  <a:pt x="1608770" y="2999518"/>
                </a:cubicBezTo>
                <a:close/>
                <a:moveTo>
                  <a:pt x="1263362" y="4414260"/>
                </a:moveTo>
                <a:cubicBezTo>
                  <a:pt x="1734964" y="6162060"/>
                  <a:pt x="3532973" y="7196342"/>
                  <a:pt x="5279324" y="6724314"/>
                </a:cubicBezTo>
                <a:cubicBezTo>
                  <a:pt x="5674902" y="6617402"/>
                  <a:pt x="6046921" y="6437147"/>
                  <a:pt x="6376077" y="6192912"/>
                </a:cubicBezTo>
                <a:lnTo>
                  <a:pt x="6393736" y="6183703"/>
                </a:lnTo>
                <a:lnTo>
                  <a:pt x="6400096" y="6180384"/>
                </a:lnTo>
                <a:cubicBezTo>
                  <a:pt x="5148373" y="7484815"/>
                  <a:pt x="3077075" y="7526732"/>
                  <a:pt x="1773727" y="6273942"/>
                </a:cubicBezTo>
                <a:cubicBezTo>
                  <a:pt x="1179686" y="5702953"/>
                  <a:pt x="822654" y="4928746"/>
                  <a:pt x="773904" y="4105877"/>
                </a:cubicBezTo>
                <a:cubicBezTo>
                  <a:pt x="765887" y="3973226"/>
                  <a:pt x="765887" y="3840217"/>
                  <a:pt x="773904" y="3707566"/>
                </a:cubicBezTo>
                <a:cubicBezTo>
                  <a:pt x="833534" y="3636917"/>
                  <a:pt x="896282" y="3568658"/>
                  <a:pt x="962136" y="3502790"/>
                </a:cubicBezTo>
                <a:cubicBezTo>
                  <a:pt x="1025555" y="3439271"/>
                  <a:pt x="1091145" y="3378685"/>
                  <a:pt x="1158894" y="3321038"/>
                </a:cubicBezTo>
                <a:cubicBezTo>
                  <a:pt x="1131748" y="3688734"/>
                  <a:pt x="1167067" y="4058380"/>
                  <a:pt x="1263362" y="4414260"/>
                </a:cubicBezTo>
                <a:close/>
                <a:moveTo>
                  <a:pt x="6392924" y="6180317"/>
                </a:moveTo>
                <a:lnTo>
                  <a:pt x="6418906" y="6160611"/>
                </a:lnTo>
                <a:lnTo>
                  <a:pt x="6407472" y="6172597"/>
                </a:lnTo>
                <a:close/>
                <a:moveTo>
                  <a:pt x="6435686" y="6147610"/>
                </a:moveTo>
                <a:lnTo>
                  <a:pt x="6441234" y="6143276"/>
                </a:lnTo>
                <a:cubicBezTo>
                  <a:pt x="6437377" y="6149167"/>
                  <a:pt x="6433453" y="6154991"/>
                  <a:pt x="6429529" y="6160814"/>
                </a:cubicBezTo>
                <a:lnTo>
                  <a:pt x="6416944" y="6167586"/>
                </a:lnTo>
                <a:cubicBezTo>
                  <a:pt x="6423237" y="6160950"/>
                  <a:pt x="6429461" y="6154314"/>
                  <a:pt x="6435686" y="6147610"/>
                </a:cubicBezTo>
                <a:close/>
                <a:moveTo>
                  <a:pt x="6548274" y="5913241"/>
                </a:moveTo>
                <a:cubicBezTo>
                  <a:pt x="6548274" y="5918049"/>
                  <a:pt x="6548274" y="5922857"/>
                  <a:pt x="6547800" y="5927597"/>
                </a:cubicBezTo>
                <a:cubicBezTo>
                  <a:pt x="6546176" y="5932067"/>
                  <a:pt x="6544485" y="5936536"/>
                  <a:pt x="6542861" y="5941141"/>
                </a:cubicBezTo>
                <a:cubicBezTo>
                  <a:pt x="6544688" y="5931728"/>
                  <a:pt x="6546447" y="5922518"/>
                  <a:pt x="6548274" y="5913241"/>
                </a:cubicBezTo>
                <a:close/>
                <a:moveTo>
                  <a:pt x="6531156" y="5980958"/>
                </a:moveTo>
                <a:cubicBezTo>
                  <a:pt x="6528990" y="5990845"/>
                  <a:pt x="6526893" y="6000799"/>
                  <a:pt x="6524389" y="6010686"/>
                </a:cubicBezTo>
                <a:lnTo>
                  <a:pt x="6516067" y="6024229"/>
                </a:lnTo>
                <a:cubicBezTo>
                  <a:pt x="6513496" y="6028496"/>
                  <a:pt x="6510925" y="6032762"/>
                  <a:pt x="6508286" y="6037028"/>
                </a:cubicBezTo>
                <a:cubicBezTo>
                  <a:pt x="6516270" y="6018812"/>
                  <a:pt x="6523780" y="6000122"/>
                  <a:pt x="6531156" y="5981094"/>
                </a:cubicBezTo>
                <a:close/>
                <a:moveTo>
                  <a:pt x="6538666" y="5961388"/>
                </a:moveTo>
                <a:lnTo>
                  <a:pt x="6541913" y="5952856"/>
                </a:lnTo>
                <a:cubicBezTo>
                  <a:pt x="6543808" y="5947980"/>
                  <a:pt x="6545635" y="5943037"/>
                  <a:pt x="6547462" y="5938161"/>
                </a:cubicBezTo>
                <a:cubicBezTo>
                  <a:pt x="6546988" y="5950283"/>
                  <a:pt x="6546514" y="5962472"/>
                  <a:pt x="6545973" y="5974593"/>
                </a:cubicBezTo>
                <a:cubicBezTo>
                  <a:pt x="6540784" y="5983619"/>
                  <a:pt x="6535506" y="5992653"/>
                  <a:pt x="6530140" y="6001679"/>
                </a:cubicBezTo>
                <a:cubicBezTo>
                  <a:pt x="6533030" y="5988319"/>
                  <a:pt x="6535871" y="5974932"/>
                  <a:pt x="6538666" y="5961523"/>
                </a:cubicBezTo>
                <a:close/>
                <a:moveTo>
                  <a:pt x="6549289" y="5975609"/>
                </a:moveTo>
                <a:cubicBezTo>
                  <a:pt x="7456821" y="4408301"/>
                  <a:pt x="6922979" y="2401462"/>
                  <a:pt x="5356965" y="1493203"/>
                </a:cubicBezTo>
                <a:cubicBezTo>
                  <a:pt x="4373739" y="922952"/>
                  <a:pt x="3165528" y="903171"/>
                  <a:pt x="2164197" y="1440945"/>
                </a:cubicBezTo>
                <a:cubicBezTo>
                  <a:pt x="2220673" y="1357566"/>
                  <a:pt x="2281094" y="1276685"/>
                  <a:pt x="2345460" y="1198316"/>
                </a:cubicBezTo>
                <a:cubicBezTo>
                  <a:pt x="2397965" y="1134391"/>
                  <a:pt x="2452635" y="1072721"/>
                  <a:pt x="2509470" y="1013313"/>
                </a:cubicBezTo>
                <a:cubicBezTo>
                  <a:pt x="2549071" y="992368"/>
                  <a:pt x="2589174" y="972189"/>
                  <a:pt x="2629770" y="952774"/>
                </a:cubicBezTo>
                <a:cubicBezTo>
                  <a:pt x="4260259" y="171696"/>
                  <a:pt x="6214693" y="861377"/>
                  <a:pt x="6995105" y="2493219"/>
                </a:cubicBezTo>
                <a:cubicBezTo>
                  <a:pt x="7550126" y="3653731"/>
                  <a:pt x="7374952" y="5031953"/>
                  <a:pt x="6547326" y="6016442"/>
                </a:cubicBezTo>
                <a:cubicBezTo>
                  <a:pt x="6548003" y="6002946"/>
                  <a:pt x="6548747" y="5989376"/>
                  <a:pt x="6549559" y="5975744"/>
                </a:cubicBezTo>
                <a:close/>
                <a:moveTo>
                  <a:pt x="2934108" y="1148950"/>
                </a:moveTo>
                <a:cubicBezTo>
                  <a:pt x="4688240" y="715460"/>
                  <a:pt x="6461370" y="1787236"/>
                  <a:pt x="6894493" y="3542831"/>
                </a:cubicBezTo>
                <a:cubicBezTo>
                  <a:pt x="7097475" y="4365551"/>
                  <a:pt x="6973859" y="5234989"/>
                  <a:pt x="6549559" y="5968363"/>
                </a:cubicBezTo>
                <a:cubicBezTo>
                  <a:pt x="6550168" y="5954819"/>
                  <a:pt x="6550641" y="5941682"/>
                  <a:pt x="6551115" y="5928275"/>
                </a:cubicBezTo>
                <a:cubicBezTo>
                  <a:pt x="7180157" y="4231174"/>
                  <a:pt x="6315460" y="2345034"/>
                  <a:pt x="4619767" y="1715470"/>
                </a:cubicBezTo>
                <a:cubicBezTo>
                  <a:pt x="3812838" y="1415883"/>
                  <a:pt x="2920502" y="1446268"/>
                  <a:pt x="2135779" y="1800048"/>
                </a:cubicBezTo>
                <a:cubicBezTo>
                  <a:pt x="2053822" y="1836886"/>
                  <a:pt x="1973847" y="1876819"/>
                  <a:pt x="1895855" y="1919839"/>
                </a:cubicBezTo>
                <a:cubicBezTo>
                  <a:pt x="1970653" y="1755179"/>
                  <a:pt x="2059059" y="1597053"/>
                  <a:pt x="2160137" y="1447108"/>
                </a:cubicBezTo>
                <a:cubicBezTo>
                  <a:pt x="2404453" y="1315283"/>
                  <a:pt x="2664535" y="1215096"/>
                  <a:pt x="2934108" y="1148950"/>
                </a:cubicBezTo>
                <a:close/>
                <a:moveTo>
                  <a:pt x="1890847" y="1922616"/>
                </a:moveTo>
                <a:cubicBezTo>
                  <a:pt x="1730410" y="2011318"/>
                  <a:pt x="1577720" y="2113388"/>
                  <a:pt x="1434408" y="2227748"/>
                </a:cubicBezTo>
                <a:cubicBezTo>
                  <a:pt x="1473787" y="2138951"/>
                  <a:pt x="1517205" y="2051772"/>
                  <a:pt x="1564655" y="1966225"/>
                </a:cubicBezTo>
                <a:cubicBezTo>
                  <a:pt x="1605252" y="1893362"/>
                  <a:pt x="1648216" y="1822374"/>
                  <a:pt x="1693549" y="1753256"/>
                </a:cubicBezTo>
                <a:cubicBezTo>
                  <a:pt x="1726885" y="1726982"/>
                  <a:pt x="1760716" y="1701364"/>
                  <a:pt x="1795040" y="1676397"/>
                </a:cubicBezTo>
                <a:cubicBezTo>
                  <a:pt x="1909414" y="1593471"/>
                  <a:pt x="2029038" y="1518055"/>
                  <a:pt x="2153168" y="1450629"/>
                </a:cubicBezTo>
                <a:cubicBezTo>
                  <a:pt x="2052787" y="1600398"/>
                  <a:pt x="1965044" y="1758274"/>
                  <a:pt x="1890847" y="1922616"/>
                </a:cubicBezTo>
                <a:close/>
                <a:moveTo>
                  <a:pt x="1888547" y="1927762"/>
                </a:moveTo>
                <a:cubicBezTo>
                  <a:pt x="1833708" y="2049639"/>
                  <a:pt x="1786264" y="2174712"/>
                  <a:pt x="1746460" y="2302305"/>
                </a:cubicBezTo>
                <a:cubicBezTo>
                  <a:pt x="1730945" y="2351961"/>
                  <a:pt x="1716669" y="2401801"/>
                  <a:pt x="1703630" y="2451824"/>
                </a:cubicBezTo>
                <a:cubicBezTo>
                  <a:pt x="1624061" y="2497465"/>
                  <a:pt x="1546204" y="2546607"/>
                  <a:pt x="1470066" y="2599243"/>
                </a:cubicBezTo>
                <a:cubicBezTo>
                  <a:pt x="1393927" y="2651880"/>
                  <a:pt x="1320826" y="2706934"/>
                  <a:pt x="1250777" y="2764405"/>
                </a:cubicBezTo>
                <a:cubicBezTo>
                  <a:pt x="1295758" y="2582903"/>
                  <a:pt x="1356287" y="2405614"/>
                  <a:pt x="1431702" y="2234520"/>
                </a:cubicBezTo>
                <a:cubicBezTo>
                  <a:pt x="1575048" y="2119530"/>
                  <a:pt x="1727880" y="2016912"/>
                  <a:pt x="1888547" y="1927762"/>
                </a:cubicBezTo>
                <a:close/>
                <a:moveTo>
                  <a:pt x="1246379" y="2767994"/>
                </a:moveTo>
                <a:cubicBezTo>
                  <a:pt x="1106315" y="2883221"/>
                  <a:pt x="976115" y="3009953"/>
                  <a:pt x="857127" y="3146870"/>
                </a:cubicBezTo>
                <a:cubicBezTo>
                  <a:pt x="880044" y="3050712"/>
                  <a:pt x="907419" y="2955434"/>
                  <a:pt x="939267" y="2861037"/>
                </a:cubicBezTo>
                <a:cubicBezTo>
                  <a:pt x="967820" y="2776343"/>
                  <a:pt x="999668" y="2693187"/>
                  <a:pt x="1034804" y="2611568"/>
                </a:cubicBezTo>
                <a:cubicBezTo>
                  <a:pt x="1060197" y="2583039"/>
                  <a:pt x="1086091" y="2554956"/>
                  <a:pt x="1112479" y="2527328"/>
                </a:cubicBezTo>
                <a:cubicBezTo>
                  <a:pt x="1210620" y="2424547"/>
                  <a:pt x="1315332" y="2328254"/>
                  <a:pt x="1425951" y="2239057"/>
                </a:cubicBezTo>
                <a:cubicBezTo>
                  <a:pt x="1351044" y="2409886"/>
                  <a:pt x="1290961" y="2586851"/>
                  <a:pt x="1246379" y="2767994"/>
                </a:cubicBezTo>
                <a:close/>
                <a:moveTo>
                  <a:pt x="1245026" y="2773479"/>
                </a:moveTo>
                <a:cubicBezTo>
                  <a:pt x="1213848" y="2900915"/>
                  <a:pt x="1190282" y="3030099"/>
                  <a:pt x="1174456" y="3160346"/>
                </a:cubicBezTo>
                <a:cubicBezTo>
                  <a:pt x="1168143" y="3212352"/>
                  <a:pt x="1163041" y="3264271"/>
                  <a:pt x="1159165" y="3316095"/>
                </a:cubicBezTo>
                <a:cubicBezTo>
                  <a:pt x="1090469" y="3374466"/>
                  <a:pt x="1023958" y="3435818"/>
                  <a:pt x="959633" y="3500149"/>
                </a:cubicBezTo>
                <a:cubicBezTo>
                  <a:pt x="895308" y="3564480"/>
                  <a:pt x="833493" y="3631655"/>
                  <a:pt x="774175" y="3701675"/>
                </a:cubicBezTo>
                <a:cubicBezTo>
                  <a:pt x="785623" y="3517065"/>
                  <a:pt x="812789" y="3333769"/>
                  <a:pt x="855368" y="3153777"/>
                </a:cubicBezTo>
                <a:cubicBezTo>
                  <a:pt x="974390" y="3016339"/>
                  <a:pt x="1104711" y="2889132"/>
                  <a:pt x="1244958" y="2773479"/>
                </a:cubicBezTo>
                <a:close/>
                <a:moveTo>
                  <a:pt x="770521" y="3706212"/>
                </a:moveTo>
                <a:cubicBezTo>
                  <a:pt x="649757" y="3849270"/>
                  <a:pt x="541529" y="4002466"/>
                  <a:pt x="447035" y="4164113"/>
                </a:cubicBezTo>
                <a:cubicBezTo>
                  <a:pt x="452178" y="4061996"/>
                  <a:pt x="462124" y="3959967"/>
                  <a:pt x="476874" y="3858033"/>
                </a:cubicBezTo>
                <a:cubicBezTo>
                  <a:pt x="488647" y="3776772"/>
                  <a:pt x="503419" y="3696190"/>
                  <a:pt x="521191" y="3616283"/>
                </a:cubicBezTo>
                <a:cubicBezTo>
                  <a:pt x="544737" y="3576872"/>
                  <a:pt x="569163" y="3537915"/>
                  <a:pt x="594468" y="3499404"/>
                </a:cubicBezTo>
                <a:cubicBezTo>
                  <a:pt x="672390" y="3380669"/>
                  <a:pt x="757957" y="3267135"/>
                  <a:pt x="850632" y="3159533"/>
                </a:cubicBezTo>
                <a:cubicBezTo>
                  <a:pt x="808506" y="3339159"/>
                  <a:pt x="781706" y="3522042"/>
                  <a:pt x="770521" y="3706212"/>
                </a:cubicBezTo>
                <a:close/>
                <a:moveTo>
                  <a:pt x="770521" y="3711832"/>
                </a:moveTo>
                <a:cubicBezTo>
                  <a:pt x="762706" y="3843128"/>
                  <a:pt x="762706" y="3974784"/>
                  <a:pt x="770521" y="4106080"/>
                </a:cubicBezTo>
                <a:cubicBezTo>
                  <a:pt x="877588" y="5913357"/>
                  <a:pt x="2428256" y="7291551"/>
                  <a:pt x="4234027" y="7184423"/>
                </a:cubicBezTo>
                <a:cubicBezTo>
                  <a:pt x="5060577" y="7135396"/>
                  <a:pt x="5837890" y="6774871"/>
                  <a:pt x="6409569" y="6175374"/>
                </a:cubicBezTo>
                <a:lnTo>
                  <a:pt x="6425469" y="6166841"/>
                </a:lnTo>
                <a:cubicBezTo>
                  <a:pt x="5410126" y="7664130"/>
                  <a:pt x="3374255" y="8054111"/>
                  <a:pt x="1878215" y="7037952"/>
                </a:cubicBezTo>
                <a:cubicBezTo>
                  <a:pt x="934917" y="6397201"/>
                  <a:pt x="392592" y="5311468"/>
                  <a:pt x="446562" y="4171765"/>
                </a:cubicBezTo>
                <a:cubicBezTo>
                  <a:pt x="540996" y="4009407"/>
                  <a:pt x="649273" y="3855527"/>
                  <a:pt x="770183" y="3711832"/>
                </a:cubicBezTo>
                <a:close/>
                <a:moveTo>
                  <a:pt x="535197" y="5113031"/>
                </a:moveTo>
                <a:cubicBezTo>
                  <a:pt x="965932" y="6871029"/>
                  <a:pt x="2739097" y="7946780"/>
                  <a:pt x="4495664" y="7515627"/>
                </a:cubicBezTo>
                <a:cubicBezTo>
                  <a:pt x="5286631" y="7321550"/>
                  <a:pt x="5976946" y="6839406"/>
                  <a:pt x="6431897" y="6163387"/>
                </a:cubicBezTo>
                <a:lnTo>
                  <a:pt x="6456255" y="6149844"/>
                </a:lnTo>
                <a:cubicBezTo>
                  <a:pt x="5741189" y="7720403"/>
                  <a:pt x="3930250" y="8465085"/>
                  <a:pt x="2318463" y="7851367"/>
                </a:cubicBezTo>
                <a:cubicBezTo>
                  <a:pt x="1089224" y="7383917"/>
                  <a:pt x="258446" y="6226087"/>
                  <a:pt x="208667" y="4910963"/>
                </a:cubicBezTo>
                <a:cubicBezTo>
                  <a:pt x="205690" y="4832276"/>
                  <a:pt x="205554" y="4753840"/>
                  <a:pt x="208261" y="4675647"/>
                </a:cubicBezTo>
                <a:cubicBezTo>
                  <a:pt x="224680" y="4631496"/>
                  <a:pt x="242136" y="4587615"/>
                  <a:pt x="260630" y="4544005"/>
                </a:cubicBezTo>
                <a:cubicBezTo>
                  <a:pt x="313716" y="4418242"/>
                  <a:pt x="374617" y="4295931"/>
                  <a:pt x="442976" y="4177792"/>
                </a:cubicBezTo>
                <a:cubicBezTo>
                  <a:pt x="428611" y="4492358"/>
                  <a:pt x="459671" y="4807350"/>
                  <a:pt x="535197" y="5113031"/>
                </a:cubicBezTo>
                <a:close/>
                <a:moveTo>
                  <a:pt x="6435957" y="6157293"/>
                </a:moveTo>
                <a:cubicBezTo>
                  <a:pt x="6440558" y="6150522"/>
                  <a:pt x="6445091" y="6143750"/>
                  <a:pt x="6449489" y="6136978"/>
                </a:cubicBezTo>
                <a:cubicBezTo>
                  <a:pt x="6456255" y="6131832"/>
                  <a:pt x="6462547" y="6126753"/>
                  <a:pt x="6469043" y="6121538"/>
                </a:cubicBezTo>
                <a:cubicBezTo>
                  <a:pt x="6465525" y="6129461"/>
                  <a:pt x="6462277" y="6137317"/>
                  <a:pt x="6458420" y="6145172"/>
                </a:cubicBezTo>
                <a:cubicBezTo>
                  <a:pt x="6451045" y="6149099"/>
                  <a:pt x="6443535" y="6153230"/>
                  <a:pt x="6435957" y="6157293"/>
                </a:cubicBezTo>
                <a:close/>
                <a:moveTo>
                  <a:pt x="6474862" y="6116663"/>
                </a:moveTo>
                <a:cubicBezTo>
                  <a:pt x="6485214" y="6108401"/>
                  <a:pt x="6495160" y="6100072"/>
                  <a:pt x="6505647" y="6091676"/>
                </a:cubicBezTo>
                <a:cubicBezTo>
                  <a:pt x="6503076" y="6102104"/>
                  <a:pt x="6500437" y="6112465"/>
                  <a:pt x="6497798" y="6122825"/>
                </a:cubicBezTo>
                <a:cubicBezTo>
                  <a:pt x="6486432" y="6129326"/>
                  <a:pt x="6474997" y="6135759"/>
                  <a:pt x="6463495" y="6142124"/>
                </a:cubicBezTo>
                <a:cubicBezTo>
                  <a:pt x="6467351" y="6133727"/>
                  <a:pt x="6471140" y="6125195"/>
                  <a:pt x="6475132" y="6116730"/>
                </a:cubicBezTo>
                <a:close/>
                <a:moveTo>
                  <a:pt x="6477839" y="6109891"/>
                </a:moveTo>
                <a:lnTo>
                  <a:pt x="6484943" y="6093436"/>
                </a:lnTo>
                <a:lnTo>
                  <a:pt x="6492521" y="6084904"/>
                </a:lnTo>
                <a:cubicBezTo>
                  <a:pt x="6499335" y="6077184"/>
                  <a:pt x="6506101" y="6069444"/>
                  <a:pt x="6512819" y="6061677"/>
                </a:cubicBezTo>
                <a:cubicBezTo>
                  <a:pt x="6510857" y="6069870"/>
                  <a:pt x="6508895" y="6077997"/>
                  <a:pt x="6506865" y="6086123"/>
                </a:cubicBezTo>
                <a:cubicBezTo>
                  <a:pt x="6497325" y="6094249"/>
                  <a:pt x="6487649" y="6102104"/>
                  <a:pt x="6477839" y="6110027"/>
                </a:cubicBezTo>
                <a:close/>
                <a:moveTo>
                  <a:pt x="6490018" y="6082805"/>
                </a:moveTo>
                <a:lnTo>
                  <a:pt x="6489206" y="6083685"/>
                </a:lnTo>
                <a:cubicBezTo>
                  <a:pt x="6492995" y="6074949"/>
                  <a:pt x="6496716" y="6066078"/>
                  <a:pt x="6500370" y="6057275"/>
                </a:cubicBezTo>
                <a:cubicBezTo>
                  <a:pt x="6506730" y="6047030"/>
                  <a:pt x="6513022" y="6036757"/>
                  <a:pt x="6519247" y="6026464"/>
                </a:cubicBezTo>
                <a:lnTo>
                  <a:pt x="6522292" y="6021318"/>
                </a:lnTo>
                <a:cubicBezTo>
                  <a:pt x="6519768" y="6032511"/>
                  <a:pt x="6517217" y="6043644"/>
                  <a:pt x="6514646" y="6054702"/>
                </a:cubicBezTo>
                <a:cubicBezTo>
                  <a:pt x="6506344" y="6064135"/>
                  <a:pt x="6498137" y="6073507"/>
                  <a:pt x="6490018" y="6082805"/>
                </a:cubicBezTo>
                <a:close/>
                <a:moveTo>
                  <a:pt x="6527840" y="6012108"/>
                </a:moveTo>
                <a:cubicBezTo>
                  <a:pt x="6533794" y="6002086"/>
                  <a:pt x="6539748" y="5992132"/>
                  <a:pt x="6545635" y="5982042"/>
                </a:cubicBezTo>
                <a:cubicBezTo>
                  <a:pt x="6544958" y="5994976"/>
                  <a:pt x="6544281" y="6007977"/>
                  <a:pt x="6543469" y="6020911"/>
                </a:cubicBezTo>
                <a:cubicBezTo>
                  <a:pt x="6535533" y="6030391"/>
                  <a:pt x="6527502" y="6039824"/>
                  <a:pt x="6519382" y="6049217"/>
                </a:cubicBezTo>
                <a:cubicBezTo>
                  <a:pt x="6522495" y="6036825"/>
                  <a:pt x="6525066" y="6024500"/>
                  <a:pt x="6527840" y="6012108"/>
                </a:cubicBezTo>
                <a:close/>
                <a:moveTo>
                  <a:pt x="2409602" y="977694"/>
                </a:moveTo>
                <a:cubicBezTo>
                  <a:pt x="2567144" y="854273"/>
                  <a:pt x="2735592" y="745479"/>
                  <a:pt x="2912863" y="652653"/>
                </a:cubicBezTo>
                <a:cubicBezTo>
                  <a:pt x="2767940" y="760587"/>
                  <a:pt x="2632301" y="880480"/>
                  <a:pt x="2507372" y="1011078"/>
                </a:cubicBezTo>
                <a:cubicBezTo>
                  <a:pt x="2347185" y="1095806"/>
                  <a:pt x="2194387" y="1193840"/>
                  <a:pt x="2050595" y="1304157"/>
                </a:cubicBezTo>
                <a:cubicBezTo>
                  <a:pt x="2162113" y="1186682"/>
                  <a:pt x="2282109" y="1077570"/>
                  <a:pt x="2409602" y="977694"/>
                </a:cubicBezTo>
                <a:close/>
                <a:moveTo>
                  <a:pt x="2035709" y="1319529"/>
                </a:moveTo>
                <a:cubicBezTo>
                  <a:pt x="2181586" y="1206096"/>
                  <a:pt x="2336921" y="1105394"/>
                  <a:pt x="2499997" y="1018527"/>
                </a:cubicBezTo>
                <a:cubicBezTo>
                  <a:pt x="2445868" y="1075680"/>
                  <a:pt x="2393499" y="1134933"/>
                  <a:pt x="2342889" y="1196284"/>
                </a:cubicBezTo>
                <a:cubicBezTo>
                  <a:pt x="2277075" y="1276414"/>
                  <a:pt x="2215369" y="1359164"/>
                  <a:pt x="2157769" y="1444534"/>
                </a:cubicBezTo>
                <a:cubicBezTo>
                  <a:pt x="2031501" y="1512827"/>
                  <a:pt x="1909860" y="1589354"/>
                  <a:pt x="1793619" y="1673621"/>
                </a:cubicBezTo>
                <a:cubicBezTo>
                  <a:pt x="1761819" y="1696692"/>
                  <a:pt x="1730492" y="1720257"/>
                  <a:pt x="1699638" y="1744317"/>
                </a:cubicBezTo>
                <a:cubicBezTo>
                  <a:pt x="1799593" y="1593566"/>
                  <a:pt x="1912012" y="1451469"/>
                  <a:pt x="2035709" y="1319529"/>
                </a:cubicBezTo>
                <a:close/>
                <a:moveTo>
                  <a:pt x="1592058" y="1736191"/>
                </a:moveTo>
                <a:cubicBezTo>
                  <a:pt x="1721980" y="1589333"/>
                  <a:pt x="1864744" y="1454374"/>
                  <a:pt x="2018659" y="1332937"/>
                </a:cubicBezTo>
                <a:cubicBezTo>
                  <a:pt x="1898351" y="1463048"/>
                  <a:pt x="1788937" y="1602836"/>
                  <a:pt x="1691519" y="1750886"/>
                </a:cubicBezTo>
                <a:cubicBezTo>
                  <a:pt x="1555034" y="1858068"/>
                  <a:pt x="1427378" y="1976044"/>
                  <a:pt x="1309777" y="2103691"/>
                </a:cubicBezTo>
                <a:cubicBezTo>
                  <a:pt x="1395192" y="1974751"/>
                  <a:pt x="1489511" y="1851953"/>
                  <a:pt x="1592058" y="1736191"/>
                </a:cubicBezTo>
                <a:close/>
                <a:moveTo>
                  <a:pt x="1297801" y="2121500"/>
                </a:moveTo>
                <a:cubicBezTo>
                  <a:pt x="1416925" y="1990570"/>
                  <a:pt x="1546542" y="1869607"/>
                  <a:pt x="1685362" y="1759824"/>
                </a:cubicBezTo>
                <a:cubicBezTo>
                  <a:pt x="1641836" y="1826370"/>
                  <a:pt x="1600671" y="1894628"/>
                  <a:pt x="1561881" y="1964600"/>
                </a:cubicBezTo>
                <a:cubicBezTo>
                  <a:pt x="1513348" y="2052179"/>
                  <a:pt x="1469030" y="2141430"/>
                  <a:pt x="1428928" y="2232353"/>
                </a:cubicBezTo>
                <a:cubicBezTo>
                  <a:pt x="1316307" y="2322775"/>
                  <a:pt x="1209781" y="2420545"/>
                  <a:pt x="1110043" y="2525026"/>
                </a:cubicBezTo>
                <a:cubicBezTo>
                  <a:pt x="1085956" y="2550216"/>
                  <a:pt x="1062295" y="2575766"/>
                  <a:pt x="1039067" y="2601681"/>
                </a:cubicBezTo>
                <a:cubicBezTo>
                  <a:pt x="1111673" y="2434630"/>
                  <a:pt x="1198225" y="2273999"/>
                  <a:pt x="1297801" y="2121500"/>
                </a:cubicBezTo>
                <a:close/>
                <a:moveTo>
                  <a:pt x="916195" y="2633982"/>
                </a:moveTo>
                <a:cubicBezTo>
                  <a:pt x="1022794" y="2457268"/>
                  <a:pt x="1145781" y="2290989"/>
                  <a:pt x="1283525" y="2137346"/>
                </a:cubicBezTo>
                <a:cubicBezTo>
                  <a:pt x="1186770" y="2287590"/>
                  <a:pt x="1102607" y="2445594"/>
                  <a:pt x="1031895" y="2609739"/>
                </a:cubicBezTo>
                <a:cubicBezTo>
                  <a:pt x="910768" y="2745735"/>
                  <a:pt x="801314" y="2891706"/>
                  <a:pt x="704687" y="3046107"/>
                </a:cubicBezTo>
                <a:cubicBezTo>
                  <a:pt x="765467" y="2903949"/>
                  <a:pt x="836139" y="2766233"/>
                  <a:pt x="916195" y="2633982"/>
                </a:cubicBezTo>
                <a:close/>
                <a:moveTo>
                  <a:pt x="696162" y="3066219"/>
                </a:moveTo>
                <a:cubicBezTo>
                  <a:pt x="793648" y="2907992"/>
                  <a:pt x="904571" y="2758459"/>
                  <a:pt x="1027700" y="2619287"/>
                </a:cubicBezTo>
                <a:cubicBezTo>
                  <a:pt x="994140" y="2697974"/>
                  <a:pt x="963605" y="2778104"/>
                  <a:pt x="936087" y="2859682"/>
                </a:cubicBezTo>
                <a:cubicBezTo>
                  <a:pt x="903522" y="2956199"/>
                  <a:pt x="875598" y="3053692"/>
                  <a:pt x="852323" y="3152152"/>
                </a:cubicBezTo>
                <a:cubicBezTo>
                  <a:pt x="757916" y="3261393"/>
                  <a:pt x="670827" y="3376769"/>
                  <a:pt x="591626" y="3497508"/>
                </a:cubicBezTo>
                <a:cubicBezTo>
                  <a:pt x="568170" y="3533175"/>
                  <a:pt x="545459" y="3569288"/>
                  <a:pt x="523492" y="3605855"/>
                </a:cubicBezTo>
                <a:cubicBezTo>
                  <a:pt x="565172" y="3421272"/>
                  <a:pt x="622950" y="3240699"/>
                  <a:pt x="696162" y="3066219"/>
                </a:cubicBezTo>
                <a:close/>
                <a:moveTo>
                  <a:pt x="420174" y="3627863"/>
                </a:moveTo>
                <a:cubicBezTo>
                  <a:pt x="491528" y="3439136"/>
                  <a:pt x="580085" y="3257384"/>
                  <a:pt x="684727" y="3084909"/>
                </a:cubicBezTo>
                <a:cubicBezTo>
                  <a:pt x="614052" y="3256490"/>
                  <a:pt x="558274" y="3433841"/>
                  <a:pt x="518011" y="3614997"/>
                </a:cubicBezTo>
                <a:cubicBezTo>
                  <a:pt x="425193" y="3770109"/>
                  <a:pt x="345504" y="3932725"/>
                  <a:pt x="279778" y="4101137"/>
                </a:cubicBezTo>
                <a:cubicBezTo>
                  <a:pt x="314722" y="3940099"/>
                  <a:pt x="361652" y="3781899"/>
                  <a:pt x="420174" y="3627863"/>
                </a:cubicBezTo>
                <a:close/>
                <a:moveTo>
                  <a:pt x="275312" y="4122197"/>
                </a:moveTo>
                <a:cubicBezTo>
                  <a:pt x="341179" y="3950141"/>
                  <a:pt x="421580" y="3784018"/>
                  <a:pt x="515643" y="3625628"/>
                </a:cubicBezTo>
                <a:cubicBezTo>
                  <a:pt x="498863" y="3702372"/>
                  <a:pt x="484812" y="3779732"/>
                  <a:pt x="473491" y="3857694"/>
                </a:cubicBezTo>
                <a:cubicBezTo>
                  <a:pt x="458380" y="3961843"/>
                  <a:pt x="448321" y="4066127"/>
                  <a:pt x="443314" y="4170546"/>
                </a:cubicBezTo>
                <a:cubicBezTo>
                  <a:pt x="373567" y="4290642"/>
                  <a:pt x="311488" y="4415038"/>
                  <a:pt x="257450" y="4542990"/>
                </a:cubicBezTo>
                <a:cubicBezTo>
                  <a:pt x="240354" y="4583620"/>
                  <a:pt x="224093" y="4624385"/>
                  <a:pt x="208667" y="4665286"/>
                </a:cubicBezTo>
                <a:cubicBezTo>
                  <a:pt x="215525" y="4482654"/>
                  <a:pt x="237820" y="4300929"/>
                  <a:pt x="275312" y="4122061"/>
                </a:cubicBezTo>
                <a:close/>
                <a:moveTo>
                  <a:pt x="111776" y="4706729"/>
                </a:moveTo>
                <a:cubicBezTo>
                  <a:pt x="146889" y="4514190"/>
                  <a:pt x="199081" y="4325165"/>
                  <a:pt x="267734" y="4141902"/>
                </a:cubicBezTo>
                <a:cubicBezTo>
                  <a:pt x="232084" y="4317499"/>
                  <a:pt x="211059" y="4495757"/>
                  <a:pt x="204878" y="4674834"/>
                </a:cubicBezTo>
                <a:cubicBezTo>
                  <a:pt x="141904" y="4843849"/>
                  <a:pt x="93132" y="5017834"/>
                  <a:pt x="59069" y="5194968"/>
                </a:cubicBezTo>
                <a:cubicBezTo>
                  <a:pt x="64525" y="5031140"/>
                  <a:pt x="82142" y="4867943"/>
                  <a:pt x="111776" y="4706729"/>
                </a:cubicBezTo>
                <a:close/>
                <a:moveTo>
                  <a:pt x="58460" y="5216570"/>
                </a:moveTo>
                <a:cubicBezTo>
                  <a:pt x="91999" y="5035772"/>
                  <a:pt x="140869" y="4858164"/>
                  <a:pt x="204539" y="4685669"/>
                </a:cubicBezTo>
                <a:cubicBezTo>
                  <a:pt x="202239" y="4760564"/>
                  <a:pt x="202487" y="4835709"/>
                  <a:pt x="205284" y="4911099"/>
                </a:cubicBezTo>
                <a:cubicBezTo>
                  <a:pt x="273542" y="6721382"/>
                  <a:pt x="1795182" y="8133544"/>
                  <a:pt x="3603963" y="8065217"/>
                </a:cubicBezTo>
                <a:cubicBezTo>
                  <a:pt x="4455040" y="8033051"/>
                  <a:pt x="5260189" y="7670630"/>
                  <a:pt x="5848865" y="7054610"/>
                </a:cubicBezTo>
                <a:cubicBezTo>
                  <a:pt x="6102836" y="6789024"/>
                  <a:pt x="6309885" y="6482185"/>
                  <a:pt x="6461194" y="6147203"/>
                </a:cubicBezTo>
                <a:cubicBezTo>
                  <a:pt x="6473055" y="6140614"/>
                  <a:pt x="6484855" y="6133978"/>
                  <a:pt x="6496581" y="6127295"/>
                </a:cubicBezTo>
                <a:cubicBezTo>
                  <a:pt x="6063938" y="7786359"/>
                  <a:pt x="4425121" y="8829876"/>
                  <a:pt x="2740260" y="8519191"/>
                </a:cubicBezTo>
                <a:cubicBezTo>
                  <a:pt x="1155809" y="8229295"/>
                  <a:pt x="18037" y="6828097"/>
                  <a:pt x="58460" y="5216570"/>
                </a:cubicBezTo>
                <a:close/>
                <a:moveTo>
                  <a:pt x="6292448" y="7094224"/>
                </a:moveTo>
                <a:cubicBezTo>
                  <a:pt x="5587579" y="8761211"/>
                  <a:pt x="3665933" y="9540700"/>
                  <a:pt x="2000329" y="8835226"/>
                </a:cubicBezTo>
                <a:cubicBezTo>
                  <a:pt x="1216433" y="8503210"/>
                  <a:pt x="592504" y="7878793"/>
                  <a:pt x="260765" y="7094224"/>
                </a:cubicBezTo>
                <a:cubicBezTo>
                  <a:pt x="90204" y="6690835"/>
                  <a:pt x="2754" y="6257135"/>
                  <a:pt x="3655" y="5819115"/>
                </a:cubicBezTo>
                <a:cubicBezTo>
                  <a:pt x="3514" y="5624199"/>
                  <a:pt x="20631" y="5429655"/>
                  <a:pt x="54806" y="5237765"/>
                </a:cubicBezTo>
                <a:cubicBezTo>
                  <a:pt x="24589" y="6843333"/>
                  <a:pt x="1161594" y="8234171"/>
                  <a:pt x="2740057" y="8522509"/>
                </a:cubicBezTo>
                <a:cubicBezTo>
                  <a:pt x="4427739" y="8833668"/>
                  <a:pt x="6069019" y="7787510"/>
                  <a:pt x="6500979" y="6125331"/>
                </a:cubicBezTo>
                <a:cubicBezTo>
                  <a:pt x="6513293" y="6118288"/>
                  <a:pt x="6525540" y="6111178"/>
                  <a:pt x="6537718" y="6104000"/>
                </a:cubicBezTo>
                <a:cubicBezTo>
                  <a:pt x="6508665" y="6444955"/>
                  <a:pt x="6425882" y="6779137"/>
                  <a:pt x="6292448" y="7094224"/>
                </a:cubicBezTo>
                <a:close/>
                <a:moveTo>
                  <a:pt x="6537786" y="6099666"/>
                </a:moveTo>
                <a:cubicBezTo>
                  <a:pt x="6525878" y="6106438"/>
                  <a:pt x="6513902" y="6113616"/>
                  <a:pt x="6501858" y="6120523"/>
                </a:cubicBezTo>
                <a:cubicBezTo>
                  <a:pt x="6504632" y="6109756"/>
                  <a:pt x="6507339" y="6098989"/>
                  <a:pt x="6510045" y="6088154"/>
                </a:cubicBezTo>
                <a:cubicBezTo>
                  <a:pt x="6520330" y="6079710"/>
                  <a:pt x="6530567" y="6071177"/>
                  <a:pt x="6540763" y="6062557"/>
                </a:cubicBezTo>
                <a:cubicBezTo>
                  <a:pt x="6539816" y="6074949"/>
                  <a:pt x="6538869" y="6087274"/>
                  <a:pt x="6537786" y="6099666"/>
                </a:cubicBezTo>
                <a:close/>
                <a:moveTo>
                  <a:pt x="6511398" y="6082669"/>
                </a:moveTo>
                <a:cubicBezTo>
                  <a:pt x="6513564" y="6073866"/>
                  <a:pt x="6515661" y="6065130"/>
                  <a:pt x="6517691" y="6056327"/>
                </a:cubicBezTo>
                <a:cubicBezTo>
                  <a:pt x="6526264" y="6046441"/>
                  <a:pt x="6534741" y="6036534"/>
                  <a:pt x="6543131" y="6026599"/>
                </a:cubicBezTo>
                <a:cubicBezTo>
                  <a:pt x="6542543" y="6037028"/>
                  <a:pt x="6541866" y="6047456"/>
                  <a:pt x="6541101" y="6057885"/>
                </a:cubicBezTo>
                <a:close/>
                <a:moveTo>
                  <a:pt x="7996890" y="4256141"/>
                </a:moveTo>
                <a:cubicBezTo>
                  <a:pt x="7756762" y="5029400"/>
                  <a:pt x="7238007" y="5685706"/>
                  <a:pt x="6541372" y="6097567"/>
                </a:cubicBezTo>
                <a:cubicBezTo>
                  <a:pt x="6542455" y="6084904"/>
                  <a:pt x="6543402" y="6072173"/>
                  <a:pt x="6544349" y="6059510"/>
                </a:cubicBezTo>
                <a:cubicBezTo>
                  <a:pt x="7924628" y="4887716"/>
                  <a:pt x="8094388" y="2817935"/>
                  <a:pt x="6923588" y="1436530"/>
                </a:cubicBezTo>
                <a:cubicBezTo>
                  <a:pt x="6102410" y="467695"/>
                  <a:pt x="4796084" y="60595"/>
                  <a:pt x="3570525" y="391604"/>
                </a:cubicBezTo>
                <a:cubicBezTo>
                  <a:pt x="3355858" y="449455"/>
                  <a:pt x="3147700" y="529238"/>
                  <a:pt x="2949332" y="629697"/>
                </a:cubicBezTo>
                <a:cubicBezTo>
                  <a:pt x="3078151" y="536401"/>
                  <a:pt x="3213534" y="452530"/>
                  <a:pt x="3354417" y="378738"/>
                </a:cubicBezTo>
                <a:cubicBezTo>
                  <a:pt x="4954200" y="-461690"/>
                  <a:pt x="6931842" y="154966"/>
                  <a:pt x="7771512" y="1756080"/>
                </a:cubicBezTo>
                <a:cubicBezTo>
                  <a:pt x="8175514" y="2526373"/>
                  <a:pt x="8256639" y="3425918"/>
                  <a:pt x="7996890" y="4256141"/>
                </a:cubicBezTo>
                <a:close/>
              </a:path>
            </a:pathLst>
          </a:custGeom>
          <a:gradFill flip="none" rotWithShape="1">
            <a:gsLst>
              <a:gs pos="0">
                <a:srgbClr val="FF6D70"/>
              </a:gs>
              <a:gs pos="66000">
                <a:srgbClr val="2C1F56"/>
              </a:gs>
              <a:gs pos="26000">
                <a:schemeClr val="accent1">
                  <a:lumMod val="45000"/>
                  <a:lumOff val="55000"/>
                </a:schemeClr>
              </a:gs>
            </a:gsLst>
            <a:lin ang="0" scaled="0"/>
            <a:tileRect/>
          </a:gradFill>
          <a:ln w="6758" cap="flat">
            <a:noFill/>
            <a:prstDash val="solid"/>
            <a:miter/>
          </a:ln>
        </p:spPr>
        <p:txBody>
          <a:bodyPr rtlCol="0" anchor="ctr"/>
          <a:lstStyle/>
          <a:p>
            <a:endParaRPr lang="en-US" sz="2400"/>
          </a:p>
        </p:txBody>
      </p:sp>
      <p:sp>
        <p:nvSpPr>
          <p:cNvPr id="2" name="Title 1">
            <a:extLst>
              <a:ext uri="{FF2B5EF4-FFF2-40B4-BE49-F238E27FC236}">
                <a16:creationId xmlns:a16="http://schemas.microsoft.com/office/drawing/2014/main" id="{1731944A-0D3C-514A-A98E-4FD741224354}"/>
              </a:ext>
            </a:extLst>
          </p:cNvPr>
          <p:cNvSpPr>
            <a:spLocks noGrp="1"/>
          </p:cNvSpPr>
          <p:nvPr>
            <p:ph type="title" hasCustomPrompt="1"/>
          </p:nvPr>
        </p:nvSpPr>
        <p:spPr>
          <a:xfrm>
            <a:off x="508000" y="365677"/>
            <a:ext cx="11176000" cy="517001"/>
          </a:xfrm>
        </p:spPr>
        <p:txBody>
          <a:bodyPr/>
          <a:lstStyle>
            <a:lvl1pPr>
              <a:defRPr>
                <a:solidFill>
                  <a:schemeClr val="bg1"/>
                </a:solidFill>
              </a:defRPr>
            </a:lvl1pPr>
          </a:lstStyle>
          <a:p>
            <a:r>
              <a:rPr lang="en-US" dirty="0"/>
              <a:t>Click to edit master title style</a:t>
            </a:r>
          </a:p>
        </p:txBody>
      </p:sp>
      <p:sp>
        <p:nvSpPr>
          <p:cNvPr id="7" name="Date Placeholder 2">
            <a:extLst>
              <a:ext uri="{FF2B5EF4-FFF2-40B4-BE49-F238E27FC236}">
                <a16:creationId xmlns:a16="http://schemas.microsoft.com/office/drawing/2014/main" id="{B1BE08C3-486D-4D29-A4CC-55058E6CAD49}"/>
              </a:ext>
            </a:extLst>
          </p:cNvPr>
          <p:cNvSpPr>
            <a:spLocks noGrp="1"/>
          </p:cNvSpPr>
          <p:nvPr>
            <p:ph type="dt" sz="half" idx="10"/>
          </p:nvPr>
        </p:nvSpPr>
        <p:spPr>
          <a:xfrm>
            <a:off x="508000" y="6356351"/>
            <a:ext cx="814269" cy="365125"/>
          </a:xfrm>
        </p:spPr>
        <p:txBody>
          <a:bodyPr/>
          <a:lstStyle>
            <a:lvl1pPr>
              <a:defRPr>
                <a:solidFill>
                  <a:schemeClr val="bg1"/>
                </a:solidFill>
              </a:defRPr>
            </a:lvl1pPr>
          </a:lstStyle>
          <a:p>
            <a:fld id="{B01F1F41-2107-2B4A-AFD3-0A9C893A5C18}" type="datetimeFigureOut">
              <a:rPr lang="en-US" smtClean="0"/>
              <a:pPr/>
              <a:t>7/16/2021</a:t>
            </a:fld>
            <a:endParaRPr lang="en-US"/>
          </a:p>
        </p:txBody>
      </p:sp>
      <p:sp>
        <p:nvSpPr>
          <p:cNvPr id="9" name="Footer Placeholder 3">
            <a:extLst>
              <a:ext uri="{FF2B5EF4-FFF2-40B4-BE49-F238E27FC236}">
                <a16:creationId xmlns:a16="http://schemas.microsoft.com/office/drawing/2014/main" id="{4FD8289E-60DA-49A2-ACD5-817042829A10}"/>
              </a:ext>
            </a:extLst>
          </p:cNvPr>
          <p:cNvSpPr>
            <a:spLocks noGrp="1"/>
          </p:cNvSpPr>
          <p:nvPr>
            <p:ph type="ftr" sz="quarter" idx="11"/>
          </p:nvPr>
        </p:nvSpPr>
        <p:spPr>
          <a:xfrm>
            <a:off x="1340532" y="6356351"/>
            <a:ext cx="2823179" cy="365125"/>
          </a:xfrm>
        </p:spPr>
        <p:txBody>
          <a:bodyPr/>
          <a:lstStyle/>
          <a:p>
            <a:r>
              <a:rPr lang="en-US">
                <a:solidFill>
                  <a:schemeClr val="tx2"/>
                </a:solidFill>
              </a:rPr>
              <a:t>|</a:t>
            </a:r>
            <a:r>
              <a:rPr lang="en-US"/>
              <a:t>  </a:t>
            </a:r>
            <a:r>
              <a:rPr lang="en-US">
                <a:solidFill>
                  <a:schemeClr val="bg1"/>
                </a:solidFill>
              </a:rPr>
              <a:t>Footer</a:t>
            </a:r>
          </a:p>
        </p:txBody>
      </p:sp>
      <p:pic>
        <p:nvPicPr>
          <p:cNvPr id="11" name="Graphic 10">
            <a:extLst>
              <a:ext uri="{FF2B5EF4-FFF2-40B4-BE49-F238E27FC236}">
                <a16:creationId xmlns:a16="http://schemas.microsoft.com/office/drawing/2014/main" id="{B1B20BC1-BF3E-48DF-8D38-782E26BEB7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Tree>
    <p:extLst>
      <p:ext uri="{BB962C8B-B14F-4D97-AF65-F5344CB8AC3E}">
        <p14:creationId xmlns:p14="http://schemas.microsoft.com/office/powerpoint/2010/main" val="200089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Engage CTA">
    <p:bg>
      <p:bgPr>
        <a:gradFill flip="none" rotWithShape="1">
          <a:gsLst>
            <a:gs pos="0">
              <a:srgbClr val="3C4857"/>
            </a:gs>
            <a:gs pos="100000">
              <a:srgbClr val="1D2024"/>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78DDB8-D002-D741-B58F-E01893E6A539}"/>
              </a:ext>
            </a:extLst>
          </p:cNvPr>
          <p:cNvPicPr>
            <a:picLocks noChangeAspect="1"/>
          </p:cNvPicPr>
          <p:nvPr userDrawn="1"/>
        </p:nvPicPr>
        <p:blipFill>
          <a:blip r:embed="rId2"/>
          <a:srcRect/>
          <a:stretch/>
        </p:blipFill>
        <p:spPr>
          <a:xfrm rot="3525954">
            <a:off x="-5436746" y="4361991"/>
            <a:ext cx="10873495" cy="2797360"/>
          </a:xfrm>
          <a:prstGeom prst="rect">
            <a:avLst/>
          </a:prstGeom>
        </p:spPr>
      </p:pic>
      <p:sp>
        <p:nvSpPr>
          <p:cNvPr id="3" name="Freeform: Shape 10">
            <a:extLst>
              <a:ext uri="{FF2B5EF4-FFF2-40B4-BE49-F238E27FC236}">
                <a16:creationId xmlns:a16="http://schemas.microsoft.com/office/drawing/2014/main" id="{7CF80DB8-60C3-3847-86AC-FF433B5FBA53}"/>
              </a:ext>
            </a:extLst>
          </p:cNvPr>
          <p:cNvSpPr/>
          <p:nvPr userDrawn="1"/>
        </p:nvSpPr>
        <p:spPr>
          <a:xfrm>
            <a:off x="1392343" y="-1717563"/>
            <a:ext cx="15521827" cy="12733849"/>
          </a:xfrm>
          <a:custGeom>
            <a:avLst/>
            <a:gdLst>
              <a:gd name="connsiteX0" fmla="*/ 4789542 w 6268558"/>
              <a:gd name="connsiteY0" fmla="*/ 3922460 h 5142621"/>
              <a:gd name="connsiteX1" fmla="*/ 4785712 w 6268558"/>
              <a:gd name="connsiteY1" fmla="*/ 3930796 h 5142621"/>
              <a:gd name="connsiteX2" fmla="*/ 4775622 w 6268558"/>
              <a:gd name="connsiteY2" fmla="*/ 3964867 h 5142621"/>
              <a:gd name="connsiteX3" fmla="*/ 4782026 w 6268558"/>
              <a:gd name="connsiteY3" fmla="*/ 3951624 h 5142621"/>
              <a:gd name="connsiteX4" fmla="*/ 4794925 w 6268558"/>
              <a:gd name="connsiteY4" fmla="*/ 3847408 h 5142621"/>
              <a:gd name="connsiteX5" fmla="*/ 4787717 w 6268558"/>
              <a:gd name="connsiteY5" fmla="*/ 3915051 h 5142621"/>
              <a:gd name="connsiteX6" fmla="*/ 4796407 w 6268558"/>
              <a:gd name="connsiteY6" fmla="*/ 3895820 h 5142621"/>
              <a:gd name="connsiteX7" fmla="*/ 4799009 w 6268558"/>
              <a:gd name="connsiteY7" fmla="*/ 3885721 h 5142621"/>
              <a:gd name="connsiteX8" fmla="*/ 4797184 w 6268558"/>
              <a:gd name="connsiteY8" fmla="*/ 3857731 h 5142621"/>
              <a:gd name="connsiteX9" fmla="*/ 4151610 w 6268558"/>
              <a:gd name="connsiteY9" fmla="*/ 2848258 h 5142621"/>
              <a:gd name="connsiteX10" fmla="*/ 4187268 w 6268558"/>
              <a:gd name="connsiteY10" fmla="*/ 2848800 h 5142621"/>
              <a:gd name="connsiteX11" fmla="*/ 4259763 w 6268558"/>
              <a:gd name="connsiteY11" fmla="*/ 2861511 h 5142621"/>
              <a:gd name="connsiteX12" fmla="*/ 4333649 w 6268558"/>
              <a:gd name="connsiteY12" fmla="*/ 2886628 h 5142621"/>
              <a:gd name="connsiteX13" fmla="*/ 4629336 w 6268558"/>
              <a:gd name="connsiteY13" fmla="*/ 3099749 h 5142621"/>
              <a:gd name="connsiteX14" fmla="*/ 4836137 w 6268558"/>
              <a:gd name="connsiteY14" fmla="*/ 3492834 h 5142621"/>
              <a:gd name="connsiteX15" fmla="*/ 4820049 w 6268558"/>
              <a:gd name="connsiteY15" fmla="*/ 3856065 h 5142621"/>
              <a:gd name="connsiteX16" fmla="*/ 4805395 w 6268558"/>
              <a:gd name="connsiteY16" fmla="*/ 3887957 h 5142621"/>
              <a:gd name="connsiteX17" fmla="*/ 4811280 w 6268558"/>
              <a:gd name="connsiteY17" fmla="*/ 3981216 h 5142621"/>
              <a:gd name="connsiteX18" fmla="*/ 4700698 w 6268558"/>
              <a:gd name="connsiteY18" fmla="*/ 4343764 h 5142621"/>
              <a:gd name="connsiteX19" fmla="*/ 4697349 w 6268558"/>
              <a:gd name="connsiteY19" fmla="*/ 4341240 h 5142621"/>
              <a:gd name="connsiteX20" fmla="*/ 4805520 w 6268558"/>
              <a:gd name="connsiteY20" fmla="*/ 3980530 h 5142621"/>
              <a:gd name="connsiteX21" fmla="*/ 4801712 w 6268558"/>
              <a:gd name="connsiteY21" fmla="*/ 3922139 h 5142621"/>
              <a:gd name="connsiteX22" fmla="*/ 4791883 w 6268558"/>
              <a:gd name="connsiteY22" fmla="*/ 4014372 h 5142621"/>
              <a:gd name="connsiteX23" fmla="*/ 4694472 w 6268558"/>
              <a:gd name="connsiteY23" fmla="*/ 4253323 h 5142621"/>
              <a:gd name="connsiteX24" fmla="*/ 4691124 w 6268558"/>
              <a:gd name="connsiteY24" fmla="*/ 4250799 h 5142621"/>
              <a:gd name="connsiteX25" fmla="*/ 4791827 w 6268558"/>
              <a:gd name="connsiteY25" fmla="*/ 3982219 h 5142621"/>
              <a:gd name="connsiteX26" fmla="*/ 4797476 w 6268558"/>
              <a:gd name="connsiteY26" fmla="*/ 3912526 h 5142621"/>
              <a:gd name="connsiteX27" fmla="*/ 4786668 w 6268558"/>
              <a:gd name="connsiteY27" fmla="*/ 3953659 h 5142621"/>
              <a:gd name="connsiteX28" fmla="*/ 4767211 w 6268558"/>
              <a:gd name="connsiteY28" fmla="*/ 3993272 h 5142621"/>
              <a:gd name="connsiteX29" fmla="*/ 4750076 w 6268558"/>
              <a:gd name="connsiteY29" fmla="*/ 4051138 h 5142621"/>
              <a:gd name="connsiteX30" fmla="*/ 4688812 w 6268558"/>
              <a:gd name="connsiteY30" fmla="*/ 4168022 h 5142621"/>
              <a:gd name="connsiteX31" fmla="*/ 4685464 w 6268558"/>
              <a:gd name="connsiteY31" fmla="*/ 4165498 h 5142621"/>
              <a:gd name="connsiteX32" fmla="*/ 4745605 w 6268558"/>
              <a:gd name="connsiteY32" fmla="*/ 4049073 h 5142621"/>
              <a:gd name="connsiteX33" fmla="*/ 4754046 w 6268558"/>
              <a:gd name="connsiteY33" fmla="*/ 4020074 h 5142621"/>
              <a:gd name="connsiteX34" fmla="*/ 4728998 w 6268558"/>
              <a:gd name="connsiteY34" fmla="*/ 4071071 h 5142621"/>
              <a:gd name="connsiteX35" fmla="*/ 4725484 w 6268558"/>
              <a:gd name="connsiteY35" fmla="*/ 4068547 h 5142621"/>
              <a:gd name="connsiteX36" fmla="*/ 4761792 w 6268558"/>
              <a:gd name="connsiteY36" fmla="*/ 3993467 h 5142621"/>
              <a:gd name="connsiteX37" fmla="*/ 4770222 w 6268558"/>
              <a:gd name="connsiteY37" fmla="*/ 3964508 h 5142621"/>
              <a:gd name="connsiteX38" fmla="*/ 4766000 w 6268558"/>
              <a:gd name="connsiteY38" fmla="*/ 3973696 h 5142621"/>
              <a:gd name="connsiteX39" fmla="*/ 4762345 w 6268558"/>
              <a:gd name="connsiteY39" fmla="*/ 3971196 h 5142621"/>
              <a:gd name="connsiteX40" fmla="*/ 4779011 w 6268558"/>
              <a:gd name="connsiteY40" fmla="*/ 3934316 h 5142621"/>
              <a:gd name="connsiteX41" fmla="*/ 4780955 w 6268558"/>
              <a:gd name="connsiteY41" fmla="*/ 3927638 h 5142621"/>
              <a:gd name="connsiteX42" fmla="*/ 4791059 w 6268558"/>
              <a:gd name="connsiteY42" fmla="*/ 3829736 h 5142621"/>
              <a:gd name="connsiteX43" fmla="*/ 4772419 w 6268558"/>
              <a:gd name="connsiteY43" fmla="*/ 3744528 h 5142621"/>
              <a:gd name="connsiteX44" fmla="*/ 4623864 w 6268558"/>
              <a:gd name="connsiteY44" fmla="*/ 3453992 h 5142621"/>
              <a:gd name="connsiteX45" fmla="*/ 4353105 w 6268558"/>
              <a:gd name="connsiteY45" fmla="*/ 3225754 h 5142621"/>
              <a:gd name="connsiteX46" fmla="*/ 4284124 w 6268558"/>
              <a:gd name="connsiteY46" fmla="*/ 3197501 h 5142621"/>
              <a:gd name="connsiteX47" fmla="*/ 4216205 w 6268558"/>
              <a:gd name="connsiteY47" fmla="*/ 3182054 h 5142621"/>
              <a:gd name="connsiteX48" fmla="*/ 4182764 w 6268558"/>
              <a:gd name="connsiteY48" fmla="*/ 3180286 h 5142621"/>
              <a:gd name="connsiteX49" fmla="*/ 4149959 w 6268558"/>
              <a:gd name="connsiteY49" fmla="*/ 3183799 h 5142621"/>
              <a:gd name="connsiteX50" fmla="*/ 4118664 w 6268558"/>
              <a:gd name="connsiteY50" fmla="*/ 3194247 h 5142621"/>
              <a:gd name="connsiteX51" fmla="*/ 4090742 w 6268558"/>
              <a:gd name="connsiteY51" fmla="*/ 3212665 h 5142621"/>
              <a:gd name="connsiteX52" fmla="*/ 4067795 w 6268558"/>
              <a:gd name="connsiteY52" fmla="*/ 3237569 h 5142621"/>
              <a:gd name="connsiteX53" fmla="*/ 4049400 w 6268558"/>
              <a:gd name="connsiteY53" fmla="*/ 3266058 h 5142621"/>
              <a:gd name="connsiteX54" fmla="*/ 4020322 w 6268558"/>
              <a:gd name="connsiteY54" fmla="*/ 3327327 h 5142621"/>
              <a:gd name="connsiteX55" fmla="*/ 3971081 w 6268558"/>
              <a:gd name="connsiteY55" fmla="*/ 3457436 h 5142621"/>
              <a:gd name="connsiteX56" fmla="*/ 3919787 w 6268558"/>
              <a:gd name="connsiteY56" fmla="*/ 3595515 h 5142621"/>
              <a:gd name="connsiteX57" fmla="*/ 3862527 w 6268558"/>
              <a:gd name="connsiteY57" fmla="*/ 3741142 h 5142621"/>
              <a:gd name="connsiteX58" fmla="*/ 3859697 w 6268558"/>
              <a:gd name="connsiteY58" fmla="*/ 3742014 h 5142621"/>
              <a:gd name="connsiteX59" fmla="*/ 3916556 w 6268558"/>
              <a:gd name="connsiteY59" fmla="*/ 3596340 h 5142621"/>
              <a:gd name="connsiteX60" fmla="*/ 3967425 w 6268558"/>
              <a:gd name="connsiteY60" fmla="*/ 3458119 h 5142621"/>
              <a:gd name="connsiteX61" fmla="*/ 4016290 w 6268558"/>
              <a:gd name="connsiteY61" fmla="*/ 3327398 h 5142621"/>
              <a:gd name="connsiteX62" fmla="*/ 4045438 w 6268558"/>
              <a:gd name="connsiteY62" fmla="*/ 3265161 h 5142621"/>
              <a:gd name="connsiteX63" fmla="*/ 4064163 w 6268558"/>
              <a:gd name="connsiteY63" fmla="*/ 3235753 h 5142621"/>
              <a:gd name="connsiteX64" fmla="*/ 4087959 w 6268558"/>
              <a:gd name="connsiteY64" fmla="*/ 3209576 h 5142621"/>
              <a:gd name="connsiteX65" fmla="*/ 4117273 w 6268558"/>
              <a:gd name="connsiteY65" fmla="*/ 3190025 h 5142621"/>
              <a:gd name="connsiteX66" fmla="*/ 4149865 w 6268558"/>
              <a:gd name="connsiteY66" fmla="*/ 3179036 h 5142621"/>
              <a:gd name="connsiteX67" fmla="*/ 4183589 w 6268558"/>
              <a:gd name="connsiteY67" fmla="*/ 3175380 h 5142621"/>
              <a:gd name="connsiteX68" fmla="*/ 4217690 w 6268558"/>
              <a:gd name="connsiteY68" fmla="*/ 3177172 h 5142621"/>
              <a:gd name="connsiteX69" fmla="*/ 4286506 w 6268558"/>
              <a:gd name="connsiteY69" fmla="*/ 3192808 h 5142621"/>
              <a:gd name="connsiteX70" fmla="*/ 4356124 w 6268558"/>
              <a:gd name="connsiteY70" fmla="*/ 3221297 h 5142621"/>
              <a:gd name="connsiteX71" fmla="*/ 4628864 w 6268558"/>
              <a:gd name="connsiteY71" fmla="*/ 3451044 h 5142621"/>
              <a:gd name="connsiteX72" fmla="*/ 4778356 w 6268558"/>
              <a:gd name="connsiteY72" fmla="*/ 3743613 h 5142621"/>
              <a:gd name="connsiteX73" fmla="*/ 4793000 w 6268558"/>
              <a:gd name="connsiteY73" fmla="*/ 3810937 h 5142621"/>
              <a:gd name="connsiteX74" fmla="*/ 4793634 w 6268558"/>
              <a:gd name="connsiteY74" fmla="*/ 3804788 h 5142621"/>
              <a:gd name="connsiteX75" fmla="*/ 4791286 w 6268558"/>
              <a:gd name="connsiteY75" fmla="*/ 3768794 h 5142621"/>
              <a:gd name="connsiteX76" fmla="*/ 4766193 w 6268558"/>
              <a:gd name="connsiteY76" fmla="*/ 3654087 h 5142621"/>
              <a:gd name="connsiteX77" fmla="*/ 4617638 w 6268558"/>
              <a:gd name="connsiteY77" fmla="*/ 3363551 h 5142621"/>
              <a:gd name="connsiteX78" fmla="*/ 4346879 w 6268558"/>
              <a:gd name="connsiteY78" fmla="*/ 3135313 h 5142621"/>
              <a:gd name="connsiteX79" fmla="*/ 4277898 w 6268558"/>
              <a:gd name="connsiteY79" fmla="*/ 3107060 h 5142621"/>
              <a:gd name="connsiteX80" fmla="*/ 4209979 w 6268558"/>
              <a:gd name="connsiteY80" fmla="*/ 3091613 h 5142621"/>
              <a:gd name="connsiteX81" fmla="*/ 4176538 w 6268558"/>
              <a:gd name="connsiteY81" fmla="*/ 3089844 h 5142621"/>
              <a:gd name="connsiteX82" fmla="*/ 4143733 w 6268558"/>
              <a:gd name="connsiteY82" fmla="*/ 3093358 h 5142621"/>
              <a:gd name="connsiteX83" fmla="*/ 4112438 w 6268558"/>
              <a:gd name="connsiteY83" fmla="*/ 3103806 h 5142621"/>
              <a:gd name="connsiteX84" fmla="*/ 4084516 w 6268558"/>
              <a:gd name="connsiteY84" fmla="*/ 3122224 h 5142621"/>
              <a:gd name="connsiteX85" fmla="*/ 4061569 w 6268558"/>
              <a:gd name="connsiteY85" fmla="*/ 3147128 h 5142621"/>
              <a:gd name="connsiteX86" fmla="*/ 4043175 w 6268558"/>
              <a:gd name="connsiteY86" fmla="*/ 3175617 h 5142621"/>
              <a:gd name="connsiteX87" fmla="*/ 4014096 w 6268558"/>
              <a:gd name="connsiteY87" fmla="*/ 3236886 h 5142621"/>
              <a:gd name="connsiteX88" fmla="*/ 3964855 w 6268558"/>
              <a:gd name="connsiteY88" fmla="*/ 3366994 h 5142621"/>
              <a:gd name="connsiteX89" fmla="*/ 3913561 w 6268558"/>
              <a:gd name="connsiteY89" fmla="*/ 3505074 h 5142621"/>
              <a:gd name="connsiteX90" fmla="*/ 3856301 w 6268558"/>
              <a:gd name="connsiteY90" fmla="*/ 3650701 h 5142621"/>
              <a:gd name="connsiteX91" fmla="*/ 3853471 w 6268558"/>
              <a:gd name="connsiteY91" fmla="*/ 3651573 h 5142621"/>
              <a:gd name="connsiteX92" fmla="*/ 3910330 w 6268558"/>
              <a:gd name="connsiteY92" fmla="*/ 3505899 h 5142621"/>
              <a:gd name="connsiteX93" fmla="*/ 3961199 w 6268558"/>
              <a:gd name="connsiteY93" fmla="*/ 3367678 h 5142621"/>
              <a:gd name="connsiteX94" fmla="*/ 4010064 w 6268558"/>
              <a:gd name="connsiteY94" fmla="*/ 3236956 h 5142621"/>
              <a:gd name="connsiteX95" fmla="*/ 4039212 w 6268558"/>
              <a:gd name="connsiteY95" fmla="*/ 3174720 h 5142621"/>
              <a:gd name="connsiteX96" fmla="*/ 4057937 w 6268558"/>
              <a:gd name="connsiteY96" fmla="*/ 3145312 h 5142621"/>
              <a:gd name="connsiteX97" fmla="*/ 4081733 w 6268558"/>
              <a:gd name="connsiteY97" fmla="*/ 3119135 h 5142621"/>
              <a:gd name="connsiteX98" fmla="*/ 4111047 w 6268558"/>
              <a:gd name="connsiteY98" fmla="*/ 3099584 h 5142621"/>
              <a:gd name="connsiteX99" fmla="*/ 4143639 w 6268558"/>
              <a:gd name="connsiteY99" fmla="*/ 3088595 h 5142621"/>
              <a:gd name="connsiteX100" fmla="*/ 4177363 w 6268558"/>
              <a:gd name="connsiteY100" fmla="*/ 3084939 h 5142621"/>
              <a:gd name="connsiteX101" fmla="*/ 4211464 w 6268558"/>
              <a:gd name="connsiteY101" fmla="*/ 3086731 h 5142621"/>
              <a:gd name="connsiteX102" fmla="*/ 4280280 w 6268558"/>
              <a:gd name="connsiteY102" fmla="*/ 3102367 h 5142621"/>
              <a:gd name="connsiteX103" fmla="*/ 4349898 w 6268558"/>
              <a:gd name="connsiteY103" fmla="*/ 3130855 h 5142621"/>
              <a:gd name="connsiteX104" fmla="*/ 4622638 w 6268558"/>
              <a:gd name="connsiteY104" fmla="*/ 3360603 h 5142621"/>
              <a:gd name="connsiteX105" fmla="*/ 4772130 w 6268558"/>
              <a:gd name="connsiteY105" fmla="*/ 3653172 h 5142621"/>
              <a:gd name="connsiteX106" fmla="*/ 4788720 w 6268558"/>
              <a:gd name="connsiteY106" fmla="*/ 3729443 h 5142621"/>
              <a:gd name="connsiteX107" fmla="*/ 4785763 w 6268558"/>
              <a:gd name="connsiteY107" fmla="*/ 3684118 h 5142621"/>
              <a:gd name="connsiteX108" fmla="*/ 4611978 w 6268558"/>
              <a:gd name="connsiteY108" fmla="*/ 3278250 h 5142621"/>
              <a:gd name="connsiteX109" fmla="*/ 4341219 w 6268558"/>
              <a:gd name="connsiteY109" fmla="*/ 3050012 h 5142621"/>
              <a:gd name="connsiteX110" fmla="*/ 4272238 w 6268558"/>
              <a:gd name="connsiteY110" fmla="*/ 3021759 h 5142621"/>
              <a:gd name="connsiteX111" fmla="*/ 4204319 w 6268558"/>
              <a:gd name="connsiteY111" fmla="*/ 3006312 h 5142621"/>
              <a:gd name="connsiteX112" fmla="*/ 4170878 w 6268558"/>
              <a:gd name="connsiteY112" fmla="*/ 3004544 h 5142621"/>
              <a:gd name="connsiteX113" fmla="*/ 4138073 w 6268558"/>
              <a:gd name="connsiteY113" fmla="*/ 3008057 h 5142621"/>
              <a:gd name="connsiteX114" fmla="*/ 4106778 w 6268558"/>
              <a:gd name="connsiteY114" fmla="*/ 3018505 h 5142621"/>
              <a:gd name="connsiteX115" fmla="*/ 4078856 w 6268558"/>
              <a:gd name="connsiteY115" fmla="*/ 3036923 h 5142621"/>
              <a:gd name="connsiteX116" fmla="*/ 4055909 w 6268558"/>
              <a:gd name="connsiteY116" fmla="*/ 3061827 h 5142621"/>
              <a:gd name="connsiteX117" fmla="*/ 4037515 w 6268558"/>
              <a:gd name="connsiteY117" fmla="*/ 3090316 h 5142621"/>
              <a:gd name="connsiteX118" fmla="*/ 4008436 w 6268558"/>
              <a:gd name="connsiteY118" fmla="*/ 3151585 h 5142621"/>
              <a:gd name="connsiteX119" fmla="*/ 3959195 w 6268558"/>
              <a:gd name="connsiteY119" fmla="*/ 3281694 h 5142621"/>
              <a:gd name="connsiteX120" fmla="*/ 3907901 w 6268558"/>
              <a:gd name="connsiteY120" fmla="*/ 3419773 h 5142621"/>
              <a:gd name="connsiteX121" fmla="*/ 3850641 w 6268558"/>
              <a:gd name="connsiteY121" fmla="*/ 3565400 h 5142621"/>
              <a:gd name="connsiteX122" fmla="*/ 3847811 w 6268558"/>
              <a:gd name="connsiteY122" fmla="*/ 3566272 h 5142621"/>
              <a:gd name="connsiteX123" fmla="*/ 3904670 w 6268558"/>
              <a:gd name="connsiteY123" fmla="*/ 3420598 h 5142621"/>
              <a:gd name="connsiteX124" fmla="*/ 3955539 w 6268558"/>
              <a:gd name="connsiteY124" fmla="*/ 3282377 h 5142621"/>
              <a:gd name="connsiteX125" fmla="*/ 4004404 w 6268558"/>
              <a:gd name="connsiteY125" fmla="*/ 3151656 h 5142621"/>
              <a:gd name="connsiteX126" fmla="*/ 4033552 w 6268558"/>
              <a:gd name="connsiteY126" fmla="*/ 3089419 h 5142621"/>
              <a:gd name="connsiteX127" fmla="*/ 4052278 w 6268558"/>
              <a:gd name="connsiteY127" fmla="*/ 3060011 h 5142621"/>
              <a:gd name="connsiteX128" fmla="*/ 4076073 w 6268558"/>
              <a:gd name="connsiteY128" fmla="*/ 3033834 h 5142621"/>
              <a:gd name="connsiteX129" fmla="*/ 4105387 w 6268558"/>
              <a:gd name="connsiteY129" fmla="*/ 3014283 h 5142621"/>
              <a:gd name="connsiteX130" fmla="*/ 4137979 w 6268558"/>
              <a:gd name="connsiteY130" fmla="*/ 3003294 h 5142621"/>
              <a:gd name="connsiteX131" fmla="*/ 4171703 w 6268558"/>
              <a:gd name="connsiteY131" fmla="*/ 2999638 h 5142621"/>
              <a:gd name="connsiteX132" fmla="*/ 4205804 w 6268558"/>
              <a:gd name="connsiteY132" fmla="*/ 3001430 h 5142621"/>
              <a:gd name="connsiteX133" fmla="*/ 4274620 w 6268558"/>
              <a:gd name="connsiteY133" fmla="*/ 3017066 h 5142621"/>
              <a:gd name="connsiteX134" fmla="*/ 4344238 w 6268558"/>
              <a:gd name="connsiteY134" fmla="*/ 3045555 h 5142621"/>
              <a:gd name="connsiteX135" fmla="*/ 4616978 w 6268558"/>
              <a:gd name="connsiteY135" fmla="*/ 3275302 h 5142621"/>
              <a:gd name="connsiteX136" fmla="*/ 4791729 w 6268558"/>
              <a:gd name="connsiteY136" fmla="*/ 3684000 h 5142621"/>
              <a:gd name="connsiteX137" fmla="*/ 4796998 w 6268558"/>
              <a:gd name="connsiteY137" fmla="*/ 3767503 h 5142621"/>
              <a:gd name="connsiteX138" fmla="*/ 4797389 w 6268558"/>
              <a:gd name="connsiteY138" fmla="*/ 3769301 h 5142621"/>
              <a:gd name="connsiteX139" fmla="*/ 4802884 w 6268558"/>
              <a:gd name="connsiteY139" fmla="*/ 3856379 h 5142621"/>
              <a:gd name="connsiteX140" fmla="*/ 4803615 w 6268558"/>
              <a:gd name="connsiteY140" fmla="*/ 3859742 h 5142621"/>
              <a:gd name="connsiteX141" fmla="*/ 4804026 w 6268558"/>
              <a:gd name="connsiteY141" fmla="*/ 3866254 h 5142621"/>
              <a:gd name="connsiteX142" fmla="*/ 4813320 w 6268558"/>
              <a:gd name="connsiteY142" fmla="*/ 3830189 h 5142621"/>
              <a:gd name="connsiteX143" fmla="*/ 4809393 w 6268558"/>
              <a:gd name="connsiteY143" fmla="*/ 3588205 h 5142621"/>
              <a:gd name="connsiteX144" fmla="*/ 4619454 w 6268558"/>
              <a:gd name="connsiteY144" fmla="*/ 3189743 h 5142621"/>
              <a:gd name="connsiteX145" fmla="*/ 4337068 w 6268558"/>
              <a:gd name="connsiteY145" fmla="*/ 2969664 h 5142621"/>
              <a:gd name="connsiteX146" fmla="*/ 4265941 w 6268558"/>
              <a:gd name="connsiteY146" fmla="*/ 2943085 h 5142621"/>
              <a:gd name="connsiteX147" fmla="*/ 4196182 w 6268558"/>
              <a:gd name="connsiteY147" fmla="*/ 2929077 h 5142621"/>
              <a:gd name="connsiteX148" fmla="*/ 4161963 w 6268558"/>
              <a:gd name="connsiteY148" fmla="*/ 2927922 h 5142621"/>
              <a:gd name="connsiteX149" fmla="*/ 4128546 w 6268558"/>
              <a:gd name="connsiteY149" fmla="*/ 2931931 h 5142621"/>
              <a:gd name="connsiteX150" fmla="*/ 4096803 w 6268558"/>
              <a:gd name="connsiteY150" fmla="*/ 2942708 h 5142621"/>
              <a:gd name="connsiteX151" fmla="*/ 4068715 w 6268558"/>
              <a:gd name="connsiteY151" fmla="*/ 2961245 h 5142621"/>
              <a:gd name="connsiteX152" fmla="*/ 4045910 w 6268558"/>
              <a:gd name="connsiteY152" fmla="*/ 2986054 h 5142621"/>
              <a:gd name="connsiteX153" fmla="*/ 4027845 w 6268558"/>
              <a:gd name="connsiteY153" fmla="*/ 3014283 h 5142621"/>
              <a:gd name="connsiteX154" fmla="*/ 3999781 w 6268558"/>
              <a:gd name="connsiteY154" fmla="*/ 3074751 h 5142621"/>
              <a:gd name="connsiteX155" fmla="*/ 3953157 w 6268558"/>
              <a:gd name="connsiteY155" fmla="*/ 3202831 h 5142621"/>
              <a:gd name="connsiteX156" fmla="*/ 3904930 w 6268558"/>
              <a:gd name="connsiteY156" fmla="*/ 3338600 h 5142621"/>
              <a:gd name="connsiteX157" fmla="*/ 3851136 w 6268558"/>
              <a:gd name="connsiteY157" fmla="*/ 3481679 h 5142621"/>
              <a:gd name="connsiteX158" fmla="*/ 3848259 w 6268558"/>
              <a:gd name="connsiteY158" fmla="*/ 3482575 h 5142621"/>
              <a:gd name="connsiteX159" fmla="*/ 3901651 w 6268558"/>
              <a:gd name="connsiteY159" fmla="*/ 3339449 h 5142621"/>
              <a:gd name="connsiteX160" fmla="*/ 3949431 w 6268558"/>
              <a:gd name="connsiteY160" fmla="*/ 3203562 h 5142621"/>
              <a:gd name="connsiteX161" fmla="*/ 3995654 w 6268558"/>
              <a:gd name="connsiteY161" fmla="*/ 3074892 h 5142621"/>
              <a:gd name="connsiteX162" fmla="*/ 4023765 w 6268558"/>
              <a:gd name="connsiteY162" fmla="*/ 3013458 h 5142621"/>
              <a:gd name="connsiteX163" fmla="*/ 4042160 w 6268558"/>
              <a:gd name="connsiteY163" fmla="*/ 2984332 h 5142621"/>
              <a:gd name="connsiteX164" fmla="*/ 4065838 w 6268558"/>
              <a:gd name="connsiteY164" fmla="*/ 2958273 h 5142621"/>
              <a:gd name="connsiteX165" fmla="*/ 4095317 w 6268558"/>
              <a:gd name="connsiteY165" fmla="*/ 2938605 h 5142621"/>
              <a:gd name="connsiteX166" fmla="*/ 4128357 w 6268558"/>
              <a:gd name="connsiteY166" fmla="*/ 2927261 h 5142621"/>
              <a:gd name="connsiteX167" fmla="*/ 4162741 w 6268558"/>
              <a:gd name="connsiteY167" fmla="*/ 2923087 h 5142621"/>
              <a:gd name="connsiteX168" fmla="*/ 4197621 w 6268558"/>
              <a:gd name="connsiteY168" fmla="*/ 2924266 h 5142621"/>
              <a:gd name="connsiteX169" fmla="*/ 4268300 w 6268558"/>
              <a:gd name="connsiteY169" fmla="*/ 2938440 h 5142621"/>
              <a:gd name="connsiteX170" fmla="*/ 4340087 w 6268558"/>
              <a:gd name="connsiteY170" fmla="*/ 2965254 h 5142621"/>
              <a:gd name="connsiteX171" fmla="*/ 4624477 w 6268558"/>
              <a:gd name="connsiteY171" fmla="*/ 3186795 h 5142621"/>
              <a:gd name="connsiteX172" fmla="*/ 4815478 w 6268558"/>
              <a:gd name="connsiteY172" fmla="*/ 3588039 h 5142621"/>
              <a:gd name="connsiteX173" fmla="*/ 4818747 w 6268558"/>
              <a:gd name="connsiteY173" fmla="*/ 3831572 h 5142621"/>
              <a:gd name="connsiteX174" fmla="*/ 4809448 w 6268558"/>
              <a:gd name="connsiteY174" fmla="*/ 3866961 h 5142621"/>
              <a:gd name="connsiteX175" fmla="*/ 4815274 w 6268558"/>
              <a:gd name="connsiteY175" fmla="*/ 3854069 h 5142621"/>
              <a:gd name="connsiteX176" fmla="*/ 4829982 w 6268558"/>
              <a:gd name="connsiteY176" fmla="*/ 3493070 h 5142621"/>
              <a:gd name="connsiteX177" fmla="*/ 4624289 w 6268558"/>
              <a:gd name="connsiteY177" fmla="*/ 3102721 h 5142621"/>
              <a:gd name="connsiteX178" fmla="*/ 4330678 w 6268558"/>
              <a:gd name="connsiteY178" fmla="*/ 2891014 h 5142621"/>
              <a:gd name="connsiteX179" fmla="*/ 4257452 w 6268558"/>
              <a:gd name="connsiteY179" fmla="*/ 2866134 h 5142621"/>
              <a:gd name="connsiteX180" fmla="*/ 4185877 w 6268558"/>
              <a:gd name="connsiteY180" fmla="*/ 2853587 h 5142621"/>
              <a:gd name="connsiteX181" fmla="*/ 4150903 w 6268558"/>
              <a:gd name="connsiteY181" fmla="*/ 2853021 h 5142621"/>
              <a:gd name="connsiteX182" fmla="*/ 4116849 w 6268558"/>
              <a:gd name="connsiteY182" fmla="*/ 2857526 h 5142621"/>
              <a:gd name="connsiteX183" fmla="*/ 4084658 w 6268558"/>
              <a:gd name="connsiteY183" fmla="*/ 2868634 h 5142621"/>
              <a:gd name="connsiteX184" fmla="*/ 4056405 w 6268558"/>
              <a:gd name="connsiteY184" fmla="*/ 2887288 h 5142621"/>
              <a:gd name="connsiteX185" fmla="*/ 4033671 w 6268558"/>
              <a:gd name="connsiteY185" fmla="*/ 2912003 h 5142621"/>
              <a:gd name="connsiteX186" fmla="*/ 4015912 w 6268558"/>
              <a:gd name="connsiteY186" fmla="*/ 2939973 h 5142621"/>
              <a:gd name="connsiteX187" fmla="*/ 3988744 w 6268558"/>
              <a:gd name="connsiteY187" fmla="*/ 2999685 h 5142621"/>
              <a:gd name="connsiteX188" fmla="*/ 3944550 w 6268558"/>
              <a:gd name="connsiteY188" fmla="*/ 3125856 h 5142621"/>
              <a:gd name="connsiteX189" fmla="*/ 3899223 w 6268558"/>
              <a:gd name="connsiteY189" fmla="*/ 3259407 h 5142621"/>
              <a:gd name="connsiteX190" fmla="*/ 3848684 w 6268558"/>
              <a:gd name="connsiteY190" fmla="*/ 3400058 h 5142621"/>
              <a:gd name="connsiteX191" fmla="*/ 3845783 w 6268558"/>
              <a:gd name="connsiteY191" fmla="*/ 3401001 h 5142621"/>
              <a:gd name="connsiteX192" fmla="*/ 3895921 w 6268558"/>
              <a:gd name="connsiteY192" fmla="*/ 3260327 h 5142621"/>
              <a:gd name="connsiteX193" fmla="*/ 3940776 w 6268558"/>
              <a:gd name="connsiteY193" fmla="*/ 3126658 h 5142621"/>
              <a:gd name="connsiteX194" fmla="*/ 3984547 w 6268558"/>
              <a:gd name="connsiteY194" fmla="*/ 2999921 h 5142621"/>
              <a:gd name="connsiteX195" fmla="*/ 4011738 w 6268558"/>
              <a:gd name="connsiteY195" fmla="*/ 2939242 h 5142621"/>
              <a:gd name="connsiteX196" fmla="*/ 4029827 w 6268558"/>
              <a:gd name="connsiteY196" fmla="*/ 2910376 h 5142621"/>
              <a:gd name="connsiteX197" fmla="*/ 4053410 w 6268558"/>
              <a:gd name="connsiteY197" fmla="*/ 2884434 h 5142621"/>
              <a:gd name="connsiteX198" fmla="*/ 4083077 w 6268558"/>
              <a:gd name="connsiteY198" fmla="*/ 2864624 h 5142621"/>
              <a:gd name="connsiteX199" fmla="*/ 4116589 w 6268558"/>
              <a:gd name="connsiteY199" fmla="*/ 2852927 h 5142621"/>
              <a:gd name="connsiteX200" fmla="*/ 4151610 w 6268558"/>
              <a:gd name="connsiteY200" fmla="*/ 2848258 h 5142621"/>
              <a:gd name="connsiteX201" fmla="*/ 1771560 w 6268558"/>
              <a:gd name="connsiteY201" fmla="*/ 2784771 h 5142621"/>
              <a:gd name="connsiteX202" fmla="*/ 1790818 w 6268558"/>
              <a:gd name="connsiteY202" fmla="*/ 2818049 h 5142621"/>
              <a:gd name="connsiteX203" fmla="*/ 1795594 w 6268558"/>
              <a:gd name="connsiteY203" fmla="*/ 2829740 h 5142621"/>
              <a:gd name="connsiteX204" fmla="*/ 1839362 w 6268558"/>
              <a:gd name="connsiteY204" fmla="*/ 2847142 h 5142621"/>
              <a:gd name="connsiteX205" fmla="*/ 1824962 w 6268558"/>
              <a:gd name="connsiteY205" fmla="*/ 2811941 h 5142621"/>
              <a:gd name="connsiteX206" fmla="*/ 1819552 w 6268558"/>
              <a:gd name="connsiteY206" fmla="*/ 2802610 h 5142621"/>
              <a:gd name="connsiteX207" fmla="*/ 1780804 w 6268558"/>
              <a:gd name="connsiteY207" fmla="*/ 2788792 h 5142621"/>
              <a:gd name="connsiteX208" fmla="*/ 4172552 w 6268558"/>
              <a:gd name="connsiteY208" fmla="*/ 2775244 h 5142621"/>
              <a:gd name="connsiteX209" fmla="*/ 4247170 w 6268558"/>
              <a:gd name="connsiteY209" fmla="*/ 2785715 h 5142621"/>
              <a:gd name="connsiteX210" fmla="*/ 4323744 w 6268558"/>
              <a:gd name="connsiteY210" fmla="*/ 2808331 h 5142621"/>
              <a:gd name="connsiteX211" fmla="*/ 4635491 w 6268558"/>
              <a:gd name="connsiteY211" fmla="*/ 3009850 h 5142621"/>
              <a:gd name="connsiteX212" fmla="*/ 4866913 w 6268558"/>
              <a:gd name="connsiteY212" fmla="*/ 3392794 h 5142621"/>
              <a:gd name="connsiteX213" fmla="*/ 4822482 w 6268558"/>
              <a:gd name="connsiteY213" fmla="*/ 3872099 h 5142621"/>
              <a:gd name="connsiteX214" fmla="*/ 4818591 w 6268558"/>
              <a:gd name="connsiteY214" fmla="*/ 3869599 h 5142621"/>
              <a:gd name="connsiteX215" fmla="*/ 4860664 w 6268558"/>
              <a:gd name="connsiteY215" fmla="*/ 3393101 h 5142621"/>
              <a:gd name="connsiteX216" fmla="*/ 4630515 w 6268558"/>
              <a:gd name="connsiteY216" fmla="*/ 3012845 h 5142621"/>
              <a:gd name="connsiteX217" fmla="*/ 4320890 w 6268558"/>
              <a:gd name="connsiteY217" fmla="*/ 2812670 h 5142621"/>
              <a:gd name="connsiteX218" fmla="*/ 4245000 w 6268558"/>
              <a:gd name="connsiteY218" fmla="*/ 2790266 h 5142621"/>
              <a:gd name="connsiteX219" fmla="*/ 4171326 w 6268558"/>
              <a:gd name="connsiteY219" fmla="*/ 2779913 h 5142621"/>
              <a:gd name="connsiteX220" fmla="*/ 4135550 w 6268558"/>
              <a:gd name="connsiteY220" fmla="*/ 2780314 h 5142621"/>
              <a:gd name="connsiteX221" fmla="*/ 4100906 w 6268558"/>
              <a:gd name="connsiteY221" fmla="*/ 2785644 h 5142621"/>
              <a:gd name="connsiteX222" fmla="*/ 4068432 w 6268558"/>
              <a:gd name="connsiteY222" fmla="*/ 2797412 h 5142621"/>
              <a:gd name="connsiteX223" fmla="*/ 4040274 w 6268558"/>
              <a:gd name="connsiteY223" fmla="*/ 2816444 h 5142621"/>
              <a:gd name="connsiteX224" fmla="*/ 4018011 w 6268558"/>
              <a:gd name="connsiteY224" fmla="*/ 2841253 h 5142621"/>
              <a:gd name="connsiteX225" fmla="*/ 4000961 w 6268558"/>
              <a:gd name="connsiteY225" fmla="*/ 2869105 h 5142621"/>
              <a:gd name="connsiteX226" fmla="*/ 3975561 w 6268558"/>
              <a:gd name="connsiteY226" fmla="*/ 2928228 h 5142621"/>
              <a:gd name="connsiteX227" fmla="*/ 3935423 w 6268558"/>
              <a:gd name="connsiteY227" fmla="*/ 3052677 h 5142621"/>
              <a:gd name="connsiteX228" fmla="*/ 3894412 w 6268558"/>
              <a:gd name="connsiteY228" fmla="*/ 3184224 h 5142621"/>
              <a:gd name="connsiteX229" fmla="*/ 3848307 w 6268558"/>
              <a:gd name="connsiteY229" fmla="*/ 3322681 h 5142621"/>
              <a:gd name="connsiteX230" fmla="*/ 3609456 w 6268558"/>
              <a:gd name="connsiteY230" fmla="*/ 3926034 h 5142621"/>
              <a:gd name="connsiteX231" fmla="*/ 3321811 w 6268558"/>
              <a:gd name="connsiteY231" fmla="*/ 4511865 h 5142621"/>
              <a:gd name="connsiteX232" fmla="*/ 3257028 w 6268558"/>
              <a:gd name="connsiteY232" fmla="*/ 4631762 h 5142621"/>
              <a:gd name="connsiteX233" fmla="*/ 3227950 w 6268558"/>
              <a:gd name="connsiteY233" fmla="*/ 4685036 h 5142621"/>
              <a:gd name="connsiteX234" fmla="*/ 3201631 w 6268558"/>
              <a:gd name="connsiteY234" fmla="*/ 4733264 h 5142621"/>
              <a:gd name="connsiteX235" fmla="*/ 3158757 w 6268558"/>
              <a:gd name="connsiteY235" fmla="*/ 4812952 h 5142621"/>
              <a:gd name="connsiteX236" fmla="*/ 3142107 w 6268558"/>
              <a:gd name="connsiteY236" fmla="*/ 4843987 h 5142621"/>
              <a:gd name="connsiteX237" fmla="*/ 3127346 w 6268558"/>
              <a:gd name="connsiteY237" fmla="*/ 4869292 h 5142621"/>
              <a:gd name="connsiteX238" fmla="*/ 3119632 w 6268558"/>
              <a:gd name="connsiteY238" fmla="*/ 4879975 h 5142621"/>
              <a:gd name="connsiteX239" fmla="*/ 3110980 w 6268558"/>
              <a:gd name="connsiteY239" fmla="*/ 4889338 h 5142621"/>
              <a:gd name="connsiteX240" fmla="*/ 3101402 w 6268558"/>
              <a:gd name="connsiteY240" fmla="*/ 4897379 h 5142621"/>
              <a:gd name="connsiteX241" fmla="*/ 3091332 w 6268558"/>
              <a:gd name="connsiteY241" fmla="*/ 4904361 h 5142621"/>
              <a:gd name="connsiteX242" fmla="*/ 3070533 w 6268558"/>
              <a:gd name="connsiteY242" fmla="*/ 4916695 h 5142621"/>
              <a:gd name="connsiteX243" fmla="*/ 3065249 w 6268558"/>
              <a:gd name="connsiteY243" fmla="*/ 4919619 h 5142621"/>
              <a:gd name="connsiteX244" fmla="*/ 3062586 w 6268558"/>
              <a:gd name="connsiteY244" fmla="*/ 4921081 h 5142621"/>
              <a:gd name="connsiteX245" fmla="*/ 3059919 w 6268558"/>
              <a:gd name="connsiteY245" fmla="*/ 4922472 h 5142621"/>
              <a:gd name="connsiteX246" fmla="*/ 3057256 w 6268558"/>
              <a:gd name="connsiteY246" fmla="*/ 4923864 h 5142621"/>
              <a:gd name="connsiteX247" fmla="*/ 3054589 w 6268558"/>
              <a:gd name="connsiteY247" fmla="*/ 4925255 h 5142621"/>
              <a:gd name="connsiteX248" fmla="*/ 3049215 w 6268558"/>
              <a:gd name="connsiteY248" fmla="*/ 4928061 h 5142621"/>
              <a:gd name="connsiteX249" fmla="*/ 2956085 w 6268558"/>
              <a:gd name="connsiteY249" fmla="*/ 4979544 h 5142621"/>
              <a:gd name="connsiteX250" fmla="*/ 2688014 w 6268558"/>
              <a:gd name="connsiteY250" fmla="*/ 5142621 h 5142621"/>
              <a:gd name="connsiteX251" fmla="*/ 2956130 w 6268558"/>
              <a:gd name="connsiteY251" fmla="*/ 4979308 h 5142621"/>
              <a:gd name="connsiteX252" fmla="*/ 3049260 w 6268558"/>
              <a:gd name="connsiteY252" fmla="*/ 4927731 h 5142621"/>
              <a:gd name="connsiteX253" fmla="*/ 3054638 w 6268558"/>
              <a:gd name="connsiteY253" fmla="*/ 4924925 h 5142621"/>
              <a:gd name="connsiteX254" fmla="*/ 3057302 w 6268558"/>
              <a:gd name="connsiteY254" fmla="*/ 4923533 h 5142621"/>
              <a:gd name="connsiteX255" fmla="*/ 3059968 w 6268558"/>
              <a:gd name="connsiteY255" fmla="*/ 4922142 h 5142621"/>
              <a:gd name="connsiteX256" fmla="*/ 3062611 w 6268558"/>
              <a:gd name="connsiteY256" fmla="*/ 4920751 h 5142621"/>
              <a:gd name="connsiteX257" fmla="*/ 3065273 w 6268558"/>
              <a:gd name="connsiteY257" fmla="*/ 4919288 h 5142621"/>
              <a:gd name="connsiteX258" fmla="*/ 3070558 w 6268558"/>
              <a:gd name="connsiteY258" fmla="*/ 4916364 h 5142621"/>
              <a:gd name="connsiteX259" fmla="*/ 3091287 w 6268558"/>
              <a:gd name="connsiteY259" fmla="*/ 4904054 h 5142621"/>
              <a:gd name="connsiteX260" fmla="*/ 3101287 w 6268558"/>
              <a:gd name="connsiteY260" fmla="*/ 4897097 h 5142621"/>
              <a:gd name="connsiteX261" fmla="*/ 3110741 w 6268558"/>
              <a:gd name="connsiteY261" fmla="*/ 4889125 h 5142621"/>
              <a:gd name="connsiteX262" fmla="*/ 3126919 w 6268558"/>
              <a:gd name="connsiteY262" fmla="*/ 4869268 h 5142621"/>
              <a:gd name="connsiteX263" fmla="*/ 3141588 w 6268558"/>
              <a:gd name="connsiteY263" fmla="*/ 4844058 h 5142621"/>
              <a:gd name="connsiteX264" fmla="*/ 3158191 w 6268558"/>
              <a:gd name="connsiteY264" fmla="*/ 4813070 h 5142621"/>
              <a:gd name="connsiteX265" fmla="*/ 3200971 w 6268558"/>
              <a:gd name="connsiteY265" fmla="*/ 4733429 h 5142621"/>
              <a:gd name="connsiteX266" fmla="*/ 3227242 w 6268558"/>
              <a:gd name="connsiteY266" fmla="*/ 4685225 h 5142621"/>
              <a:gd name="connsiteX267" fmla="*/ 3256273 w 6268558"/>
              <a:gd name="connsiteY267" fmla="*/ 4631974 h 5142621"/>
              <a:gd name="connsiteX268" fmla="*/ 3320915 w 6268558"/>
              <a:gd name="connsiteY268" fmla="*/ 4512148 h 5142621"/>
              <a:gd name="connsiteX269" fmla="*/ 3607758 w 6268558"/>
              <a:gd name="connsiteY269" fmla="*/ 3926789 h 5142621"/>
              <a:gd name="connsiteX270" fmla="*/ 3845359 w 6268558"/>
              <a:gd name="connsiteY270" fmla="*/ 3323695 h 5142621"/>
              <a:gd name="connsiteX271" fmla="*/ 3891039 w 6268558"/>
              <a:gd name="connsiteY271" fmla="*/ 3185214 h 5142621"/>
              <a:gd name="connsiteX272" fmla="*/ 3931579 w 6268558"/>
              <a:gd name="connsiteY272" fmla="*/ 3053573 h 5142621"/>
              <a:gd name="connsiteX273" fmla="*/ 3971269 w 6268558"/>
              <a:gd name="connsiteY273" fmla="*/ 2928582 h 5142621"/>
              <a:gd name="connsiteX274" fmla="*/ 3996645 w 6268558"/>
              <a:gd name="connsiteY274" fmla="*/ 2868515 h 5142621"/>
              <a:gd name="connsiteX275" fmla="*/ 4014002 w 6268558"/>
              <a:gd name="connsiteY275" fmla="*/ 2839791 h 5142621"/>
              <a:gd name="connsiteX276" fmla="*/ 4037090 w 6268558"/>
              <a:gd name="connsiteY276" fmla="*/ 2813755 h 5142621"/>
              <a:gd name="connsiteX277" fmla="*/ 4066640 w 6268558"/>
              <a:gd name="connsiteY277" fmla="*/ 2793568 h 5142621"/>
              <a:gd name="connsiteX278" fmla="*/ 4100435 w 6268558"/>
              <a:gd name="connsiteY278" fmla="*/ 2781210 h 5142621"/>
              <a:gd name="connsiteX279" fmla="*/ 4136069 w 6268558"/>
              <a:gd name="connsiteY279" fmla="*/ 2775668 h 5142621"/>
              <a:gd name="connsiteX280" fmla="*/ 4172552 w 6268558"/>
              <a:gd name="connsiteY280" fmla="*/ 2775244 h 5142621"/>
              <a:gd name="connsiteX281" fmla="*/ 2026616 w 6268558"/>
              <a:gd name="connsiteY281" fmla="*/ 2759596 h 5142621"/>
              <a:gd name="connsiteX282" fmla="*/ 2018420 w 6268558"/>
              <a:gd name="connsiteY282" fmla="*/ 2760647 h 5142621"/>
              <a:gd name="connsiteX283" fmla="*/ 2000686 w 6268558"/>
              <a:gd name="connsiteY283" fmla="*/ 2760269 h 5142621"/>
              <a:gd name="connsiteX284" fmla="*/ 1991512 w 6268558"/>
              <a:gd name="connsiteY284" fmla="*/ 2759750 h 5142621"/>
              <a:gd name="connsiteX285" fmla="*/ 1991211 w 6268558"/>
              <a:gd name="connsiteY285" fmla="*/ 2759723 h 5142621"/>
              <a:gd name="connsiteX286" fmla="*/ 1997737 w 6268558"/>
              <a:gd name="connsiteY286" fmla="*/ 2771000 h 5142621"/>
              <a:gd name="connsiteX287" fmla="*/ 2013497 w 6268558"/>
              <a:gd name="connsiteY287" fmla="*/ 2809583 h 5142621"/>
              <a:gd name="connsiteX288" fmla="*/ 2027965 w 6268558"/>
              <a:gd name="connsiteY288" fmla="*/ 2811116 h 5142621"/>
              <a:gd name="connsiteX289" fmla="*/ 2037493 w 6268558"/>
              <a:gd name="connsiteY289" fmla="*/ 2811894 h 5142621"/>
              <a:gd name="connsiteX290" fmla="*/ 2046808 w 6268558"/>
              <a:gd name="connsiteY290" fmla="*/ 2812436 h 5142621"/>
              <a:gd name="connsiteX291" fmla="*/ 2049803 w 6268558"/>
              <a:gd name="connsiteY291" fmla="*/ 2812552 h 5142621"/>
              <a:gd name="connsiteX292" fmla="*/ 2031792 w 6268558"/>
              <a:gd name="connsiteY292" fmla="*/ 2768524 h 5142621"/>
              <a:gd name="connsiteX293" fmla="*/ 2059916 w 6268558"/>
              <a:gd name="connsiteY293" fmla="*/ 2755324 h 5142621"/>
              <a:gd name="connsiteX294" fmla="*/ 2028181 w 6268558"/>
              <a:gd name="connsiteY294" fmla="*/ 2759395 h 5142621"/>
              <a:gd name="connsiteX295" fmla="*/ 2033136 w 6268558"/>
              <a:gd name="connsiteY295" fmla="*/ 2767958 h 5142621"/>
              <a:gd name="connsiteX296" fmla="*/ 2051376 w 6268558"/>
              <a:gd name="connsiteY296" fmla="*/ 2812613 h 5142621"/>
              <a:gd name="connsiteX297" fmla="*/ 2055935 w 6268558"/>
              <a:gd name="connsiteY297" fmla="*/ 2812790 h 5142621"/>
              <a:gd name="connsiteX298" fmla="*/ 2064826 w 6268558"/>
              <a:gd name="connsiteY298" fmla="*/ 2812814 h 5142621"/>
              <a:gd name="connsiteX299" fmla="*/ 2081994 w 6268558"/>
              <a:gd name="connsiteY299" fmla="*/ 2812271 h 5142621"/>
              <a:gd name="connsiteX300" fmla="*/ 2085377 w 6268558"/>
              <a:gd name="connsiteY300" fmla="*/ 2811634 h 5142621"/>
              <a:gd name="connsiteX301" fmla="*/ 2068156 w 6268558"/>
              <a:gd name="connsiteY301" fmla="*/ 2769538 h 5142621"/>
              <a:gd name="connsiteX302" fmla="*/ 1951599 w 6268558"/>
              <a:gd name="connsiteY302" fmla="*/ 2754835 h 5142621"/>
              <a:gd name="connsiteX303" fmla="*/ 1960994 w 6268558"/>
              <a:gd name="connsiteY303" fmla="*/ 2771071 h 5142621"/>
              <a:gd name="connsiteX304" fmla="*/ 1973949 w 6268558"/>
              <a:gd name="connsiteY304" fmla="*/ 2802787 h 5142621"/>
              <a:gd name="connsiteX305" fmla="*/ 2008367 w 6268558"/>
              <a:gd name="connsiteY305" fmla="*/ 2809040 h 5142621"/>
              <a:gd name="connsiteX306" fmla="*/ 2011875 w 6268558"/>
              <a:gd name="connsiteY306" fmla="*/ 2809412 h 5142621"/>
              <a:gd name="connsiteX307" fmla="*/ 1996393 w 6268558"/>
              <a:gd name="connsiteY307" fmla="*/ 2771566 h 5142621"/>
              <a:gd name="connsiteX308" fmla="*/ 1989435 w 6268558"/>
              <a:gd name="connsiteY308" fmla="*/ 2759563 h 5142621"/>
              <a:gd name="connsiteX309" fmla="*/ 1982078 w 6268558"/>
              <a:gd name="connsiteY309" fmla="*/ 2758902 h 5142621"/>
              <a:gd name="connsiteX310" fmla="*/ 1972456 w 6268558"/>
              <a:gd name="connsiteY310" fmla="*/ 2757840 h 5142621"/>
              <a:gd name="connsiteX311" fmla="*/ 1962646 w 6268558"/>
              <a:gd name="connsiteY311" fmla="*/ 2756543 h 5142621"/>
              <a:gd name="connsiteX312" fmla="*/ 1792548 w 6268558"/>
              <a:gd name="connsiteY312" fmla="*/ 2753786 h 5142621"/>
              <a:gd name="connsiteX313" fmla="*/ 1796827 w 6268558"/>
              <a:gd name="connsiteY313" fmla="*/ 2760435 h 5142621"/>
              <a:gd name="connsiteX314" fmla="*/ 1821322 w 6268558"/>
              <a:gd name="connsiteY314" fmla="*/ 2802763 h 5142621"/>
              <a:gd name="connsiteX315" fmla="*/ 1865595 w 6268558"/>
              <a:gd name="connsiteY315" fmla="*/ 2818518 h 5142621"/>
              <a:gd name="connsiteX316" fmla="*/ 1866378 w 6268558"/>
              <a:gd name="connsiteY316" fmla="*/ 2818740 h 5142621"/>
              <a:gd name="connsiteX317" fmla="*/ 1857413 w 6268558"/>
              <a:gd name="connsiteY317" fmla="*/ 2796824 h 5142621"/>
              <a:gd name="connsiteX318" fmla="*/ 1842524 w 6268558"/>
              <a:gd name="connsiteY318" fmla="*/ 2771143 h 5142621"/>
              <a:gd name="connsiteX319" fmla="*/ 1823682 w 6268558"/>
              <a:gd name="connsiteY319" fmla="*/ 2765727 h 5142621"/>
              <a:gd name="connsiteX320" fmla="*/ 2091216 w 6268558"/>
              <a:gd name="connsiteY320" fmla="*/ 2747886 h 5142621"/>
              <a:gd name="connsiteX321" fmla="*/ 2080562 w 6268558"/>
              <a:gd name="connsiteY321" fmla="*/ 2752676 h 5142621"/>
              <a:gd name="connsiteX322" fmla="*/ 2061486 w 6268558"/>
              <a:gd name="connsiteY322" fmla="*/ 2755123 h 5142621"/>
              <a:gd name="connsiteX323" fmla="*/ 2069500 w 6268558"/>
              <a:gd name="connsiteY323" fmla="*/ 2768972 h 5142621"/>
              <a:gd name="connsiteX324" fmla="*/ 2086815 w 6268558"/>
              <a:gd name="connsiteY324" fmla="*/ 2811363 h 5142621"/>
              <a:gd name="connsiteX325" fmla="*/ 2118834 w 6268558"/>
              <a:gd name="connsiteY325" fmla="*/ 2805333 h 5142621"/>
              <a:gd name="connsiteX326" fmla="*/ 2105204 w 6268558"/>
              <a:gd name="connsiteY326" fmla="*/ 2772014 h 5142621"/>
              <a:gd name="connsiteX327" fmla="*/ 1907338 w 6268558"/>
              <a:gd name="connsiteY327" fmla="*/ 2745455 h 5142621"/>
              <a:gd name="connsiteX328" fmla="*/ 1927948 w 6268558"/>
              <a:gd name="connsiteY328" fmla="*/ 2781070 h 5142621"/>
              <a:gd name="connsiteX329" fmla="*/ 1933843 w 6268558"/>
              <a:gd name="connsiteY329" fmla="*/ 2795501 h 5142621"/>
              <a:gd name="connsiteX330" fmla="*/ 1972269 w 6268558"/>
              <a:gd name="connsiteY330" fmla="*/ 2802482 h 5142621"/>
              <a:gd name="connsiteX331" fmla="*/ 1959650 w 6268558"/>
              <a:gd name="connsiteY331" fmla="*/ 2771637 h 5142621"/>
              <a:gd name="connsiteX332" fmla="*/ 1949744 w 6268558"/>
              <a:gd name="connsiteY332" fmla="*/ 2754549 h 5142621"/>
              <a:gd name="connsiteX333" fmla="*/ 1942506 w 6268558"/>
              <a:gd name="connsiteY333" fmla="*/ 2753430 h 5142621"/>
              <a:gd name="connsiteX334" fmla="*/ 1865362 w 6268558"/>
              <a:gd name="connsiteY334" fmla="*/ 2735935 h 5142621"/>
              <a:gd name="connsiteX335" fmla="*/ 1889816 w 6268558"/>
              <a:gd name="connsiteY335" fmla="*/ 2778193 h 5142621"/>
              <a:gd name="connsiteX336" fmla="*/ 1892540 w 6268558"/>
              <a:gd name="connsiteY336" fmla="*/ 2784860 h 5142621"/>
              <a:gd name="connsiteX337" fmla="*/ 1922448 w 6268558"/>
              <a:gd name="connsiteY337" fmla="*/ 2793431 h 5142621"/>
              <a:gd name="connsiteX338" fmla="*/ 1932150 w 6268558"/>
              <a:gd name="connsiteY338" fmla="*/ 2795193 h 5142621"/>
              <a:gd name="connsiteX339" fmla="*/ 1926604 w 6268558"/>
              <a:gd name="connsiteY339" fmla="*/ 2781636 h 5142621"/>
              <a:gd name="connsiteX340" fmla="*/ 1905371 w 6268558"/>
              <a:gd name="connsiteY340" fmla="*/ 2745009 h 5142621"/>
              <a:gd name="connsiteX341" fmla="*/ 1739730 w 6268558"/>
              <a:gd name="connsiteY341" fmla="*/ 2733528 h 5142621"/>
              <a:gd name="connsiteX342" fmla="*/ 1761339 w 6268558"/>
              <a:gd name="connsiteY342" fmla="*/ 2767109 h 5142621"/>
              <a:gd name="connsiteX343" fmla="*/ 1771216 w 6268558"/>
              <a:gd name="connsiteY343" fmla="*/ 2784176 h 5142621"/>
              <a:gd name="connsiteX344" fmla="*/ 1780853 w 6268558"/>
              <a:gd name="connsiteY344" fmla="*/ 2788361 h 5142621"/>
              <a:gd name="connsiteX345" fmla="*/ 1819204 w 6268558"/>
              <a:gd name="connsiteY345" fmla="*/ 2802009 h 5142621"/>
              <a:gd name="connsiteX346" fmla="*/ 1795553 w 6268558"/>
              <a:gd name="connsiteY346" fmla="*/ 2761213 h 5142621"/>
              <a:gd name="connsiteX347" fmla="*/ 1790176 w 6268558"/>
              <a:gd name="connsiteY347" fmla="*/ 2752876 h 5142621"/>
              <a:gd name="connsiteX348" fmla="*/ 1812871 w 6268558"/>
              <a:gd name="connsiteY348" fmla="*/ 2719823 h 5142621"/>
              <a:gd name="connsiteX349" fmla="*/ 1829278 w 6268558"/>
              <a:gd name="connsiteY349" fmla="*/ 2745318 h 5142621"/>
              <a:gd name="connsiteX350" fmla="*/ 1844134 w 6268558"/>
              <a:gd name="connsiteY350" fmla="*/ 2770990 h 5142621"/>
              <a:gd name="connsiteX351" fmla="*/ 1890760 w 6268558"/>
              <a:gd name="connsiteY351" fmla="*/ 2784350 h 5142621"/>
              <a:gd name="connsiteX352" fmla="*/ 1888472 w 6268558"/>
              <a:gd name="connsiteY352" fmla="*/ 2778759 h 5142621"/>
              <a:gd name="connsiteX353" fmla="*/ 1863386 w 6268558"/>
              <a:gd name="connsiteY353" fmla="*/ 2735487 h 5142621"/>
              <a:gd name="connsiteX354" fmla="*/ 1854465 w 6268558"/>
              <a:gd name="connsiteY354" fmla="*/ 2733464 h 5142621"/>
              <a:gd name="connsiteX355" fmla="*/ 4154086 w 6268558"/>
              <a:gd name="connsiteY355" fmla="*/ 2707962 h 5142621"/>
              <a:gd name="connsiteX356" fmla="*/ 4231368 w 6268558"/>
              <a:gd name="connsiteY356" fmla="*/ 2715626 h 5142621"/>
              <a:gd name="connsiteX357" fmla="*/ 4311504 w 6268558"/>
              <a:gd name="connsiteY357" fmla="*/ 2735389 h 5142621"/>
              <a:gd name="connsiteX358" fmla="*/ 4646787 w 6268558"/>
              <a:gd name="connsiteY358" fmla="*/ 2928323 h 5142621"/>
              <a:gd name="connsiteX359" fmla="*/ 4915589 w 6268558"/>
              <a:gd name="connsiteY359" fmla="*/ 3317423 h 5142621"/>
              <a:gd name="connsiteX360" fmla="*/ 4902948 w 6268558"/>
              <a:gd name="connsiteY360" fmla="*/ 3826419 h 5142621"/>
              <a:gd name="connsiteX361" fmla="*/ 4898844 w 6268558"/>
              <a:gd name="connsiteY361" fmla="*/ 3823566 h 5142621"/>
              <a:gd name="connsiteX362" fmla="*/ 4909244 w 6268558"/>
              <a:gd name="connsiteY362" fmla="*/ 3317564 h 5142621"/>
              <a:gd name="connsiteX363" fmla="*/ 4641952 w 6268558"/>
              <a:gd name="connsiteY363" fmla="*/ 2931247 h 5142621"/>
              <a:gd name="connsiteX364" fmla="*/ 4308934 w 6268558"/>
              <a:gd name="connsiteY364" fmla="*/ 2739634 h 5142621"/>
              <a:gd name="connsiteX365" fmla="*/ 4229505 w 6268558"/>
              <a:gd name="connsiteY365" fmla="*/ 2720060 h 5142621"/>
              <a:gd name="connsiteX366" fmla="*/ 4153190 w 6268558"/>
              <a:gd name="connsiteY366" fmla="*/ 2712490 h 5142621"/>
              <a:gd name="connsiteX367" fmla="*/ 4116471 w 6268558"/>
              <a:gd name="connsiteY367" fmla="*/ 2714188 h 5142621"/>
              <a:gd name="connsiteX368" fmla="*/ 4081190 w 6268558"/>
              <a:gd name="connsiteY368" fmla="*/ 2720673 h 5142621"/>
              <a:gd name="connsiteX369" fmla="*/ 4048504 w 6268558"/>
              <a:gd name="connsiteY369" fmla="*/ 2733337 h 5142621"/>
              <a:gd name="connsiteX370" fmla="*/ 4020605 w 6268558"/>
              <a:gd name="connsiteY370" fmla="*/ 2752841 h 5142621"/>
              <a:gd name="connsiteX371" fmla="*/ 3999050 w 6268558"/>
              <a:gd name="connsiteY371" fmla="*/ 2777650 h 5142621"/>
              <a:gd name="connsiteX372" fmla="*/ 3982990 w 6268558"/>
              <a:gd name="connsiteY372" fmla="*/ 2805148 h 5142621"/>
              <a:gd name="connsiteX373" fmla="*/ 3959973 w 6268558"/>
              <a:gd name="connsiteY373" fmla="*/ 2863021 h 5142621"/>
              <a:gd name="connsiteX374" fmla="*/ 3925211 w 6268558"/>
              <a:gd name="connsiteY374" fmla="*/ 2984145 h 5142621"/>
              <a:gd name="connsiteX375" fmla="*/ 3889836 w 6268558"/>
              <a:gd name="connsiteY375" fmla="*/ 3112131 h 5142621"/>
              <a:gd name="connsiteX376" fmla="*/ 3849415 w 6268558"/>
              <a:gd name="connsiteY376" fmla="*/ 3247121 h 5142621"/>
              <a:gd name="connsiteX377" fmla="*/ 3630751 w 6268558"/>
              <a:gd name="connsiteY377" fmla="*/ 3840782 h 5142621"/>
              <a:gd name="connsiteX378" fmla="*/ 3349898 w 6268558"/>
              <a:gd name="connsiteY378" fmla="*/ 4436871 h 5142621"/>
              <a:gd name="connsiteX379" fmla="*/ 3282379 w 6268558"/>
              <a:gd name="connsiteY379" fmla="*/ 4564975 h 5142621"/>
              <a:gd name="connsiteX380" fmla="*/ 3251015 w 6268558"/>
              <a:gd name="connsiteY380" fmla="*/ 4623343 h 5142621"/>
              <a:gd name="connsiteX381" fmla="*/ 3221772 w 6268558"/>
              <a:gd name="connsiteY381" fmla="*/ 4677349 h 5142621"/>
              <a:gd name="connsiteX382" fmla="*/ 3171091 w 6268558"/>
              <a:gd name="connsiteY382" fmla="*/ 4770597 h 5142621"/>
              <a:gd name="connsiteX383" fmla="*/ 3149583 w 6268558"/>
              <a:gd name="connsiteY383" fmla="*/ 4809274 h 5142621"/>
              <a:gd name="connsiteX384" fmla="*/ 3129562 w 6268558"/>
              <a:gd name="connsiteY384" fmla="*/ 4842432 h 5142621"/>
              <a:gd name="connsiteX385" fmla="*/ 3119330 w 6268558"/>
              <a:gd name="connsiteY385" fmla="*/ 4856676 h 5142621"/>
              <a:gd name="connsiteX386" fmla="*/ 3108577 w 6268558"/>
              <a:gd name="connsiteY386" fmla="*/ 4868845 h 5142621"/>
              <a:gd name="connsiteX387" fmla="*/ 3097541 w 6268558"/>
              <a:gd name="connsiteY387" fmla="*/ 4878679 h 5142621"/>
              <a:gd name="connsiteX388" fmla="*/ 3086549 w 6268558"/>
              <a:gd name="connsiteY388" fmla="*/ 4886650 h 5142621"/>
              <a:gd name="connsiteX389" fmla="*/ 3064805 w 6268558"/>
              <a:gd name="connsiteY389" fmla="*/ 4899762 h 5142621"/>
              <a:gd name="connsiteX390" fmla="*/ 3059360 w 6268558"/>
              <a:gd name="connsiteY390" fmla="*/ 4902757 h 5142621"/>
              <a:gd name="connsiteX391" fmla="*/ 3056623 w 6268558"/>
              <a:gd name="connsiteY391" fmla="*/ 4904243 h 5142621"/>
              <a:gd name="connsiteX392" fmla="*/ 3053911 w 6268558"/>
              <a:gd name="connsiteY392" fmla="*/ 4905658 h 5142621"/>
              <a:gd name="connsiteX393" fmla="*/ 3051199 w 6268558"/>
              <a:gd name="connsiteY393" fmla="*/ 4907073 h 5142621"/>
              <a:gd name="connsiteX394" fmla="*/ 3048488 w 6268558"/>
              <a:gd name="connsiteY394" fmla="*/ 4908465 h 5142621"/>
              <a:gd name="connsiteX395" fmla="*/ 3043013 w 6268558"/>
              <a:gd name="connsiteY395" fmla="*/ 4911271 h 5142621"/>
              <a:gd name="connsiteX396" fmla="*/ 2946841 w 6268558"/>
              <a:gd name="connsiteY396" fmla="*/ 4965182 h 5142621"/>
              <a:gd name="connsiteX397" fmla="*/ 2660332 w 6268558"/>
              <a:gd name="connsiteY397" fmla="*/ 5139415 h 5142621"/>
              <a:gd name="connsiteX398" fmla="*/ 2946935 w 6268558"/>
              <a:gd name="connsiteY398" fmla="*/ 4964852 h 5142621"/>
              <a:gd name="connsiteX399" fmla="*/ 3043178 w 6268558"/>
              <a:gd name="connsiteY399" fmla="*/ 4910776 h 5142621"/>
              <a:gd name="connsiteX400" fmla="*/ 3048650 w 6268558"/>
              <a:gd name="connsiteY400" fmla="*/ 4907946 h 5142621"/>
              <a:gd name="connsiteX401" fmla="*/ 3051362 w 6268558"/>
              <a:gd name="connsiteY401" fmla="*/ 4906555 h 5142621"/>
              <a:gd name="connsiteX402" fmla="*/ 3054074 w 6268558"/>
              <a:gd name="connsiteY402" fmla="*/ 4905139 h 5142621"/>
              <a:gd name="connsiteX403" fmla="*/ 3056787 w 6268558"/>
              <a:gd name="connsiteY403" fmla="*/ 4903725 h 5142621"/>
              <a:gd name="connsiteX404" fmla="*/ 3059498 w 6268558"/>
              <a:gd name="connsiteY404" fmla="*/ 4902239 h 5142621"/>
              <a:gd name="connsiteX405" fmla="*/ 3064923 w 6268558"/>
              <a:gd name="connsiteY405" fmla="*/ 4899220 h 5142621"/>
              <a:gd name="connsiteX406" fmla="*/ 3086599 w 6268558"/>
              <a:gd name="connsiteY406" fmla="*/ 4886108 h 5142621"/>
              <a:gd name="connsiteX407" fmla="*/ 3097515 w 6268558"/>
              <a:gd name="connsiteY407" fmla="*/ 4878160 h 5142621"/>
              <a:gd name="connsiteX408" fmla="*/ 3108434 w 6268558"/>
              <a:gd name="connsiteY408" fmla="*/ 4868397 h 5142621"/>
              <a:gd name="connsiteX409" fmla="*/ 3129186 w 6268558"/>
              <a:gd name="connsiteY409" fmla="*/ 4842267 h 5142621"/>
              <a:gd name="connsiteX410" fmla="*/ 3149065 w 6268558"/>
              <a:gd name="connsiteY410" fmla="*/ 4809274 h 5142621"/>
              <a:gd name="connsiteX411" fmla="*/ 3170478 w 6268558"/>
              <a:gd name="connsiteY411" fmla="*/ 4770668 h 5142621"/>
              <a:gd name="connsiteX412" fmla="*/ 3221017 w 6268558"/>
              <a:gd name="connsiteY412" fmla="*/ 4677538 h 5142621"/>
              <a:gd name="connsiteX413" fmla="*/ 3250190 w 6268558"/>
              <a:gd name="connsiteY413" fmla="*/ 4623579 h 5142621"/>
              <a:gd name="connsiteX414" fmla="*/ 3281483 w 6268558"/>
              <a:gd name="connsiteY414" fmla="*/ 4565235 h 5142621"/>
              <a:gd name="connsiteX415" fmla="*/ 3348837 w 6268558"/>
              <a:gd name="connsiteY415" fmla="*/ 4437248 h 5142621"/>
              <a:gd name="connsiteX416" fmla="*/ 3628864 w 6268558"/>
              <a:gd name="connsiteY416" fmla="*/ 3841701 h 5142621"/>
              <a:gd name="connsiteX417" fmla="*/ 3846278 w 6268558"/>
              <a:gd name="connsiteY417" fmla="*/ 3248300 h 5142621"/>
              <a:gd name="connsiteX418" fmla="*/ 3886275 w 6268558"/>
              <a:gd name="connsiteY418" fmla="*/ 3113286 h 5142621"/>
              <a:gd name="connsiteX419" fmla="*/ 3921178 w 6268558"/>
              <a:gd name="connsiteY419" fmla="*/ 2985206 h 5142621"/>
              <a:gd name="connsiteX420" fmla="*/ 3955468 w 6268558"/>
              <a:gd name="connsiteY420" fmla="*/ 2863564 h 5142621"/>
              <a:gd name="connsiteX421" fmla="*/ 3978438 w 6268558"/>
              <a:gd name="connsiteY421" fmla="*/ 2804794 h 5142621"/>
              <a:gd name="connsiteX422" fmla="*/ 3994758 w 6268558"/>
              <a:gd name="connsiteY422" fmla="*/ 2776424 h 5142621"/>
              <a:gd name="connsiteX423" fmla="*/ 4017091 w 6268558"/>
              <a:gd name="connsiteY423" fmla="*/ 2750388 h 5142621"/>
              <a:gd name="connsiteX424" fmla="*/ 4046358 w 6268558"/>
              <a:gd name="connsiteY424" fmla="*/ 2729705 h 5142621"/>
              <a:gd name="connsiteX425" fmla="*/ 4080388 w 6268558"/>
              <a:gd name="connsiteY425" fmla="*/ 2716428 h 5142621"/>
              <a:gd name="connsiteX426" fmla="*/ 4116659 w 6268558"/>
              <a:gd name="connsiteY426" fmla="*/ 2709707 h 5142621"/>
              <a:gd name="connsiteX427" fmla="*/ 4154086 w 6268558"/>
              <a:gd name="connsiteY427" fmla="*/ 2707962 h 5142621"/>
              <a:gd name="connsiteX428" fmla="*/ 1759410 w 6268558"/>
              <a:gd name="connsiteY428" fmla="*/ 2702289 h 5142621"/>
              <a:gd name="connsiteX429" fmla="*/ 1792061 w 6268558"/>
              <a:gd name="connsiteY429" fmla="*/ 2753029 h 5142621"/>
              <a:gd name="connsiteX430" fmla="*/ 1823637 w 6268558"/>
              <a:gd name="connsiteY430" fmla="*/ 2765117 h 5142621"/>
              <a:gd name="connsiteX431" fmla="*/ 1842097 w 6268558"/>
              <a:gd name="connsiteY431" fmla="*/ 2770406 h 5142621"/>
              <a:gd name="connsiteX432" fmla="*/ 1828005 w 6268558"/>
              <a:gd name="connsiteY432" fmla="*/ 2746097 h 5142621"/>
              <a:gd name="connsiteX433" fmla="*/ 1810572 w 6268558"/>
              <a:gd name="connsiteY433" fmla="*/ 2719069 h 5142621"/>
              <a:gd name="connsiteX434" fmla="*/ 1705302 w 6268558"/>
              <a:gd name="connsiteY434" fmla="*/ 2680028 h 5142621"/>
              <a:gd name="connsiteX435" fmla="*/ 1739276 w 6268558"/>
              <a:gd name="connsiteY435" fmla="*/ 2732822 h 5142621"/>
              <a:gd name="connsiteX436" fmla="*/ 1789689 w 6268558"/>
              <a:gd name="connsiteY436" fmla="*/ 2752121 h 5142621"/>
              <a:gd name="connsiteX437" fmla="*/ 1757051 w 6268558"/>
              <a:gd name="connsiteY437" fmla="*/ 2701515 h 5142621"/>
              <a:gd name="connsiteX438" fmla="*/ 1753678 w 6268558"/>
              <a:gd name="connsiteY438" fmla="*/ 2700409 h 5142621"/>
              <a:gd name="connsiteX439" fmla="*/ 4131612 w 6268558"/>
              <a:gd name="connsiteY439" fmla="*/ 2644522 h 5142621"/>
              <a:gd name="connsiteX440" fmla="*/ 4211253 w 6268558"/>
              <a:gd name="connsiteY440" fmla="*/ 2649286 h 5142621"/>
              <a:gd name="connsiteX441" fmla="*/ 4294619 w 6268558"/>
              <a:gd name="connsiteY441" fmla="*/ 2666054 h 5142621"/>
              <a:gd name="connsiteX442" fmla="*/ 4652448 w 6268558"/>
              <a:gd name="connsiteY442" fmla="*/ 2848989 h 5142621"/>
              <a:gd name="connsiteX443" fmla="*/ 4959714 w 6268558"/>
              <a:gd name="connsiteY443" fmla="*/ 3241579 h 5142621"/>
              <a:gd name="connsiteX444" fmla="*/ 4983816 w 6268558"/>
              <a:gd name="connsiteY444" fmla="*/ 3779323 h 5142621"/>
              <a:gd name="connsiteX445" fmla="*/ 4979476 w 6268558"/>
              <a:gd name="connsiteY445" fmla="*/ 3775974 h 5142621"/>
              <a:gd name="connsiteX446" fmla="*/ 4953275 w 6268558"/>
              <a:gd name="connsiteY446" fmla="*/ 3241437 h 5142621"/>
              <a:gd name="connsiteX447" fmla="*/ 4647755 w 6268558"/>
              <a:gd name="connsiteY447" fmla="*/ 2851677 h 5142621"/>
              <a:gd name="connsiteX448" fmla="*/ 4292285 w 6268558"/>
              <a:gd name="connsiteY448" fmla="*/ 2670039 h 5142621"/>
              <a:gd name="connsiteX449" fmla="*/ 4209649 w 6268558"/>
              <a:gd name="connsiteY449" fmla="*/ 2653460 h 5142621"/>
              <a:gd name="connsiteX450" fmla="*/ 4130999 w 6268558"/>
              <a:gd name="connsiteY450" fmla="*/ 2648767 h 5142621"/>
              <a:gd name="connsiteX451" fmla="*/ 4093478 w 6268558"/>
              <a:gd name="connsiteY451" fmla="*/ 2651786 h 5142621"/>
              <a:gd name="connsiteX452" fmla="*/ 4057679 w 6268558"/>
              <a:gd name="connsiteY452" fmla="*/ 2659450 h 5142621"/>
              <a:gd name="connsiteX453" fmla="*/ 4024851 w 6268558"/>
              <a:gd name="connsiteY453" fmla="*/ 2673010 h 5142621"/>
              <a:gd name="connsiteX454" fmla="*/ 3997258 w 6268558"/>
              <a:gd name="connsiteY454" fmla="*/ 2693009 h 5142621"/>
              <a:gd name="connsiteX455" fmla="*/ 3976411 w 6268558"/>
              <a:gd name="connsiteY455" fmla="*/ 2717842 h 5142621"/>
              <a:gd name="connsiteX456" fmla="*/ 3961318 w 6268558"/>
              <a:gd name="connsiteY456" fmla="*/ 2745010 h 5142621"/>
              <a:gd name="connsiteX457" fmla="*/ 3940611 w 6268558"/>
              <a:gd name="connsiteY457" fmla="*/ 2801657 h 5142621"/>
              <a:gd name="connsiteX458" fmla="*/ 3911038 w 6268558"/>
              <a:gd name="connsiteY458" fmla="*/ 2919502 h 5142621"/>
              <a:gd name="connsiteX459" fmla="*/ 3881182 w 6268558"/>
              <a:gd name="connsiteY459" fmla="*/ 3043951 h 5142621"/>
              <a:gd name="connsiteX460" fmla="*/ 3846397 w 6268558"/>
              <a:gd name="connsiteY460" fmla="*/ 3175404 h 5142621"/>
              <a:gd name="connsiteX461" fmla="*/ 3648486 w 6268558"/>
              <a:gd name="connsiteY461" fmla="*/ 3758169 h 5142621"/>
              <a:gd name="connsiteX462" fmla="*/ 3377397 w 6268558"/>
              <a:gd name="connsiteY462" fmla="*/ 4360036 h 5142621"/>
              <a:gd name="connsiteX463" fmla="*/ 3308534 w 6268558"/>
              <a:gd name="connsiteY463" fmla="*/ 4494531 h 5142621"/>
              <a:gd name="connsiteX464" fmla="*/ 3275683 w 6268558"/>
              <a:gd name="connsiteY464" fmla="*/ 4557027 h 5142621"/>
              <a:gd name="connsiteX465" fmla="*/ 3244364 w 6268558"/>
              <a:gd name="connsiteY465" fmla="*/ 4615796 h 5142621"/>
              <a:gd name="connsiteX466" fmla="*/ 3187694 w 6268558"/>
              <a:gd name="connsiteY466" fmla="*/ 4720506 h 5142621"/>
              <a:gd name="connsiteX467" fmla="*/ 3162224 w 6268558"/>
              <a:gd name="connsiteY467" fmla="*/ 4765856 h 5142621"/>
              <a:gd name="connsiteX468" fmla="*/ 3137697 w 6268558"/>
              <a:gd name="connsiteY468" fmla="*/ 4806042 h 5142621"/>
              <a:gd name="connsiteX469" fmla="*/ 3125199 w 6268558"/>
              <a:gd name="connsiteY469" fmla="*/ 4823635 h 5142621"/>
              <a:gd name="connsiteX470" fmla="*/ 3112443 w 6268558"/>
              <a:gd name="connsiteY470" fmla="*/ 4838610 h 5142621"/>
              <a:gd name="connsiteX471" fmla="*/ 3099919 w 6268558"/>
              <a:gd name="connsiteY471" fmla="*/ 4850449 h 5142621"/>
              <a:gd name="connsiteX472" fmla="*/ 3087891 w 6268558"/>
              <a:gd name="connsiteY472" fmla="*/ 4859741 h 5142621"/>
              <a:gd name="connsiteX473" fmla="*/ 3064802 w 6268558"/>
              <a:gd name="connsiteY473" fmla="*/ 4874386 h 5142621"/>
              <a:gd name="connsiteX474" fmla="*/ 3059095 w 6268558"/>
              <a:gd name="connsiteY474" fmla="*/ 4877664 h 5142621"/>
              <a:gd name="connsiteX475" fmla="*/ 3056241 w 6268558"/>
              <a:gd name="connsiteY475" fmla="*/ 4879292 h 5142621"/>
              <a:gd name="connsiteX476" fmla="*/ 3053415 w 6268558"/>
              <a:gd name="connsiteY476" fmla="*/ 4880825 h 5142621"/>
              <a:gd name="connsiteX477" fmla="*/ 3050583 w 6268558"/>
              <a:gd name="connsiteY477" fmla="*/ 4882334 h 5142621"/>
              <a:gd name="connsiteX478" fmla="*/ 3047777 w 6268558"/>
              <a:gd name="connsiteY478" fmla="*/ 4883819 h 5142621"/>
              <a:gd name="connsiteX479" fmla="*/ 3042091 w 6268558"/>
              <a:gd name="connsiteY479" fmla="*/ 4886838 h 5142621"/>
              <a:gd name="connsiteX480" fmla="*/ 2941321 w 6268558"/>
              <a:gd name="connsiteY480" fmla="*/ 4945537 h 5142621"/>
              <a:gd name="connsiteX481" fmla="*/ 2635072 w 6268558"/>
              <a:gd name="connsiteY481" fmla="*/ 5132151 h 5142621"/>
              <a:gd name="connsiteX482" fmla="*/ 2941485 w 6268558"/>
              <a:gd name="connsiteY482" fmla="*/ 4945159 h 5142621"/>
              <a:gd name="connsiteX483" fmla="*/ 3042354 w 6268558"/>
              <a:gd name="connsiteY483" fmla="*/ 4886225 h 5142621"/>
              <a:gd name="connsiteX484" fmla="*/ 3048034 w 6268558"/>
              <a:gd name="connsiteY484" fmla="*/ 4883183 h 5142621"/>
              <a:gd name="connsiteX485" fmla="*/ 3050840 w 6268558"/>
              <a:gd name="connsiteY485" fmla="*/ 4881697 h 5142621"/>
              <a:gd name="connsiteX486" fmla="*/ 3053647 w 6268558"/>
              <a:gd name="connsiteY486" fmla="*/ 4880188 h 5142621"/>
              <a:gd name="connsiteX487" fmla="*/ 3056453 w 6268558"/>
              <a:gd name="connsiteY487" fmla="*/ 4878655 h 5142621"/>
              <a:gd name="connsiteX488" fmla="*/ 3059309 w 6268558"/>
              <a:gd name="connsiteY488" fmla="*/ 4877028 h 5142621"/>
              <a:gd name="connsiteX489" fmla="*/ 3064990 w 6268558"/>
              <a:gd name="connsiteY489" fmla="*/ 4873726 h 5142621"/>
              <a:gd name="connsiteX490" fmla="*/ 3088011 w 6268558"/>
              <a:gd name="connsiteY490" fmla="*/ 4859057 h 5142621"/>
              <a:gd name="connsiteX491" fmla="*/ 3099964 w 6268558"/>
              <a:gd name="connsiteY491" fmla="*/ 4849813 h 5142621"/>
              <a:gd name="connsiteX492" fmla="*/ 3112350 w 6268558"/>
              <a:gd name="connsiteY492" fmla="*/ 4838092 h 5142621"/>
              <a:gd name="connsiteX493" fmla="*/ 3137273 w 6268558"/>
              <a:gd name="connsiteY493" fmla="*/ 4805877 h 5142621"/>
              <a:gd name="connsiteX494" fmla="*/ 3161611 w 6268558"/>
              <a:gd name="connsiteY494" fmla="*/ 4765904 h 5142621"/>
              <a:gd name="connsiteX495" fmla="*/ 3186963 w 6268558"/>
              <a:gd name="connsiteY495" fmla="*/ 4720671 h 5142621"/>
              <a:gd name="connsiteX496" fmla="*/ 3243468 w 6268558"/>
              <a:gd name="connsiteY496" fmla="*/ 4616103 h 5142621"/>
              <a:gd name="connsiteX497" fmla="*/ 3274692 w 6268558"/>
              <a:gd name="connsiteY497" fmla="*/ 4557404 h 5142621"/>
              <a:gd name="connsiteX498" fmla="*/ 3307449 w 6268558"/>
              <a:gd name="connsiteY498" fmla="*/ 4494956 h 5142621"/>
              <a:gd name="connsiteX499" fmla="*/ 3376147 w 6268558"/>
              <a:gd name="connsiteY499" fmla="*/ 4360602 h 5142621"/>
              <a:gd name="connsiteX500" fmla="*/ 3646411 w 6268558"/>
              <a:gd name="connsiteY500" fmla="*/ 3759324 h 5142621"/>
              <a:gd name="connsiteX501" fmla="*/ 3843095 w 6268558"/>
              <a:gd name="connsiteY501" fmla="*/ 3176866 h 5142621"/>
              <a:gd name="connsiteX502" fmla="*/ 3877456 w 6268558"/>
              <a:gd name="connsiteY502" fmla="*/ 3045390 h 5142621"/>
              <a:gd name="connsiteX503" fmla="*/ 3906840 w 6268558"/>
              <a:gd name="connsiteY503" fmla="*/ 2920870 h 5142621"/>
              <a:gd name="connsiteX504" fmla="*/ 3935918 w 6268558"/>
              <a:gd name="connsiteY504" fmla="*/ 2802530 h 5142621"/>
              <a:gd name="connsiteX505" fmla="*/ 3956554 w 6268558"/>
              <a:gd name="connsiteY505" fmla="*/ 2745010 h 5142621"/>
              <a:gd name="connsiteX506" fmla="*/ 3971883 w 6268558"/>
              <a:gd name="connsiteY506" fmla="*/ 2716993 h 5142621"/>
              <a:gd name="connsiteX507" fmla="*/ 3993462 w 6268558"/>
              <a:gd name="connsiteY507" fmla="*/ 2690934 h 5142621"/>
              <a:gd name="connsiteX508" fmla="*/ 4022398 w 6268558"/>
              <a:gd name="connsiteY508" fmla="*/ 2669756 h 5142621"/>
              <a:gd name="connsiteX509" fmla="*/ 4056570 w 6268558"/>
              <a:gd name="connsiteY509" fmla="*/ 2655536 h 5142621"/>
              <a:gd name="connsiteX510" fmla="*/ 4093360 w 6268558"/>
              <a:gd name="connsiteY510" fmla="*/ 2647612 h 5142621"/>
              <a:gd name="connsiteX511" fmla="*/ 4131612 w 6268558"/>
              <a:gd name="connsiteY511" fmla="*/ 2644522 h 5142621"/>
              <a:gd name="connsiteX512" fmla="*/ 4105717 w 6268558"/>
              <a:gd name="connsiteY512" fmla="*/ 2584503 h 5142621"/>
              <a:gd name="connsiteX513" fmla="*/ 4187433 w 6268558"/>
              <a:gd name="connsiteY513" fmla="*/ 2586319 h 5142621"/>
              <a:gd name="connsiteX514" fmla="*/ 4273748 w 6268558"/>
              <a:gd name="connsiteY514" fmla="*/ 2599997 h 5142621"/>
              <a:gd name="connsiteX515" fmla="*/ 4653084 w 6268558"/>
              <a:gd name="connsiteY515" fmla="*/ 2771706 h 5142621"/>
              <a:gd name="connsiteX516" fmla="*/ 4999498 w 6268558"/>
              <a:gd name="connsiteY516" fmla="*/ 3165145 h 5142621"/>
              <a:gd name="connsiteX517" fmla="*/ 5065201 w 6268558"/>
              <a:gd name="connsiteY517" fmla="*/ 3730364 h 5142621"/>
              <a:gd name="connsiteX518" fmla="*/ 5060201 w 6268558"/>
              <a:gd name="connsiteY518" fmla="*/ 3726685 h 5142621"/>
              <a:gd name="connsiteX519" fmla="*/ 4992612 w 6268558"/>
              <a:gd name="connsiteY519" fmla="*/ 3164957 h 5142621"/>
              <a:gd name="connsiteX520" fmla="*/ 4648202 w 6268558"/>
              <a:gd name="connsiteY520" fmla="*/ 2774418 h 5142621"/>
              <a:gd name="connsiteX521" fmla="*/ 4271366 w 6268558"/>
              <a:gd name="connsiteY521" fmla="*/ 2603983 h 5142621"/>
              <a:gd name="connsiteX522" fmla="*/ 4185806 w 6268558"/>
              <a:gd name="connsiteY522" fmla="*/ 2590469 h 5142621"/>
              <a:gd name="connsiteX523" fmla="*/ 4105081 w 6268558"/>
              <a:gd name="connsiteY523" fmla="*/ 2588677 h 5142621"/>
              <a:gd name="connsiteX524" fmla="*/ 4066876 w 6268558"/>
              <a:gd name="connsiteY524" fmla="*/ 2593040 h 5142621"/>
              <a:gd name="connsiteX525" fmla="*/ 4030676 w 6268558"/>
              <a:gd name="connsiteY525" fmla="*/ 2601884 h 5142621"/>
              <a:gd name="connsiteX526" fmla="*/ 3997777 w 6268558"/>
              <a:gd name="connsiteY526" fmla="*/ 2616340 h 5142621"/>
              <a:gd name="connsiteX527" fmla="*/ 3970539 w 6268558"/>
              <a:gd name="connsiteY527" fmla="*/ 2636834 h 5142621"/>
              <a:gd name="connsiteX528" fmla="*/ 3950398 w 6268558"/>
              <a:gd name="connsiteY528" fmla="*/ 2661691 h 5142621"/>
              <a:gd name="connsiteX529" fmla="*/ 3936248 w 6268558"/>
              <a:gd name="connsiteY529" fmla="*/ 2688528 h 5142621"/>
              <a:gd name="connsiteX530" fmla="*/ 3917736 w 6268558"/>
              <a:gd name="connsiteY530" fmla="*/ 2743996 h 5142621"/>
              <a:gd name="connsiteX531" fmla="*/ 3893139 w 6268558"/>
              <a:gd name="connsiteY531" fmla="*/ 2858658 h 5142621"/>
              <a:gd name="connsiteX532" fmla="*/ 3868659 w 6268558"/>
              <a:gd name="connsiteY532" fmla="*/ 2979592 h 5142621"/>
              <a:gd name="connsiteX533" fmla="*/ 3839416 w 6268558"/>
              <a:gd name="connsiteY533" fmla="*/ 3107508 h 5142621"/>
              <a:gd name="connsiteX534" fmla="*/ 3662613 w 6268558"/>
              <a:gd name="connsiteY534" fmla="*/ 3678434 h 5142621"/>
              <a:gd name="connsiteX535" fmla="*/ 3403621 w 6268558"/>
              <a:gd name="connsiteY535" fmla="*/ 4282306 h 5142621"/>
              <a:gd name="connsiteX536" fmla="*/ 3334593 w 6268558"/>
              <a:gd name="connsiteY536" fmla="*/ 4421636 h 5142621"/>
              <a:gd name="connsiteX537" fmla="*/ 3300964 w 6268558"/>
              <a:gd name="connsiteY537" fmla="*/ 4487409 h 5142621"/>
              <a:gd name="connsiteX538" fmla="*/ 3268325 w 6268558"/>
              <a:gd name="connsiteY538" fmla="*/ 4550046 h 5142621"/>
              <a:gd name="connsiteX539" fmla="*/ 3207291 w 6268558"/>
              <a:gd name="connsiteY539" fmla="*/ 4664307 h 5142621"/>
              <a:gd name="connsiteX540" fmla="*/ 3178708 w 6268558"/>
              <a:gd name="connsiteY540" fmla="*/ 4715412 h 5142621"/>
              <a:gd name="connsiteX541" fmla="*/ 3150456 w 6268558"/>
              <a:gd name="connsiteY541" fmla="*/ 4761871 h 5142621"/>
              <a:gd name="connsiteX542" fmla="*/ 3135975 w 6268558"/>
              <a:gd name="connsiteY542" fmla="*/ 4782577 h 5142621"/>
              <a:gd name="connsiteX543" fmla="*/ 3121401 w 6268558"/>
              <a:gd name="connsiteY543" fmla="*/ 4800288 h 5142621"/>
              <a:gd name="connsiteX544" fmla="*/ 3107394 w 6268558"/>
              <a:gd name="connsiteY544" fmla="*/ 4814225 h 5142621"/>
              <a:gd name="connsiteX545" fmla="*/ 3094233 w 6268558"/>
              <a:gd name="connsiteY545" fmla="*/ 4825050 h 5142621"/>
              <a:gd name="connsiteX546" fmla="*/ 3069518 w 6268558"/>
              <a:gd name="connsiteY546" fmla="*/ 4841842 h 5142621"/>
              <a:gd name="connsiteX547" fmla="*/ 3063482 w 6268558"/>
              <a:gd name="connsiteY547" fmla="*/ 4845567 h 5142621"/>
              <a:gd name="connsiteX548" fmla="*/ 3060463 w 6268558"/>
              <a:gd name="connsiteY548" fmla="*/ 4847407 h 5142621"/>
              <a:gd name="connsiteX549" fmla="*/ 3057490 w 6268558"/>
              <a:gd name="connsiteY549" fmla="*/ 4849128 h 5142621"/>
              <a:gd name="connsiteX550" fmla="*/ 3054519 w 6268558"/>
              <a:gd name="connsiteY550" fmla="*/ 4850826 h 5142621"/>
              <a:gd name="connsiteX551" fmla="*/ 3051548 w 6268558"/>
              <a:gd name="connsiteY551" fmla="*/ 4852501 h 5142621"/>
              <a:gd name="connsiteX552" fmla="*/ 3045581 w 6268558"/>
              <a:gd name="connsiteY552" fmla="*/ 4855897 h 5142621"/>
              <a:gd name="connsiteX553" fmla="*/ 2939056 w 6268558"/>
              <a:gd name="connsiteY553" fmla="*/ 4921246 h 5142621"/>
              <a:gd name="connsiteX554" fmla="*/ 2612146 w 6268558"/>
              <a:gd name="connsiteY554" fmla="*/ 5120925 h 5142621"/>
              <a:gd name="connsiteX555" fmla="*/ 2939244 w 6268558"/>
              <a:gd name="connsiteY555" fmla="*/ 4920798 h 5142621"/>
              <a:gd name="connsiteX556" fmla="*/ 3045912 w 6268558"/>
              <a:gd name="connsiteY556" fmla="*/ 4855166 h 5142621"/>
              <a:gd name="connsiteX557" fmla="*/ 3051901 w 6268558"/>
              <a:gd name="connsiteY557" fmla="*/ 4851746 h 5142621"/>
              <a:gd name="connsiteX558" fmla="*/ 3054873 w 6268558"/>
              <a:gd name="connsiteY558" fmla="*/ 4850072 h 5142621"/>
              <a:gd name="connsiteX559" fmla="*/ 3057845 w 6268558"/>
              <a:gd name="connsiteY559" fmla="*/ 4848374 h 5142621"/>
              <a:gd name="connsiteX560" fmla="*/ 3060816 w 6268558"/>
              <a:gd name="connsiteY560" fmla="*/ 4846652 h 5142621"/>
              <a:gd name="connsiteX561" fmla="*/ 3063835 w 6268558"/>
              <a:gd name="connsiteY561" fmla="*/ 4844813 h 5142621"/>
              <a:gd name="connsiteX562" fmla="*/ 3069873 w 6268558"/>
              <a:gd name="connsiteY562" fmla="*/ 4841063 h 5142621"/>
              <a:gd name="connsiteX563" fmla="*/ 3094540 w 6268558"/>
              <a:gd name="connsiteY563" fmla="*/ 4824248 h 5142621"/>
              <a:gd name="connsiteX564" fmla="*/ 3107605 w 6268558"/>
              <a:gd name="connsiteY564" fmla="*/ 4813447 h 5142621"/>
              <a:gd name="connsiteX565" fmla="*/ 3121472 w 6268558"/>
              <a:gd name="connsiteY565" fmla="*/ 4799627 h 5142621"/>
              <a:gd name="connsiteX566" fmla="*/ 3150149 w 6268558"/>
              <a:gd name="connsiteY566" fmla="*/ 4761635 h 5142621"/>
              <a:gd name="connsiteX567" fmla="*/ 3178190 w 6268558"/>
              <a:gd name="connsiteY567" fmla="*/ 4715435 h 5142621"/>
              <a:gd name="connsiteX568" fmla="*/ 3206654 w 6268558"/>
              <a:gd name="connsiteY568" fmla="*/ 4664472 h 5142621"/>
              <a:gd name="connsiteX569" fmla="*/ 3267523 w 6268558"/>
              <a:gd name="connsiteY569" fmla="*/ 4550376 h 5142621"/>
              <a:gd name="connsiteX570" fmla="*/ 3300067 w 6268558"/>
              <a:gd name="connsiteY570" fmla="*/ 4487834 h 5142621"/>
              <a:gd name="connsiteX571" fmla="*/ 3333627 w 6268558"/>
              <a:gd name="connsiteY571" fmla="*/ 4422131 h 5142621"/>
              <a:gd name="connsiteX572" fmla="*/ 3402490 w 6268558"/>
              <a:gd name="connsiteY572" fmla="*/ 4282943 h 5142621"/>
              <a:gd name="connsiteX573" fmla="*/ 3660655 w 6268558"/>
              <a:gd name="connsiteY573" fmla="*/ 3679684 h 5142621"/>
              <a:gd name="connsiteX574" fmla="*/ 3836256 w 6268558"/>
              <a:gd name="connsiteY574" fmla="*/ 3109088 h 5142621"/>
              <a:gd name="connsiteX575" fmla="*/ 3865074 w 6268558"/>
              <a:gd name="connsiteY575" fmla="*/ 2981172 h 5142621"/>
              <a:gd name="connsiteX576" fmla="*/ 3889082 w 6268558"/>
              <a:gd name="connsiteY576" fmla="*/ 2860167 h 5142621"/>
              <a:gd name="connsiteX577" fmla="*/ 3913161 w 6268558"/>
              <a:gd name="connsiteY577" fmla="*/ 2745034 h 5142621"/>
              <a:gd name="connsiteX578" fmla="*/ 3931555 w 6268558"/>
              <a:gd name="connsiteY578" fmla="*/ 2688693 h 5142621"/>
              <a:gd name="connsiteX579" fmla="*/ 3945918 w 6268558"/>
              <a:gd name="connsiteY579" fmla="*/ 2661007 h 5142621"/>
              <a:gd name="connsiteX580" fmla="*/ 3966765 w 6268558"/>
              <a:gd name="connsiteY580" fmla="*/ 2634924 h 5142621"/>
              <a:gd name="connsiteX581" fmla="*/ 3995325 w 6268558"/>
              <a:gd name="connsiteY581" fmla="*/ 2613227 h 5142621"/>
              <a:gd name="connsiteX582" fmla="*/ 4029544 w 6268558"/>
              <a:gd name="connsiteY582" fmla="*/ 2598063 h 5142621"/>
              <a:gd name="connsiteX583" fmla="*/ 4066758 w 6268558"/>
              <a:gd name="connsiteY583" fmla="*/ 2588936 h 5142621"/>
              <a:gd name="connsiteX584" fmla="*/ 4105717 w 6268558"/>
              <a:gd name="connsiteY584" fmla="*/ 2584503 h 5142621"/>
              <a:gd name="connsiteX585" fmla="*/ 4159770 w 6268558"/>
              <a:gd name="connsiteY585" fmla="*/ 2526983 h 5142621"/>
              <a:gd name="connsiteX586" fmla="*/ 4248749 w 6268558"/>
              <a:gd name="connsiteY586" fmla="*/ 2537501 h 5142621"/>
              <a:gd name="connsiteX587" fmla="*/ 4648367 w 6268558"/>
              <a:gd name="connsiteY587" fmla="*/ 2696971 h 5142621"/>
              <a:gd name="connsiteX588" fmla="*/ 5034259 w 6268558"/>
              <a:gd name="connsiteY588" fmla="*/ 3088641 h 5142621"/>
              <a:gd name="connsiteX589" fmla="*/ 5146185 w 6268558"/>
              <a:gd name="connsiteY589" fmla="*/ 3679684 h 5142621"/>
              <a:gd name="connsiteX590" fmla="*/ 5140762 w 6268558"/>
              <a:gd name="connsiteY590" fmla="*/ 3675627 h 5142621"/>
              <a:gd name="connsiteX591" fmla="*/ 5027184 w 6268558"/>
              <a:gd name="connsiteY591" fmla="*/ 3088335 h 5142621"/>
              <a:gd name="connsiteX592" fmla="*/ 4643580 w 6268558"/>
              <a:gd name="connsiteY592" fmla="*/ 2699636 h 5142621"/>
              <a:gd name="connsiteX593" fmla="*/ 4246556 w 6268558"/>
              <a:gd name="connsiteY593" fmla="*/ 2541416 h 5142621"/>
              <a:gd name="connsiteX594" fmla="*/ 4158355 w 6268558"/>
              <a:gd name="connsiteY594" fmla="*/ 2531039 h 5142621"/>
              <a:gd name="connsiteX595" fmla="*/ 4075814 w 6268558"/>
              <a:gd name="connsiteY595" fmla="*/ 2532195 h 5142621"/>
              <a:gd name="connsiteX596" fmla="*/ 4037019 w 6268558"/>
              <a:gd name="connsiteY596" fmla="*/ 2537879 h 5142621"/>
              <a:gd name="connsiteX597" fmla="*/ 4000489 w 6268558"/>
              <a:gd name="connsiteY597" fmla="*/ 2547878 h 5142621"/>
              <a:gd name="connsiteX598" fmla="*/ 3967590 w 6268558"/>
              <a:gd name="connsiteY598" fmla="*/ 2563254 h 5142621"/>
              <a:gd name="connsiteX599" fmla="*/ 3940729 w 6268558"/>
              <a:gd name="connsiteY599" fmla="*/ 2584243 h 5142621"/>
              <a:gd name="connsiteX600" fmla="*/ 3921297 w 6268558"/>
              <a:gd name="connsiteY600" fmla="*/ 2609171 h 5142621"/>
              <a:gd name="connsiteX601" fmla="*/ 3908043 w 6268558"/>
              <a:gd name="connsiteY601" fmla="*/ 2635725 h 5142621"/>
              <a:gd name="connsiteX602" fmla="*/ 3891653 w 6268558"/>
              <a:gd name="connsiteY602" fmla="*/ 2690085 h 5142621"/>
              <a:gd name="connsiteX603" fmla="*/ 3871819 w 6268558"/>
              <a:gd name="connsiteY603" fmla="*/ 2801657 h 5142621"/>
              <a:gd name="connsiteX604" fmla="*/ 3852504 w 6268558"/>
              <a:gd name="connsiteY604" fmla="*/ 2919149 h 5142621"/>
              <a:gd name="connsiteX605" fmla="*/ 3828662 w 6268558"/>
              <a:gd name="connsiteY605" fmla="*/ 3043527 h 5142621"/>
              <a:gd name="connsiteX606" fmla="*/ 3673107 w 6268558"/>
              <a:gd name="connsiteY606" fmla="*/ 3601953 h 5142621"/>
              <a:gd name="connsiteX607" fmla="*/ 3428053 w 6268558"/>
              <a:gd name="connsiteY607" fmla="*/ 4204764 h 5142621"/>
              <a:gd name="connsiteX608" fmla="*/ 3359827 w 6268558"/>
              <a:gd name="connsiteY608" fmla="*/ 4347608 h 5142621"/>
              <a:gd name="connsiteX609" fmla="*/ 3325962 w 6268558"/>
              <a:gd name="connsiteY609" fmla="*/ 4415881 h 5142621"/>
              <a:gd name="connsiteX610" fmla="*/ 3292639 w 6268558"/>
              <a:gd name="connsiteY610" fmla="*/ 4481560 h 5142621"/>
              <a:gd name="connsiteX611" fmla="*/ 3228657 w 6268558"/>
              <a:gd name="connsiteY611" fmla="*/ 4603674 h 5142621"/>
              <a:gd name="connsiteX612" fmla="*/ 3197716 w 6268558"/>
              <a:gd name="connsiteY612" fmla="*/ 4659661 h 5142621"/>
              <a:gd name="connsiteX613" fmla="*/ 3166445 w 6268558"/>
              <a:gd name="connsiteY613" fmla="*/ 4711662 h 5142621"/>
              <a:gd name="connsiteX614" fmla="*/ 3150267 w 6268558"/>
              <a:gd name="connsiteY614" fmla="*/ 4735245 h 5142621"/>
              <a:gd name="connsiteX615" fmla="*/ 3134045 w 6268558"/>
              <a:gd name="connsiteY615" fmla="*/ 4755621 h 5142621"/>
              <a:gd name="connsiteX616" fmla="*/ 3118620 w 6268558"/>
              <a:gd name="connsiteY616" fmla="*/ 4771752 h 5142621"/>
              <a:gd name="connsiteX617" fmla="*/ 3104308 w 6268558"/>
              <a:gd name="connsiteY617" fmla="*/ 4784298 h 5142621"/>
              <a:gd name="connsiteX618" fmla="*/ 3077754 w 6268558"/>
              <a:gd name="connsiteY618" fmla="*/ 4803707 h 5142621"/>
              <a:gd name="connsiteX619" fmla="*/ 3071312 w 6268558"/>
              <a:gd name="connsiteY619" fmla="*/ 4807999 h 5142621"/>
              <a:gd name="connsiteX620" fmla="*/ 3068105 w 6268558"/>
              <a:gd name="connsiteY620" fmla="*/ 4810098 h 5142621"/>
              <a:gd name="connsiteX621" fmla="*/ 3064947 w 6268558"/>
              <a:gd name="connsiteY621" fmla="*/ 4812056 h 5142621"/>
              <a:gd name="connsiteX622" fmla="*/ 3061785 w 6268558"/>
              <a:gd name="connsiteY622" fmla="*/ 4814013 h 5142621"/>
              <a:gd name="connsiteX623" fmla="*/ 3058650 w 6268558"/>
              <a:gd name="connsiteY623" fmla="*/ 4815923 h 5142621"/>
              <a:gd name="connsiteX624" fmla="*/ 3052304 w 6268558"/>
              <a:gd name="connsiteY624" fmla="*/ 4819815 h 5142621"/>
              <a:gd name="connsiteX625" fmla="*/ 2939199 w 6268558"/>
              <a:gd name="connsiteY625" fmla="*/ 4893206 h 5142621"/>
              <a:gd name="connsiteX626" fmla="*/ 2591138 w 6268558"/>
              <a:gd name="connsiteY626" fmla="*/ 5106162 h 5142621"/>
              <a:gd name="connsiteX627" fmla="*/ 2939458 w 6268558"/>
              <a:gd name="connsiteY627" fmla="*/ 4892710 h 5142621"/>
              <a:gd name="connsiteX628" fmla="*/ 3052731 w 6268558"/>
              <a:gd name="connsiteY628" fmla="*/ 4818966 h 5142621"/>
              <a:gd name="connsiteX629" fmla="*/ 3059073 w 6268558"/>
              <a:gd name="connsiteY629" fmla="*/ 4815051 h 5142621"/>
              <a:gd name="connsiteX630" fmla="*/ 3062209 w 6268558"/>
              <a:gd name="connsiteY630" fmla="*/ 4813141 h 5142621"/>
              <a:gd name="connsiteX631" fmla="*/ 3065369 w 6268558"/>
              <a:gd name="connsiteY631" fmla="*/ 4811183 h 5142621"/>
              <a:gd name="connsiteX632" fmla="*/ 3068531 w 6268558"/>
              <a:gd name="connsiteY632" fmla="*/ 4809202 h 5142621"/>
              <a:gd name="connsiteX633" fmla="*/ 3071739 w 6268558"/>
              <a:gd name="connsiteY633" fmla="*/ 4807080 h 5142621"/>
              <a:gd name="connsiteX634" fmla="*/ 3078175 w 6268558"/>
              <a:gd name="connsiteY634" fmla="*/ 4802788 h 5142621"/>
              <a:gd name="connsiteX635" fmla="*/ 3104684 w 6268558"/>
              <a:gd name="connsiteY635" fmla="*/ 4783355 h 5142621"/>
              <a:gd name="connsiteX636" fmla="*/ 3118903 w 6268558"/>
              <a:gd name="connsiteY636" fmla="*/ 4770856 h 5142621"/>
              <a:gd name="connsiteX637" fmla="*/ 3134164 w 6268558"/>
              <a:gd name="connsiteY637" fmla="*/ 4754866 h 5142621"/>
              <a:gd name="connsiteX638" fmla="*/ 3166138 w 6268558"/>
              <a:gd name="connsiteY638" fmla="*/ 4711426 h 5142621"/>
              <a:gd name="connsiteX639" fmla="*/ 3197174 w 6268558"/>
              <a:gd name="connsiteY639" fmla="*/ 4659755 h 5142621"/>
              <a:gd name="connsiteX640" fmla="*/ 3227997 w 6268558"/>
              <a:gd name="connsiteY640" fmla="*/ 4603934 h 5142621"/>
              <a:gd name="connsiteX641" fmla="*/ 3291789 w 6268558"/>
              <a:gd name="connsiteY641" fmla="*/ 4482032 h 5142621"/>
              <a:gd name="connsiteX642" fmla="*/ 3325018 w 6268558"/>
              <a:gd name="connsiteY642" fmla="*/ 4416447 h 5142621"/>
              <a:gd name="connsiteX643" fmla="*/ 3358789 w 6268558"/>
              <a:gd name="connsiteY643" fmla="*/ 4348245 h 5142621"/>
              <a:gd name="connsiteX644" fmla="*/ 3426851 w 6268558"/>
              <a:gd name="connsiteY644" fmla="*/ 4205566 h 5142621"/>
              <a:gd name="connsiteX645" fmla="*/ 3671079 w 6268558"/>
              <a:gd name="connsiteY645" fmla="*/ 3603392 h 5142621"/>
              <a:gd name="connsiteX646" fmla="*/ 3825454 w 6268558"/>
              <a:gd name="connsiteY646" fmla="*/ 3045319 h 5142621"/>
              <a:gd name="connsiteX647" fmla="*/ 3848873 w 6268558"/>
              <a:gd name="connsiteY647" fmla="*/ 2920941 h 5142621"/>
              <a:gd name="connsiteX648" fmla="*/ 3867716 w 6268558"/>
              <a:gd name="connsiteY648" fmla="*/ 2803378 h 5142621"/>
              <a:gd name="connsiteX649" fmla="*/ 3887006 w 6268558"/>
              <a:gd name="connsiteY649" fmla="*/ 2691335 h 5142621"/>
              <a:gd name="connsiteX650" fmla="*/ 3903255 w 6268558"/>
              <a:gd name="connsiteY650" fmla="*/ 2636150 h 5142621"/>
              <a:gd name="connsiteX651" fmla="*/ 3916674 w 6268558"/>
              <a:gd name="connsiteY651" fmla="*/ 2608746 h 5142621"/>
              <a:gd name="connsiteX652" fmla="*/ 3936767 w 6268558"/>
              <a:gd name="connsiteY652" fmla="*/ 2582592 h 5142621"/>
              <a:gd name="connsiteX653" fmla="*/ 3964925 w 6268558"/>
              <a:gd name="connsiteY653" fmla="*/ 2560354 h 5142621"/>
              <a:gd name="connsiteX654" fmla="*/ 3999145 w 6268558"/>
              <a:gd name="connsiteY654" fmla="*/ 2544246 h 5142621"/>
              <a:gd name="connsiteX655" fmla="*/ 4036689 w 6268558"/>
              <a:gd name="connsiteY655" fmla="*/ 2533917 h 5142621"/>
              <a:gd name="connsiteX656" fmla="*/ 4076215 w 6268558"/>
              <a:gd name="connsiteY656" fmla="*/ 2528115 h 5142621"/>
              <a:gd name="connsiteX657" fmla="*/ 4159770 w 6268558"/>
              <a:gd name="connsiteY657" fmla="*/ 2526983 h 5142621"/>
              <a:gd name="connsiteX658" fmla="*/ 4128947 w 6268558"/>
              <a:gd name="connsiteY658" fmla="*/ 2471091 h 5142621"/>
              <a:gd name="connsiteX659" fmla="*/ 4220284 w 6268558"/>
              <a:gd name="connsiteY659" fmla="*/ 2478426 h 5142621"/>
              <a:gd name="connsiteX660" fmla="*/ 4638957 w 6268558"/>
              <a:gd name="connsiteY660" fmla="*/ 2624831 h 5142621"/>
              <a:gd name="connsiteX661" fmla="*/ 5064257 w 6268558"/>
              <a:gd name="connsiteY661" fmla="*/ 3012209 h 5142621"/>
              <a:gd name="connsiteX662" fmla="*/ 5226769 w 6268558"/>
              <a:gd name="connsiteY662" fmla="*/ 3627117 h 5142621"/>
              <a:gd name="connsiteX663" fmla="*/ 5220779 w 6268558"/>
              <a:gd name="connsiteY663" fmla="*/ 3622637 h 5142621"/>
              <a:gd name="connsiteX664" fmla="*/ 5056923 w 6268558"/>
              <a:gd name="connsiteY664" fmla="*/ 3011760 h 5142621"/>
              <a:gd name="connsiteX665" fmla="*/ 4634170 w 6268558"/>
              <a:gd name="connsiteY665" fmla="*/ 2627377 h 5142621"/>
              <a:gd name="connsiteX666" fmla="*/ 4218209 w 6268558"/>
              <a:gd name="connsiteY666" fmla="*/ 2482176 h 5142621"/>
              <a:gd name="connsiteX667" fmla="*/ 4127649 w 6268558"/>
              <a:gd name="connsiteY667" fmla="*/ 2474959 h 5142621"/>
              <a:gd name="connsiteX668" fmla="*/ 4043552 w 6268558"/>
              <a:gd name="connsiteY668" fmla="*/ 2479016 h 5142621"/>
              <a:gd name="connsiteX669" fmla="*/ 4004285 w 6268558"/>
              <a:gd name="connsiteY669" fmla="*/ 2486020 h 5142621"/>
              <a:gd name="connsiteX670" fmla="*/ 3967519 w 6268558"/>
              <a:gd name="connsiteY670" fmla="*/ 2497175 h 5142621"/>
              <a:gd name="connsiteX671" fmla="*/ 3934692 w 6268558"/>
              <a:gd name="connsiteY671" fmla="*/ 2513447 h 5142621"/>
              <a:gd name="connsiteX672" fmla="*/ 3908231 w 6268558"/>
              <a:gd name="connsiteY672" fmla="*/ 2534955 h 5142621"/>
              <a:gd name="connsiteX673" fmla="*/ 3889482 w 6268558"/>
              <a:gd name="connsiteY673" fmla="*/ 2559953 h 5142621"/>
              <a:gd name="connsiteX674" fmla="*/ 3877101 w 6268558"/>
              <a:gd name="connsiteY674" fmla="*/ 2586272 h 5142621"/>
              <a:gd name="connsiteX675" fmla="*/ 3862716 w 6268558"/>
              <a:gd name="connsiteY675" fmla="*/ 2639594 h 5142621"/>
              <a:gd name="connsiteX676" fmla="*/ 3847386 w 6268558"/>
              <a:gd name="connsiteY676" fmla="*/ 2748218 h 5142621"/>
              <a:gd name="connsiteX677" fmla="*/ 3833024 w 6268558"/>
              <a:gd name="connsiteY677" fmla="*/ 2862361 h 5142621"/>
              <a:gd name="connsiteX678" fmla="*/ 3814441 w 6268558"/>
              <a:gd name="connsiteY678" fmla="*/ 2983272 h 5142621"/>
              <a:gd name="connsiteX679" fmla="*/ 3680063 w 6268558"/>
              <a:gd name="connsiteY679" fmla="*/ 3528752 h 5142621"/>
              <a:gd name="connsiteX680" fmla="*/ 3450363 w 6268558"/>
              <a:gd name="connsiteY680" fmla="*/ 4128001 h 5142621"/>
              <a:gd name="connsiteX681" fmla="*/ 3383717 w 6268558"/>
              <a:gd name="connsiteY681" fmla="*/ 4273180 h 5142621"/>
              <a:gd name="connsiteX682" fmla="*/ 3350134 w 6268558"/>
              <a:gd name="connsiteY682" fmla="*/ 4343292 h 5142621"/>
              <a:gd name="connsiteX683" fmla="*/ 3316670 w 6268558"/>
              <a:gd name="connsiteY683" fmla="*/ 4411307 h 5142621"/>
              <a:gd name="connsiteX684" fmla="*/ 3251014 w 6268558"/>
              <a:gd name="connsiteY684" fmla="*/ 4539717 h 5142621"/>
              <a:gd name="connsiteX685" fmla="*/ 3218375 w 6268558"/>
              <a:gd name="connsiteY685" fmla="*/ 4599807 h 5142621"/>
              <a:gd name="connsiteX686" fmla="*/ 3184745 w 6268558"/>
              <a:gd name="connsiteY686" fmla="*/ 4656619 h 5142621"/>
              <a:gd name="connsiteX687" fmla="*/ 3167152 w 6268558"/>
              <a:gd name="connsiteY687" fmla="*/ 4682820 h 5142621"/>
              <a:gd name="connsiteX688" fmla="*/ 3149464 w 6268558"/>
              <a:gd name="connsiteY688" fmla="*/ 4705720 h 5142621"/>
              <a:gd name="connsiteX689" fmla="*/ 3132702 w 6268558"/>
              <a:gd name="connsiteY689" fmla="*/ 4724044 h 5142621"/>
              <a:gd name="connsiteX690" fmla="*/ 3117226 w 6268558"/>
              <a:gd name="connsiteY690" fmla="*/ 4738406 h 5142621"/>
              <a:gd name="connsiteX691" fmla="*/ 3088738 w 6268558"/>
              <a:gd name="connsiteY691" fmla="*/ 4760763 h 5142621"/>
              <a:gd name="connsiteX692" fmla="*/ 3081852 w 6268558"/>
              <a:gd name="connsiteY692" fmla="*/ 4765692 h 5142621"/>
              <a:gd name="connsiteX693" fmla="*/ 3078432 w 6268558"/>
              <a:gd name="connsiteY693" fmla="*/ 4768121 h 5142621"/>
              <a:gd name="connsiteX694" fmla="*/ 3075060 w 6268558"/>
              <a:gd name="connsiteY694" fmla="*/ 4770385 h 5142621"/>
              <a:gd name="connsiteX695" fmla="*/ 3071688 w 6268558"/>
              <a:gd name="connsiteY695" fmla="*/ 4772649 h 5142621"/>
              <a:gd name="connsiteX696" fmla="*/ 3068338 w 6268558"/>
              <a:gd name="connsiteY696" fmla="*/ 4774842 h 5142621"/>
              <a:gd name="connsiteX697" fmla="*/ 3061594 w 6268558"/>
              <a:gd name="connsiteY697" fmla="*/ 4779299 h 5142621"/>
              <a:gd name="connsiteX698" fmla="*/ 2941366 w 6268558"/>
              <a:gd name="connsiteY698" fmla="*/ 4861770 h 5142621"/>
              <a:gd name="connsiteX699" fmla="*/ 2571892 w 6268558"/>
              <a:gd name="connsiteY699" fmla="*/ 5087862 h 5142621"/>
              <a:gd name="connsiteX700" fmla="*/ 2941629 w 6268558"/>
              <a:gd name="connsiteY700" fmla="*/ 4861204 h 5142621"/>
              <a:gd name="connsiteX701" fmla="*/ 3062042 w 6268558"/>
              <a:gd name="connsiteY701" fmla="*/ 4778356 h 5142621"/>
              <a:gd name="connsiteX702" fmla="*/ 3068788 w 6268558"/>
              <a:gd name="connsiteY702" fmla="*/ 4773875 h 5142621"/>
              <a:gd name="connsiteX703" fmla="*/ 3072135 w 6268558"/>
              <a:gd name="connsiteY703" fmla="*/ 4771658 h 5142621"/>
              <a:gd name="connsiteX704" fmla="*/ 3075486 w 6268558"/>
              <a:gd name="connsiteY704" fmla="*/ 4769394 h 5142621"/>
              <a:gd name="connsiteX705" fmla="*/ 3078833 w 6268558"/>
              <a:gd name="connsiteY705" fmla="*/ 4767130 h 5142621"/>
              <a:gd name="connsiteX706" fmla="*/ 3082279 w 6268558"/>
              <a:gd name="connsiteY706" fmla="*/ 4764701 h 5142621"/>
              <a:gd name="connsiteX707" fmla="*/ 3089166 w 6268558"/>
              <a:gd name="connsiteY707" fmla="*/ 4759749 h 5142621"/>
              <a:gd name="connsiteX708" fmla="*/ 3117604 w 6268558"/>
              <a:gd name="connsiteY708" fmla="*/ 4737368 h 5142621"/>
              <a:gd name="connsiteX709" fmla="*/ 3132984 w 6268558"/>
              <a:gd name="connsiteY709" fmla="*/ 4723053 h 5142621"/>
              <a:gd name="connsiteX710" fmla="*/ 3149559 w 6268558"/>
              <a:gd name="connsiteY710" fmla="*/ 4704894 h 5142621"/>
              <a:gd name="connsiteX711" fmla="*/ 3184368 w 6268558"/>
              <a:gd name="connsiteY711" fmla="*/ 4656407 h 5142621"/>
              <a:gd name="connsiteX712" fmla="*/ 3217738 w 6268558"/>
              <a:gd name="connsiteY712" fmla="*/ 4599972 h 5142621"/>
              <a:gd name="connsiteX713" fmla="*/ 3250236 w 6268558"/>
              <a:gd name="connsiteY713" fmla="*/ 4540095 h 5142621"/>
              <a:gd name="connsiteX714" fmla="*/ 3315703 w 6268558"/>
              <a:gd name="connsiteY714" fmla="*/ 4411920 h 5142621"/>
              <a:gd name="connsiteX715" fmla="*/ 3349073 w 6268558"/>
              <a:gd name="connsiteY715" fmla="*/ 4344000 h 5142621"/>
              <a:gd name="connsiteX716" fmla="*/ 3382585 w 6268558"/>
              <a:gd name="connsiteY716" fmla="*/ 4273958 h 5142621"/>
              <a:gd name="connsiteX717" fmla="*/ 3449066 w 6268558"/>
              <a:gd name="connsiteY717" fmla="*/ 4128945 h 5142621"/>
              <a:gd name="connsiteX718" fmla="*/ 3677964 w 6268558"/>
              <a:gd name="connsiteY718" fmla="*/ 3530379 h 5142621"/>
              <a:gd name="connsiteX719" fmla="*/ 3811186 w 6268558"/>
              <a:gd name="connsiteY719" fmla="*/ 2985253 h 5142621"/>
              <a:gd name="connsiteX720" fmla="*/ 3829369 w 6268558"/>
              <a:gd name="connsiteY720" fmla="*/ 2864365 h 5142621"/>
              <a:gd name="connsiteX721" fmla="*/ 3843259 w 6268558"/>
              <a:gd name="connsiteY721" fmla="*/ 2750152 h 5142621"/>
              <a:gd name="connsiteX722" fmla="*/ 3858023 w 6268558"/>
              <a:gd name="connsiteY722" fmla="*/ 2641079 h 5142621"/>
              <a:gd name="connsiteX723" fmla="*/ 3872243 w 6268558"/>
              <a:gd name="connsiteY723" fmla="*/ 2586956 h 5142621"/>
              <a:gd name="connsiteX724" fmla="*/ 3884766 w 6268558"/>
              <a:gd name="connsiteY724" fmla="*/ 2559811 h 5142621"/>
              <a:gd name="connsiteX725" fmla="*/ 3904128 w 6268558"/>
              <a:gd name="connsiteY725" fmla="*/ 2533587 h 5142621"/>
              <a:gd name="connsiteX726" fmla="*/ 3931861 w 6268558"/>
              <a:gd name="connsiteY726" fmla="*/ 2510829 h 5142621"/>
              <a:gd name="connsiteX727" fmla="*/ 3966010 w 6268558"/>
              <a:gd name="connsiteY727" fmla="*/ 2493802 h 5142621"/>
              <a:gd name="connsiteX728" fmla="*/ 4003790 w 6268558"/>
              <a:gd name="connsiteY728" fmla="*/ 2482293 h 5142621"/>
              <a:gd name="connsiteX729" fmla="*/ 4043811 w 6268558"/>
              <a:gd name="connsiteY729" fmla="*/ 2475172 h 5142621"/>
              <a:gd name="connsiteX730" fmla="*/ 4128947 w 6268558"/>
              <a:gd name="connsiteY730" fmla="*/ 2471091 h 5142621"/>
              <a:gd name="connsiteX731" fmla="*/ 4095175 w 6268558"/>
              <a:gd name="connsiteY731" fmla="*/ 2418525 h 5142621"/>
              <a:gd name="connsiteX732" fmla="*/ 4188612 w 6268558"/>
              <a:gd name="connsiteY732" fmla="*/ 2422699 h 5142621"/>
              <a:gd name="connsiteX733" fmla="*/ 4625020 w 6268558"/>
              <a:gd name="connsiteY733" fmla="*/ 2555402 h 5142621"/>
              <a:gd name="connsiteX734" fmla="*/ 5089350 w 6268558"/>
              <a:gd name="connsiteY734" fmla="*/ 2936106 h 5142621"/>
              <a:gd name="connsiteX735" fmla="*/ 5306457 w 6268558"/>
              <a:gd name="connsiteY735" fmla="*/ 3572617 h 5142621"/>
              <a:gd name="connsiteX736" fmla="*/ 5299924 w 6268558"/>
              <a:gd name="connsiteY736" fmla="*/ 3567688 h 5142621"/>
              <a:gd name="connsiteX737" fmla="*/ 5081803 w 6268558"/>
              <a:gd name="connsiteY737" fmla="*/ 2935492 h 5142621"/>
              <a:gd name="connsiteX738" fmla="*/ 4620279 w 6268558"/>
              <a:gd name="connsiteY738" fmla="*/ 2557807 h 5142621"/>
              <a:gd name="connsiteX739" fmla="*/ 4186678 w 6268558"/>
              <a:gd name="connsiteY739" fmla="*/ 2426283 h 5142621"/>
              <a:gd name="connsiteX740" fmla="*/ 4094043 w 6268558"/>
              <a:gd name="connsiteY740" fmla="*/ 2422227 h 5142621"/>
              <a:gd name="connsiteX741" fmla="*/ 4008625 w 6268558"/>
              <a:gd name="connsiteY741" fmla="*/ 2429184 h 5142621"/>
              <a:gd name="connsiteX742" fmla="*/ 3968982 w 6268558"/>
              <a:gd name="connsiteY742" fmla="*/ 2437486 h 5142621"/>
              <a:gd name="connsiteX743" fmla="*/ 3932074 w 6268558"/>
              <a:gd name="connsiteY743" fmla="*/ 2449796 h 5142621"/>
              <a:gd name="connsiteX744" fmla="*/ 3899364 w 6268558"/>
              <a:gd name="connsiteY744" fmla="*/ 2466965 h 5142621"/>
              <a:gd name="connsiteX745" fmla="*/ 3873305 w 6268558"/>
              <a:gd name="connsiteY745" fmla="*/ 2488991 h 5142621"/>
              <a:gd name="connsiteX746" fmla="*/ 3855240 w 6268558"/>
              <a:gd name="connsiteY746" fmla="*/ 2514084 h 5142621"/>
              <a:gd name="connsiteX747" fmla="*/ 3843684 w 6268558"/>
              <a:gd name="connsiteY747" fmla="*/ 2540167 h 5142621"/>
              <a:gd name="connsiteX748" fmla="*/ 3831161 w 6268558"/>
              <a:gd name="connsiteY748" fmla="*/ 2592522 h 5142621"/>
              <a:gd name="connsiteX749" fmla="*/ 3820101 w 6268558"/>
              <a:gd name="connsiteY749" fmla="*/ 2698340 h 5142621"/>
              <a:gd name="connsiteX750" fmla="*/ 3810432 w 6268558"/>
              <a:gd name="connsiteY750" fmla="*/ 2809275 h 5142621"/>
              <a:gd name="connsiteX751" fmla="*/ 3796895 w 6268558"/>
              <a:gd name="connsiteY751" fmla="*/ 2926790 h 5142621"/>
              <a:gd name="connsiteX752" fmla="*/ 3683530 w 6268558"/>
              <a:gd name="connsiteY752" fmla="*/ 3459064 h 5142621"/>
              <a:gd name="connsiteX753" fmla="*/ 3470220 w 6268558"/>
              <a:gd name="connsiteY753" fmla="*/ 4052677 h 5142621"/>
              <a:gd name="connsiteX754" fmla="*/ 3405791 w 6268558"/>
              <a:gd name="connsiteY754" fmla="*/ 4199246 h 5142621"/>
              <a:gd name="connsiteX755" fmla="*/ 3372868 w 6268558"/>
              <a:gd name="connsiteY755" fmla="*/ 4270633 h 5142621"/>
              <a:gd name="connsiteX756" fmla="*/ 3339711 w 6268558"/>
              <a:gd name="connsiteY756" fmla="*/ 4340368 h 5142621"/>
              <a:gd name="connsiteX757" fmla="*/ 3273442 w 6268558"/>
              <a:gd name="connsiteY757" fmla="*/ 4473708 h 5142621"/>
              <a:gd name="connsiteX758" fmla="*/ 3239718 w 6268558"/>
              <a:gd name="connsiteY758" fmla="*/ 4537171 h 5142621"/>
              <a:gd name="connsiteX759" fmla="*/ 3204343 w 6268558"/>
              <a:gd name="connsiteY759" fmla="*/ 4598133 h 5142621"/>
              <a:gd name="connsiteX760" fmla="*/ 3185594 w 6268558"/>
              <a:gd name="connsiteY760" fmla="*/ 4626669 h 5142621"/>
              <a:gd name="connsiteX761" fmla="*/ 3166657 w 6268558"/>
              <a:gd name="connsiteY761" fmla="*/ 4651950 h 5142621"/>
              <a:gd name="connsiteX762" fmla="*/ 3148663 w 6268558"/>
              <a:gd name="connsiteY762" fmla="*/ 4672444 h 5142621"/>
              <a:gd name="connsiteX763" fmla="*/ 3132086 w 6268558"/>
              <a:gd name="connsiteY763" fmla="*/ 4688693 h 5142621"/>
              <a:gd name="connsiteX764" fmla="*/ 3101641 w 6268558"/>
              <a:gd name="connsiteY764" fmla="*/ 4714210 h 5142621"/>
              <a:gd name="connsiteX765" fmla="*/ 3094307 w 6268558"/>
              <a:gd name="connsiteY765" fmla="*/ 4719870 h 5142621"/>
              <a:gd name="connsiteX766" fmla="*/ 3090654 w 6268558"/>
              <a:gd name="connsiteY766" fmla="*/ 4722653 h 5142621"/>
              <a:gd name="connsiteX767" fmla="*/ 3087070 w 6268558"/>
              <a:gd name="connsiteY767" fmla="*/ 4725247 h 5142621"/>
              <a:gd name="connsiteX768" fmla="*/ 3083485 w 6268558"/>
              <a:gd name="connsiteY768" fmla="*/ 4727841 h 5142621"/>
              <a:gd name="connsiteX769" fmla="*/ 3079921 w 6268558"/>
              <a:gd name="connsiteY769" fmla="*/ 4730364 h 5142621"/>
              <a:gd name="connsiteX770" fmla="*/ 3072751 w 6268558"/>
              <a:gd name="connsiteY770" fmla="*/ 4735482 h 5142621"/>
              <a:gd name="connsiteX771" fmla="*/ 2945119 w 6268558"/>
              <a:gd name="connsiteY771" fmla="*/ 4827692 h 5142621"/>
              <a:gd name="connsiteX772" fmla="*/ 2781054 w 6268558"/>
              <a:gd name="connsiteY772" fmla="*/ 4938887 h 5142621"/>
              <a:gd name="connsiteX773" fmla="*/ 2554230 w 6268558"/>
              <a:gd name="connsiteY773" fmla="*/ 5066472 h 5142621"/>
              <a:gd name="connsiteX774" fmla="*/ 2781195 w 6268558"/>
              <a:gd name="connsiteY774" fmla="*/ 4938627 h 5142621"/>
              <a:gd name="connsiteX775" fmla="*/ 2945427 w 6268558"/>
              <a:gd name="connsiteY775" fmla="*/ 4827102 h 5142621"/>
              <a:gd name="connsiteX776" fmla="*/ 3073247 w 6268558"/>
              <a:gd name="connsiteY776" fmla="*/ 4734491 h 5142621"/>
              <a:gd name="connsiteX777" fmla="*/ 3080440 w 6268558"/>
              <a:gd name="connsiteY777" fmla="*/ 4729350 h 5142621"/>
              <a:gd name="connsiteX778" fmla="*/ 3084001 w 6268558"/>
              <a:gd name="connsiteY778" fmla="*/ 4726827 h 5142621"/>
              <a:gd name="connsiteX779" fmla="*/ 3087585 w 6268558"/>
              <a:gd name="connsiteY779" fmla="*/ 4724232 h 5142621"/>
              <a:gd name="connsiteX780" fmla="*/ 3091170 w 6268558"/>
              <a:gd name="connsiteY780" fmla="*/ 4721638 h 5142621"/>
              <a:gd name="connsiteX781" fmla="*/ 3094829 w 6268558"/>
              <a:gd name="connsiteY781" fmla="*/ 4718855 h 5142621"/>
              <a:gd name="connsiteX782" fmla="*/ 3102160 w 6268558"/>
              <a:gd name="connsiteY782" fmla="*/ 4713172 h 5142621"/>
              <a:gd name="connsiteX783" fmla="*/ 3132558 w 6268558"/>
              <a:gd name="connsiteY783" fmla="*/ 4687631 h 5142621"/>
              <a:gd name="connsiteX784" fmla="*/ 3149040 w 6268558"/>
              <a:gd name="connsiteY784" fmla="*/ 4671453 h 5142621"/>
              <a:gd name="connsiteX785" fmla="*/ 3166822 w 6268558"/>
              <a:gd name="connsiteY785" fmla="*/ 4651172 h 5142621"/>
              <a:gd name="connsiteX786" fmla="*/ 3203989 w 6268558"/>
              <a:gd name="connsiteY786" fmla="*/ 4598039 h 5142621"/>
              <a:gd name="connsiteX787" fmla="*/ 3239081 w 6268558"/>
              <a:gd name="connsiteY787" fmla="*/ 4537477 h 5142621"/>
              <a:gd name="connsiteX788" fmla="*/ 3272640 w 6268558"/>
              <a:gd name="connsiteY788" fmla="*/ 4474227 h 5142621"/>
              <a:gd name="connsiteX789" fmla="*/ 3338720 w 6268558"/>
              <a:gd name="connsiteY789" fmla="*/ 4341147 h 5142621"/>
              <a:gd name="connsiteX790" fmla="*/ 3371784 w 6268558"/>
              <a:gd name="connsiteY790" fmla="*/ 4271505 h 5142621"/>
              <a:gd name="connsiteX791" fmla="*/ 3404635 w 6268558"/>
              <a:gd name="connsiteY791" fmla="*/ 4200190 h 5142621"/>
              <a:gd name="connsiteX792" fmla="*/ 3468899 w 6268558"/>
              <a:gd name="connsiteY792" fmla="*/ 4053809 h 5142621"/>
              <a:gd name="connsiteX793" fmla="*/ 3681431 w 6268558"/>
              <a:gd name="connsiteY793" fmla="*/ 3460879 h 5142621"/>
              <a:gd name="connsiteX794" fmla="*/ 3793664 w 6268558"/>
              <a:gd name="connsiteY794" fmla="*/ 2928983 h 5142621"/>
              <a:gd name="connsiteX795" fmla="*/ 3806800 w 6268558"/>
              <a:gd name="connsiteY795" fmla="*/ 2811492 h 5142621"/>
              <a:gd name="connsiteX796" fmla="*/ 3815974 w 6268558"/>
              <a:gd name="connsiteY796" fmla="*/ 2700509 h 5142621"/>
              <a:gd name="connsiteX797" fmla="*/ 3826468 w 6268558"/>
              <a:gd name="connsiteY797" fmla="*/ 2594267 h 5142621"/>
              <a:gd name="connsiteX798" fmla="*/ 3838755 w 6268558"/>
              <a:gd name="connsiteY798" fmla="*/ 2541134 h 5142621"/>
              <a:gd name="connsiteX799" fmla="*/ 3850405 w 6268558"/>
              <a:gd name="connsiteY799" fmla="*/ 2514225 h 5142621"/>
              <a:gd name="connsiteX800" fmla="*/ 3869059 w 6268558"/>
              <a:gd name="connsiteY800" fmla="*/ 2487906 h 5142621"/>
              <a:gd name="connsiteX801" fmla="*/ 3896345 w 6268558"/>
              <a:gd name="connsiteY801" fmla="*/ 2464606 h 5142621"/>
              <a:gd name="connsiteX802" fmla="*/ 3930376 w 6268558"/>
              <a:gd name="connsiteY802" fmla="*/ 2446636 h 5142621"/>
              <a:gd name="connsiteX803" fmla="*/ 3968298 w 6268558"/>
              <a:gd name="connsiteY803" fmla="*/ 2433948 h 5142621"/>
              <a:gd name="connsiteX804" fmla="*/ 4008696 w 6268558"/>
              <a:gd name="connsiteY804" fmla="*/ 2425505 h 5142621"/>
              <a:gd name="connsiteX805" fmla="*/ 4095175 w 6268558"/>
              <a:gd name="connsiteY805" fmla="*/ 2418525 h 5142621"/>
              <a:gd name="connsiteX806" fmla="*/ 4058929 w 6268558"/>
              <a:gd name="connsiteY806" fmla="*/ 2368976 h 5142621"/>
              <a:gd name="connsiteX807" fmla="*/ 4154205 w 6268558"/>
              <a:gd name="connsiteY807" fmla="*/ 2369990 h 5142621"/>
              <a:gd name="connsiteX808" fmla="*/ 4607050 w 6268558"/>
              <a:gd name="connsiteY808" fmla="*/ 2488519 h 5142621"/>
              <a:gd name="connsiteX809" fmla="*/ 5109726 w 6268558"/>
              <a:gd name="connsiteY809" fmla="*/ 2860309 h 5142621"/>
              <a:gd name="connsiteX810" fmla="*/ 5385037 w 6268558"/>
              <a:gd name="connsiteY810" fmla="*/ 3515899 h 5142621"/>
              <a:gd name="connsiteX811" fmla="*/ 5377891 w 6268558"/>
              <a:gd name="connsiteY811" fmla="*/ 3510687 h 5142621"/>
              <a:gd name="connsiteX812" fmla="*/ 5101967 w 6268558"/>
              <a:gd name="connsiteY812" fmla="*/ 2859719 h 5142621"/>
              <a:gd name="connsiteX813" fmla="*/ 4602380 w 6268558"/>
              <a:gd name="connsiteY813" fmla="*/ 2490972 h 5142621"/>
              <a:gd name="connsiteX814" fmla="*/ 4152460 w 6268558"/>
              <a:gd name="connsiteY814" fmla="*/ 2373551 h 5142621"/>
              <a:gd name="connsiteX815" fmla="*/ 4058009 w 6268558"/>
              <a:gd name="connsiteY815" fmla="*/ 2372631 h 5142621"/>
              <a:gd name="connsiteX816" fmla="*/ 3971458 w 6268558"/>
              <a:gd name="connsiteY816" fmla="*/ 2382442 h 5142621"/>
              <a:gd name="connsiteX817" fmla="*/ 3931532 w 6268558"/>
              <a:gd name="connsiteY817" fmla="*/ 2392017 h 5142621"/>
              <a:gd name="connsiteX818" fmla="*/ 3894530 w 6268558"/>
              <a:gd name="connsiteY818" fmla="*/ 2405459 h 5142621"/>
              <a:gd name="connsiteX819" fmla="*/ 3861961 w 6268558"/>
              <a:gd name="connsiteY819" fmla="*/ 2423524 h 5142621"/>
              <a:gd name="connsiteX820" fmla="*/ 3836327 w 6268558"/>
              <a:gd name="connsiteY820" fmla="*/ 2446069 h 5142621"/>
              <a:gd name="connsiteX821" fmla="*/ 3818898 w 6268558"/>
              <a:gd name="connsiteY821" fmla="*/ 2471304 h 5142621"/>
              <a:gd name="connsiteX822" fmla="*/ 3808121 w 6268558"/>
              <a:gd name="connsiteY822" fmla="*/ 2497198 h 5142621"/>
              <a:gd name="connsiteX823" fmla="*/ 3797367 w 6268558"/>
              <a:gd name="connsiteY823" fmla="*/ 2548656 h 5142621"/>
              <a:gd name="connsiteX824" fmla="*/ 3790268 w 6268558"/>
              <a:gd name="connsiteY824" fmla="*/ 2651857 h 5142621"/>
              <a:gd name="connsiteX825" fmla="*/ 3785057 w 6268558"/>
              <a:gd name="connsiteY825" fmla="*/ 2759703 h 5142621"/>
              <a:gd name="connsiteX826" fmla="*/ 3776355 w 6268558"/>
              <a:gd name="connsiteY826" fmla="*/ 2873916 h 5142621"/>
              <a:gd name="connsiteX827" fmla="*/ 3683672 w 6268558"/>
              <a:gd name="connsiteY827" fmla="*/ 3392865 h 5142621"/>
              <a:gd name="connsiteX828" fmla="*/ 3487507 w 6268558"/>
              <a:gd name="connsiteY828" fmla="*/ 3979215 h 5142621"/>
              <a:gd name="connsiteX829" fmla="*/ 3425790 w 6268558"/>
              <a:gd name="connsiteY829" fmla="*/ 4126327 h 5142621"/>
              <a:gd name="connsiteX830" fmla="*/ 3393835 w 6268558"/>
              <a:gd name="connsiteY830" fmla="*/ 4198515 h 5142621"/>
              <a:gd name="connsiteX831" fmla="*/ 3361360 w 6268558"/>
              <a:gd name="connsiteY831" fmla="*/ 4269453 h 5142621"/>
              <a:gd name="connsiteX832" fmla="*/ 3295351 w 6268558"/>
              <a:gd name="connsiteY832" fmla="*/ 4406543 h 5142621"/>
              <a:gd name="connsiteX833" fmla="*/ 3261085 w 6268558"/>
              <a:gd name="connsiteY833" fmla="*/ 4472741 h 5142621"/>
              <a:gd name="connsiteX834" fmla="*/ 3224507 w 6268558"/>
              <a:gd name="connsiteY834" fmla="*/ 4537241 h 5142621"/>
              <a:gd name="connsiteX835" fmla="*/ 3204862 w 6268558"/>
              <a:gd name="connsiteY835" fmla="*/ 4567899 h 5142621"/>
              <a:gd name="connsiteX836" fmla="*/ 3184864 w 6268558"/>
              <a:gd name="connsiteY836" fmla="*/ 4595373 h 5142621"/>
              <a:gd name="connsiteX837" fmla="*/ 3165785 w 6268558"/>
              <a:gd name="connsiteY837" fmla="*/ 4617966 h 5142621"/>
              <a:gd name="connsiteX838" fmla="*/ 3148168 w 6268558"/>
              <a:gd name="connsiteY838" fmla="*/ 4636102 h 5142621"/>
              <a:gd name="connsiteX839" fmla="*/ 3115788 w 6268558"/>
              <a:gd name="connsiteY839" fmla="*/ 4664897 h 5142621"/>
              <a:gd name="connsiteX840" fmla="*/ 3107986 w 6268558"/>
              <a:gd name="connsiteY840" fmla="*/ 4671312 h 5142621"/>
              <a:gd name="connsiteX841" fmla="*/ 3104094 w 6268558"/>
              <a:gd name="connsiteY841" fmla="*/ 4674448 h 5142621"/>
              <a:gd name="connsiteX842" fmla="*/ 3100296 w 6268558"/>
              <a:gd name="connsiteY842" fmla="*/ 4677396 h 5142621"/>
              <a:gd name="connsiteX843" fmla="*/ 3096497 w 6268558"/>
              <a:gd name="connsiteY843" fmla="*/ 4680344 h 5142621"/>
              <a:gd name="connsiteX844" fmla="*/ 3092725 w 6268558"/>
              <a:gd name="connsiteY844" fmla="*/ 4683197 h 5142621"/>
              <a:gd name="connsiteX845" fmla="*/ 3085111 w 6268558"/>
              <a:gd name="connsiteY845" fmla="*/ 4688999 h 5142621"/>
              <a:gd name="connsiteX846" fmla="*/ 2950022 w 6268558"/>
              <a:gd name="connsiteY846" fmla="*/ 4791303 h 5142621"/>
              <a:gd name="connsiteX847" fmla="*/ 2776760 w 6268558"/>
              <a:gd name="connsiteY847" fmla="*/ 4910304 h 5142621"/>
              <a:gd name="connsiteX848" fmla="*/ 2537862 w 6268558"/>
              <a:gd name="connsiteY848" fmla="*/ 5041992 h 5142621"/>
              <a:gd name="connsiteX849" fmla="*/ 2776925 w 6268558"/>
              <a:gd name="connsiteY849" fmla="*/ 4910021 h 5142621"/>
              <a:gd name="connsiteX850" fmla="*/ 2950354 w 6268558"/>
              <a:gd name="connsiteY850" fmla="*/ 4790666 h 5142621"/>
              <a:gd name="connsiteX851" fmla="*/ 3085650 w 6268558"/>
              <a:gd name="connsiteY851" fmla="*/ 4687914 h 5142621"/>
              <a:gd name="connsiteX852" fmla="*/ 3093266 w 6268558"/>
              <a:gd name="connsiteY852" fmla="*/ 4682089 h 5142621"/>
              <a:gd name="connsiteX853" fmla="*/ 3097040 w 6268558"/>
              <a:gd name="connsiteY853" fmla="*/ 4679212 h 5142621"/>
              <a:gd name="connsiteX854" fmla="*/ 3100837 w 6268558"/>
              <a:gd name="connsiteY854" fmla="*/ 4676264 h 5142621"/>
              <a:gd name="connsiteX855" fmla="*/ 3104633 w 6268558"/>
              <a:gd name="connsiteY855" fmla="*/ 4673292 h 5142621"/>
              <a:gd name="connsiteX856" fmla="*/ 3108525 w 6268558"/>
              <a:gd name="connsiteY856" fmla="*/ 4670132 h 5142621"/>
              <a:gd name="connsiteX857" fmla="*/ 3116331 w 6268558"/>
              <a:gd name="connsiteY857" fmla="*/ 4663718 h 5142621"/>
              <a:gd name="connsiteX858" fmla="*/ 3148640 w 6268558"/>
              <a:gd name="connsiteY858" fmla="*/ 4634899 h 5142621"/>
              <a:gd name="connsiteX859" fmla="*/ 3166162 w 6268558"/>
              <a:gd name="connsiteY859" fmla="*/ 4616834 h 5142621"/>
              <a:gd name="connsiteX860" fmla="*/ 3185029 w 6268558"/>
              <a:gd name="connsiteY860" fmla="*/ 4594477 h 5142621"/>
              <a:gd name="connsiteX861" fmla="*/ 3224106 w 6268558"/>
              <a:gd name="connsiteY861" fmla="*/ 4537099 h 5142621"/>
              <a:gd name="connsiteX862" fmla="*/ 3260401 w 6268558"/>
              <a:gd name="connsiteY862" fmla="*/ 4473047 h 5142621"/>
              <a:gd name="connsiteX863" fmla="*/ 3294502 w 6268558"/>
              <a:gd name="connsiteY863" fmla="*/ 4407085 h 5142621"/>
              <a:gd name="connsiteX864" fmla="*/ 3360299 w 6268558"/>
              <a:gd name="connsiteY864" fmla="*/ 4270279 h 5142621"/>
              <a:gd name="connsiteX865" fmla="*/ 3392679 w 6268558"/>
              <a:gd name="connsiteY865" fmla="*/ 4199458 h 5142621"/>
              <a:gd name="connsiteX866" fmla="*/ 3424540 w 6268558"/>
              <a:gd name="connsiteY866" fmla="*/ 4127364 h 5142621"/>
              <a:gd name="connsiteX867" fmla="*/ 3486092 w 6268558"/>
              <a:gd name="connsiteY867" fmla="*/ 3980441 h 5142621"/>
              <a:gd name="connsiteX868" fmla="*/ 3681503 w 6268558"/>
              <a:gd name="connsiteY868" fmla="*/ 3394799 h 5142621"/>
              <a:gd name="connsiteX869" fmla="*/ 3773100 w 6268558"/>
              <a:gd name="connsiteY869" fmla="*/ 2876251 h 5142621"/>
              <a:gd name="connsiteX870" fmla="*/ 3781401 w 6268558"/>
              <a:gd name="connsiteY870" fmla="*/ 2762061 h 5142621"/>
              <a:gd name="connsiteX871" fmla="*/ 3786118 w 6268558"/>
              <a:gd name="connsiteY871" fmla="*/ 2654191 h 5142621"/>
              <a:gd name="connsiteX872" fmla="*/ 3792627 w 6268558"/>
              <a:gd name="connsiteY872" fmla="*/ 2550590 h 5142621"/>
              <a:gd name="connsiteX873" fmla="*/ 3803121 w 6268558"/>
              <a:gd name="connsiteY873" fmla="*/ 2498354 h 5142621"/>
              <a:gd name="connsiteX874" fmla="*/ 3813970 w 6268558"/>
              <a:gd name="connsiteY874" fmla="*/ 2471634 h 5142621"/>
              <a:gd name="connsiteX875" fmla="*/ 3831940 w 6268558"/>
              <a:gd name="connsiteY875" fmla="*/ 2445173 h 5142621"/>
              <a:gd name="connsiteX876" fmla="*/ 3858778 w 6268558"/>
              <a:gd name="connsiteY876" fmla="*/ 2421307 h 5142621"/>
              <a:gd name="connsiteX877" fmla="*/ 3892620 w 6268558"/>
              <a:gd name="connsiteY877" fmla="*/ 2402417 h 5142621"/>
              <a:gd name="connsiteX878" fmla="*/ 3930636 w 6268558"/>
              <a:gd name="connsiteY878" fmla="*/ 2388574 h 5142621"/>
              <a:gd name="connsiteX879" fmla="*/ 3971317 w 6268558"/>
              <a:gd name="connsiteY879" fmla="*/ 2378834 h 5142621"/>
              <a:gd name="connsiteX880" fmla="*/ 4058929 w 6268558"/>
              <a:gd name="connsiteY880" fmla="*/ 2368976 h 5142621"/>
              <a:gd name="connsiteX881" fmla="*/ 4117486 w 6268558"/>
              <a:gd name="connsiteY881" fmla="*/ 2320276 h 5142621"/>
              <a:gd name="connsiteX882" fmla="*/ 4585471 w 6268558"/>
              <a:gd name="connsiteY882" fmla="*/ 2424349 h 5142621"/>
              <a:gd name="connsiteX883" fmla="*/ 5125550 w 6268558"/>
              <a:gd name="connsiteY883" fmla="*/ 2785219 h 5142621"/>
              <a:gd name="connsiteX884" fmla="*/ 5462248 w 6268558"/>
              <a:gd name="connsiteY884" fmla="*/ 3457105 h 5142621"/>
              <a:gd name="connsiteX885" fmla="*/ 5454277 w 6268558"/>
              <a:gd name="connsiteY885" fmla="*/ 3451610 h 5142621"/>
              <a:gd name="connsiteX886" fmla="*/ 5117414 w 6268558"/>
              <a:gd name="connsiteY886" fmla="*/ 2784653 h 5142621"/>
              <a:gd name="connsiteX887" fmla="*/ 4580707 w 6268558"/>
              <a:gd name="connsiteY887" fmla="*/ 2426849 h 5142621"/>
              <a:gd name="connsiteX888" fmla="*/ 4115741 w 6268558"/>
              <a:gd name="connsiteY888" fmla="*/ 2323837 h 5142621"/>
              <a:gd name="connsiteX889" fmla="*/ 4019710 w 6268558"/>
              <a:gd name="connsiteY889" fmla="*/ 2326007 h 5142621"/>
              <a:gd name="connsiteX890" fmla="*/ 3932240 w 6268558"/>
              <a:gd name="connsiteY890" fmla="*/ 2338600 h 5142621"/>
              <a:gd name="connsiteX891" fmla="*/ 3892077 w 6268558"/>
              <a:gd name="connsiteY891" fmla="*/ 2349425 h 5142621"/>
              <a:gd name="connsiteX892" fmla="*/ 3855052 w 6268558"/>
              <a:gd name="connsiteY892" fmla="*/ 2363976 h 5142621"/>
              <a:gd name="connsiteX893" fmla="*/ 3822672 w 6268558"/>
              <a:gd name="connsiteY893" fmla="*/ 2382913 h 5142621"/>
              <a:gd name="connsiteX894" fmla="*/ 3797462 w 6268558"/>
              <a:gd name="connsiteY894" fmla="*/ 2406001 h 5142621"/>
              <a:gd name="connsiteX895" fmla="*/ 3780647 w 6268558"/>
              <a:gd name="connsiteY895" fmla="*/ 2431377 h 5142621"/>
              <a:gd name="connsiteX896" fmla="*/ 3770600 w 6268558"/>
              <a:gd name="connsiteY896" fmla="*/ 2457130 h 5142621"/>
              <a:gd name="connsiteX897" fmla="*/ 3761497 w 6268558"/>
              <a:gd name="connsiteY897" fmla="*/ 2507786 h 5142621"/>
              <a:gd name="connsiteX898" fmla="*/ 3758125 w 6268558"/>
              <a:gd name="connsiteY898" fmla="*/ 2608534 h 5142621"/>
              <a:gd name="connsiteX899" fmla="*/ 3757111 w 6268558"/>
              <a:gd name="connsiteY899" fmla="*/ 2713456 h 5142621"/>
              <a:gd name="connsiteX900" fmla="*/ 3753007 w 6268558"/>
              <a:gd name="connsiteY900" fmla="*/ 2824486 h 5142621"/>
              <a:gd name="connsiteX901" fmla="*/ 3680583 w 6268558"/>
              <a:gd name="connsiteY901" fmla="*/ 3330133 h 5142621"/>
              <a:gd name="connsiteX902" fmla="*/ 3502105 w 6268558"/>
              <a:gd name="connsiteY902" fmla="*/ 3907922 h 5142621"/>
              <a:gd name="connsiteX903" fmla="*/ 3443501 w 6268558"/>
              <a:gd name="connsiteY903" fmla="*/ 4054916 h 5142621"/>
              <a:gd name="connsiteX904" fmla="*/ 3412796 w 6268558"/>
              <a:gd name="connsiteY904" fmla="*/ 4127505 h 5142621"/>
              <a:gd name="connsiteX905" fmla="*/ 3381312 w 6268558"/>
              <a:gd name="connsiteY905" fmla="*/ 4199175 h 5142621"/>
              <a:gd name="connsiteX906" fmla="*/ 3316340 w 6268558"/>
              <a:gd name="connsiteY906" fmla="*/ 4338953 h 5142621"/>
              <a:gd name="connsiteX907" fmla="*/ 3281956 w 6268558"/>
              <a:gd name="connsiteY907" fmla="*/ 4407320 h 5142621"/>
              <a:gd name="connsiteX908" fmla="*/ 3244647 w 6268558"/>
              <a:gd name="connsiteY908" fmla="*/ 4474792 h 5142621"/>
              <a:gd name="connsiteX909" fmla="*/ 3224342 w 6268558"/>
              <a:gd name="connsiteY909" fmla="*/ 4507313 h 5142621"/>
              <a:gd name="connsiteX910" fmla="*/ 3203495 w 6268558"/>
              <a:gd name="connsiteY910" fmla="*/ 4536840 h 5142621"/>
              <a:gd name="connsiteX911" fmla="*/ 3183449 w 6268558"/>
              <a:gd name="connsiteY911" fmla="*/ 4561460 h 5142621"/>
              <a:gd name="connsiteX912" fmla="*/ 3164865 w 6268558"/>
              <a:gd name="connsiteY912" fmla="*/ 4581459 h 5142621"/>
              <a:gd name="connsiteX913" fmla="*/ 3130648 w 6268558"/>
              <a:gd name="connsiteY913" fmla="*/ 4613579 h 5142621"/>
              <a:gd name="connsiteX914" fmla="*/ 3122393 w 6268558"/>
              <a:gd name="connsiteY914" fmla="*/ 4620749 h 5142621"/>
              <a:gd name="connsiteX915" fmla="*/ 3118290 w 6268558"/>
              <a:gd name="connsiteY915" fmla="*/ 4624262 h 5142621"/>
              <a:gd name="connsiteX916" fmla="*/ 3114257 w 6268558"/>
              <a:gd name="connsiteY916" fmla="*/ 4627588 h 5142621"/>
              <a:gd name="connsiteX917" fmla="*/ 3110228 w 6268558"/>
              <a:gd name="connsiteY917" fmla="*/ 4630889 h 5142621"/>
              <a:gd name="connsiteX918" fmla="*/ 3106241 w 6268558"/>
              <a:gd name="connsiteY918" fmla="*/ 4634120 h 5142621"/>
              <a:gd name="connsiteX919" fmla="*/ 3098200 w 6268558"/>
              <a:gd name="connsiteY919" fmla="*/ 4640629 h 5142621"/>
              <a:gd name="connsiteX920" fmla="*/ 2955731 w 6268558"/>
              <a:gd name="connsiteY920" fmla="*/ 4753168 h 5142621"/>
              <a:gd name="connsiteX921" fmla="*/ 2773412 w 6268558"/>
              <a:gd name="connsiteY921" fmla="*/ 4879739 h 5142621"/>
              <a:gd name="connsiteX922" fmla="*/ 2522534 w 6268558"/>
              <a:gd name="connsiteY922" fmla="*/ 5014848 h 5142621"/>
              <a:gd name="connsiteX923" fmla="*/ 2773577 w 6268558"/>
              <a:gd name="connsiteY923" fmla="*/ 4879433 h 5142621"/>
              <a:gd name="connsiteX924" fmla="*/ 2956086 w 6268558"/>
              <a:gd name="connsiteY924" fmla="*/ 4752508 h 5142621"/>
              <a:gd name="connsiteX925" fmla="*/ 3098764 w 6268558"/>
              <a:gd name="connsiteY925" fmla="*/ 4639521 h 5142621"/>
              <a:gd name="connsiteX926" fmla="*/ 3106831 w 6268558"/>
              <a:gd name="connsiteY926" fmla="*/ 4632988 h 5142621"/>
              <a:gd name="connsiteX927" fmla="*/ 3110818 w 6268558"/>
              <a:gd name="connsiteY927" fmla="*/ 4629757 h 5142621"/>
              <a:gd name="connsiteX928" fmla="*/ 3114824 w 6268558"/>
              <a:gd name="connsiteY928" fmla="*/ 4626456 h 5142621"/>
              <a:gd name="connsiteX929" fmla="*/ 3118834 w 6268558"/>
              <a:gd name="connsiteY929" fmla="*/ 4623130 h 5142621"/>
              <a:gd name="connsiteX930" fmla="*/ 3122936 w 6268558"/>
              <a:gd name="connsiteY930" fmla="*/ 4619593 h 5142621"/>
              <a:gd name="connsiteX931" fmla="*/ 3131190 w 6268558"/>
              <a:gd name="connsiteY931" fmla="*/ 4612400 h 5142621"/>
              <a:gd name="connsiteX932" fmla="*/ 3165337 w 6268558"/>
              <a:gd name="connsiteY932" fmla="*/ 4580256 h 5142621"/>
              <a:gd name="connsiteX933" fmla="*/ 3183803 w 6268558"/>
              <a:gd name="connsiteY933" fmla="*/ 4560352 h 5142621"/>
              <a:gd name="connsiteX934" fmla="*/ 3203589 w 6268558"/>
              <a:gd name="connsiteY934" fmla="*/ 4535991 h 5142621"/>
              <a:gd name="connsiteX935" fmla="*/ 3244176 w 6268558"/>
              <a:gd name="connsiteY935" fmla="*/ 4474768 h 5142621"/>
              <a:gd name="connsiteX936" fmla="*/ 3281178 w 6268558"/>
              <a:gd name="connsiteY936" fmla="*/ 4407769 h 5142621"/>
              <a:gd name="connsiteX937" fmla="*/ 3315397 w 6268558"/>
              <a:gd name="connsiteY937" fmla="*/ 4339637 h 5142621"/>
              <a:gd name="connsiteX938" fmla="*/ 3380180 w 6268558"/>
              <a:gd name="connsiteY938" fmla="*/ 4200142 h 5142621"/>
              <a:gd name="connsiteX939" fmla="*/ 3411593 w 6268558"/>
              <a:gd name="connsiteY939" fmla="*/ 4128567 h 5142621"/>
              <a:gd name="connsiteX940" fmla="*/ 3442227 w 6268558"/>
              <a:gd name="connsiteY940" fmla="*/ 4056072 h 5142621"/>
              <a:gd name="connsiteX941" fmla="*/ 3500667 w 6268558"/>
              <a:gd name="connsiteY941" fmla="*/ 3909290 h 5142621"/>
              <a:gd name="connsiteX942" fmla="*/ 3678413 w 6268558"/>
              <a:gd name="connsiteY942" fmla="*/ 3332208 h 5142621"/>
              <a:gd name="connsiteX943" fmla="*/ 3749800 w 6268558"/>
              <a:gd name="connsiteY943" fmla="*/ 2826962 h 5142621"/>
              <a:gd name="connsiteX944" fmla="*/ 3753502 w 6268558"/>
              <a:gd name="connsiteY944" fmla="*/ 2715956 h 5142621"/>
              <a:gd name="connsiteX945" fmla="*/ 3754021 w 6268558"/>
              <a:gd name="connsiteY945" fmla="*/ 2611010 h 5142621"/>
              <a:gd name="connsiteX946" fmla="*/ 3756804 w 6268558"/>
              <a:gd name="connsiteY946" fmla="*/ 2509862 h 5142621"/>
              <a:gd name="connsiteX947" fmla="*/ 3765648 w 6268558"/>
              <a:gd name="connsiteY947" fmla="*/ 2458427 h 5142621"/>
              <a:gd name="connsiteX948" fmla="*/ 3775741 w 6268558"/>
              <a:gd name="connsiteY948" fmla="*/ 2431872 h 5142621"/>
              <a:gd name="connsiteX949" fmla="*/ 3793075 w 6268558"/>
              <a:gd name="connsiteY949" fmla="*/ 2405270 h 5142621"/>
              <a:gd name="connsiteX950" fmla="*/ 3819441 w 6268558"/>
              <a:gd name="connsiteY950" fmla="*/ 2380862 h 5142621"/>
              <a:gd name="connsiteX951" fmla="*/ 3853094 w 6268558"/>
              <a:gd name="connsiteY951" fmla="*/ 2361052 h 5142621"/>
              <a:gd name="connsiteX952" fmla="*/ 3891134 w 6268558"/>
              <a:gd name="connsiteY952" fmla="*/ 2346076 h 5142621"/>
              <a:gd name="connsiteX953" fmla="*/ 3932051 w 6268558"/>
              <a:gd name="connsiteY953" fmla="*/ 2335063 h 5142621"/>
              <a:gd name="connsiteX954" fmla="*/ 4020606 w 6268558"/>
              <a:gd name="connsiteY954" fmla="*/ 2322375 h 5142621"/>
              <a:gd name="connsiteX955" fmla="*/ 4117486 w 6268558"/>
              <a:gd name="connsiteY955" fmla="*/ 2320276 h 5142621"/>
              <a:gd name="connsiteX956" fmla="*/ 4078550 w 6268558"/>
              <a:gd name="connsiteY956" fmla="*/ 2273582 h 5142621"/>
              <a:gd name="connsiteX957" fmla="*/ 4560378 w 6268558"/>
              <a:gd name="connsiteY957" fmla="*/ 2363057 h 5142621"/>
              <a:gd name="connsiteX958" fmla="*/ 5136658 w 6268558"/>
              <a:gd name="connsiteY958" fmla="*/ 2711145 h 5142621"/>
              <a:gd name="connsiteX959" fmla="*/ 5537431 w 6268558"/>
              <a:gd name="connsiteY959" fmla="*/ 3396332 h 5142621"/>
              <a:gd name="connsiteX960" fmla="*/ 5528777 w 6268558"/>
              <a:gd name="connsiteY960" fmla="*/ 3390436 h 5142621"/>
              <a:gd name="connsiteX961" fmla="*/ 5128333 w 6268558"/>
              <a:gd name="connsiteY961" fmla="*/ 2710485 h 5142621"/>
              <a:gd name="connsiteX962" fmla="*/ 4555709 w 6268558"/>
              <a:gd name="connsiteY962" fmla="*/ 2365439 h 5142621"/>
              <a:gd name="connsiteX963" fmla="*/ 4076970 w 6268558"/>
              <a:gd name="connsiteY963" fmla="*/ 2276978 h 5142621"/>
              <a:gd name="connsiteX964" fmla="*/ 3979547 w 6268558"/>
              <a:gd name="connsiteY964" fmla="*/ 2282166 h 5142621"/>
              <a:gd name="connsiteX965" fmla="*/ 3891299 w 6268558"/>
              <a:gd name="connsiteY965" fmla="*/ 2297495 h 5142621"/>
              <a:gd name="connsiteX966" fmla="*/ 3850995 w 6268558"/>
              <a:gd name="connsiteY966" fmla="*/ 2309546 h 5142621"/>
              <a:gd name="connsiteX967" fmla="*/ 3813969 w 6268558"/>
              <a:gd name="connsiteY967" fmla="*/ 2325182 h 5142621"/>
              <a:gd name="connsiteX968" fmla="*/ 3781802 w 6268558"/>
              <a:gd name="connsiteY968" fmla="*/ 2344992 h 5142621"/>
              <a:gd name="connsiteX969" fmla="*/ 3757016 w 6268558"/>
              <a:gd name="connsiteY969" fmla="*/ 2368622 h 5142621"/>
              <a:gd name="connsiteX970" fmla="*/ 3740791 w 6268558"/>
              <a:gd name="connsiteY970" fmla="*/ 2394187 h 5142621"/>
              <a:gd name="connsiteX971" fmla="*/ 3731428 w 6268558"/>
              <a:gd name="connsiteY971" fmla="*/ 2419845 h 5142621"/>
              <a:gd name="connsiteX972" fmla="*/ 3723834 w 6268558"/>
              <a:gd name="connsiteY972" fmla="*/ 2469818 h 5142621"/>
              <a:gd name="connsiteX973" fmla="*/ 3723905 w 6268558"/>
              <a:gd name="connsiteY973" fmla="*/ 2568325 h 5142621"/>
              <a:gd name="connsiteX974" fmla="*/ 3726830 w 6268558"/>
              <a:gd name="connsiteY974" fmla="*/ 2670488 h 5142621"/>
              <a:gd name="connsiteX975" fmla="*/ 3727089 w 6268558"/>
              <a:gd name="connsiteY975" fmla="*/ 2778499 h 5142621"/>
              <a:gd name="connsiteX976" fmla="*/ 3674381 w 6268558"/>
              <a:gd name="connsiteY976" fmla="*/ 3271011 h 5142621"/>
              <a:gd name="connsiteX977" fmla="*/ 3513944 w 6268558"/>
              <a:gd name="connsiteY977" fmla="*/ 3839225 h 5142621"/>
              <a:gd name="connsiteX978" fmla="*/ 3458759 w 6268558"/>
              <a:gd name="connsiteY978" fmla="*/ 3985511 h 5142621"/>
              <a:gd name="connsiteX979" fmla="*/ 3429492 w 6268558"/>
              <a:gd name="connsiteY979" fmla="*/ 4058148 h 5142621"/>
              <a:gd name="connsiteX980" fmla="*/ 3399211 w 6268558"/>
              <a:gd name="connsiteY980" fmla="*/ 4130171 h 5142621"/>
              <a:gd name="connsiteX981" fmla="*/ 3335867 w 6268558"/>
              <a:gd name="connsiteY981" fmla="*/ 4271765 h 5142621"/>
              <a:gd name="connsiteX982" fmla="*/ 3301742 w 6268558"/>
              <a:gd name="connsiteY982" fmla="*/ 4341807 h 5142621"/>
              <a:gd name="connsiteX983" fmla="*/ 3264150 w 6268558"/>
              <a:gd name="connsiteY983" fmla="*/ 4411731 h 5142621"/>
              <a:gd name="connsiteX984" fmla="*/ 3243374 w 6268558"/>
              <a:gd name="connsiteY984" fmla="*/ 4445879 h 5142621"/>
              <a:gd name="connsiteX985" fmla="*/ 3221842 w 6268558"/>
              <a:gd name="connsiteY985" fmla="*/ 4477269 h 5142621"/>
              <a:gd name="connsiteX986" fmla="*/ 3200994 w 6268558"/>
              <a:gd name="connsiteY986" fmla="*/ 4503776 h 5142621"/>
              <a:gd name="connsiteX987" fmla="*/ 3181538 w 6268558"/>
              <a:gd name="connsiteY987" fmla="*/ 4525591 h 5142621"/>
              <a:gd name="connsiteX988" fmla="*/ 3145597 w 6268558"/>
              <a:gd name="connsiteY988" fmla="*/ 4561013 h 5142621"/>
              <a:gd name="connsiteX989" fmla="*/ 3136919 w 6268558"/>
              <a:gd name="connsiteY989" fmla="*/ 4568960 h 5142621"/>
              <a:gd name="connsiteX990" fmla="*/ 3132607 w 6268558"/>
              <a:gd name="connsiteY990" fmla="*/ 4572852 h 5142621"/>
              <a:gd name="connsiteX991" fmla="*/ 3128383 w 6268558"/>
              <a:gd name="connsiteY991" fmla="*/ 4576554 h 5142621"/>
              <a:gd name="connsiteX992" fmla="*/ 3124138 w 6268558"/>
              <a:gd name="connsiteY992" fmla="*/ 4580210 h 5142621"/>
              <a:gd name="connsiteX993" fmla="*/ 3119940 w 6268558"/>
              <a:gd name="connsiteY993" fmla="*/ 4583794 h 5142621"/>
              <a:gd name="connsiteX994" fmla="*/ 3111477 w 6268558"/>
              <a:gd name="connsiteY994" fmla="*/ 4591011 h 5142621"/>
              <a:gd name="connsiteX995" fmla="*/ 2961862 w 6268558"/>
              <a:gd name="connsiteY995" fmla="*/ 4713691 h 5142621"/>
              <a:gd name="connsiteX996" fmla="*/ 2770652 w 6268558"/>
              <a:gd name="connsiteY996" fmla="*/ 4847407 h 5142621"/>
              <a:gd name="connsiteX997" fmla="*/ 2507865 w 6268558"/>
              <a:gd name="connsiteY997" fmla="*/ 4985204 h 5142621"/>
              <a:gd name="connsiteX998" fmla="*/ 2770842 w 6268558"/>
              <a:gd name="connsiteY998" fmla="*/ 4847101 h 5142621"/>
              <a:gd name="connsiteX999" fmla="*/ 2962239 w 6268558"/>
              <a:gd name="connsiteY999" fmla="*/ 4712983 h 5142621"/>
              <a:gd name="connsiteX1000" fmla="*/ 3112067 w 6268558"/>
              <a:gd name="connsiteY1000" fmla="*/ 4589831 h 5142621"/>
              <a:gd name="connsiteX1001" fmla="*/ 3120529 w 6268558"/>
              <a:gd name="connsiteY1001" fmla="*/ 4582592 h 5142621"/>
              <a:gd name="connsiteX1002" fmla="*/ 3124728 w 6268558"/>
              <a:gd name="connsiteY1002" fmla="*/ 4579007 h 5142621"/>
              <a:gd name="connsiteX1003" fmla="*/ 3128949 w 6268558"/>
              <a:gd name="connsiteY1003" fmla="*/ 4575328 h 5142621"/>
              <a:gd name="connsiteX1004" fmla="*/ 3133172 w 6268558"/>
              <a:gd name="connsiteY1004" fmla="*/ 4571625 h 5142621"/>
              <a:gd name="connsiteX1005" fmla="*/ 3137485 w 6268558"/>
              <a:gd name="connsiteY1005" fmla="*/ 4567710 h 5142621"/>
              <a:gd name="connsiteX1006" fmla="*/ 3146163 w 6268558"/>
              <a:gd name="connsiteY1006" fmla="*/ 4559739 h 5142621"/>
              <a:gd name="connsiteX1007" fmla="*/ 3182010 w 6268558"/>
              <a:gd name="connsiteY1007" fmla="*/ 4524317 h 5142621"/>
              <a:gd name="connsiteX1008" fmla="*/ 3201324 w 6268558"/>
              <a:gd name="connsiteY1008" fmla="*/ 4502597 h 5142621"/>
              <a:gd name="connsiteX1009" fmla="*/ 3221913 w 6268558"/>
              <a:gd name="connsiteY1009" fmla="*/ 4476373 h 5142621"/>
              <a:gd name="connsiteX1010" fmla="*/ 3263608 w 6268558"/>
              <a:gd name="connsiteY1010" fmla="*/ 4411731 h 5142621"/>
              <a:gd name="connsiteX1011" fmla="*/ 3300893 w 6268558"/>
              <a:gd name="connsiteY1011" fmla="*/ 4342302 h 5142621"/>
              <a:gd name="connsiteX1012" fmla="*/ 3334853 w 6268558"/>
              <a:gd name="connsiteY1012" fmla="*/ 4272519 h 5142621"/>
              <a:gd name="connsiteX1013" fmla="*/ 3398009 w 6268558"/>
              <a:gd name="connsiteY1013" fmla="*/ 4131232 h 5142621"/>
              <a:gd name="connsiteX1014" fmla="*/ 3428195 w 6268558"/>
              <a:gd name="connsiteY1014" fmla="*/ 4059327 h 5142621"/>
              <a:gd name="connsiteX1015" fmla="*/ 3457391 w 6268558"/>
              <a:gd name="connsiteY1015" fmla="*/ 3986785 h 5142621"/>
              <a:gd name="connsiteX1016" fmla="*/ 3512434 w 6268558"/>
              <a:gd name="connsiteY1016" fmla="*/ 3840710 h 5142621"/>
              <a:gd name="connsiteX1017" fmla="*/ 3672211 w 6268558"/>
              <a:gd name="connsiteY1017" fmla="*/ 3273227 h 5142621"/>
              <a:gd name="connsiteX1018" fmla="*/ 3723905 w 6268558"/>
              <a:gd name="connsiteY1018" fmla="*/ 2781140 h 5142621"/>
              <a:gd name="connsiteX1019" fmla="*/ 3723245 w 6268558"/>
              <a:gd name="connsiteY1019" fmla="*/ 2673176 h 5142621"/>
              <a:gd name="connsiteX1020" fmla="*/ 3719825 w 6268558"/>
              <a:gd name="connsiteY1020" fmla="*/ 2570990 h 5142621"/>
              <a:gd name="connsiteX1021" fmla="*/ 3719141 w 6268558"/>
              <a:gd name="connsiteY1021" fmla="*/ 2472129 h 5142621"/>
              <a:gd name="connsiteX1022" fmla="*/ 3726429 w 6268558"/>
              <a:gd name="connsiteY1022" fmla="*/ 2421425 h 5142621"/>
              <a:gd name="connsiteX1023" fmla="*/ 3735815 w 6268558"/>
              <a:gd name="connsiteY1023" fmla="*/ 2394988 h 5142621"/>
              <a:gd name="connsiteX1024" fmla="*/ 3752535 w 6268558"/>
              <a:gd name="connsiteY1024" fmla="*/ 2368198 h 5142621"/>
              <a:gd name="connsiteX1025" fmla="*/ 3778453 w 6268558"/>
              <a:gd name="connsiteY1025" fmla="*/ 2343200 h 5142621"/>
              <a:gd name="connsiteX1026" fmla="*/ 3811871 w 6268558"/>
              <a:gd name="connsiteY1026" fmla="*/ 2322494 h 5142621"/>
              <a:gd name="connsiteX1027" fmla="*/ 3849910 w 6268558"/>
              <a:gd name="connsiteY1027" fmla="*/ 2306410 h 5142621"/>
              <a:gd name="connsiteX1028" fmla="*/ 3890969 w 6268558"/>
              <a:gd name="connsiteY1028" fmla="*/ 2294146 h 5142621"/>
              <a:gd name="connsiteX1029" fmla="*/ 3980302 w 6268558"/>
              <a:gd name="connsiteY1029" fmla="*/ 2278723 h 5142621"/>
              <a:gd name="connsiteX1030" fmla="*/ 4078550 w 6268558"/>
              <a:gd name="connsiteY1030" fmla="*/ 2273582 h 5142621"/>
              <a:gd name="connsiteX1031" fmla="*/ 4038104 w 6268558"/>
              <a:gd name="connsiteY1031" fmla="*/ 2229411 h 5142621"/>
              <a:gd name="connsiteX1032" fmla="*/ 4532573 w 6268558"/>
              <a:gd name="connsiteY1032" fmla="*/ 2304288 h 5142621"/>
              <a:gd name="connsiteX1033" fmla="*/ 5143685 w 6268558"/>
              <a:gd name="connsiteY1033" fmla="*/ 2637990 h 5142621"/>
              <a:gd name="connsiteX1034" fmla="*/ 5610704 w 6268558"/>
              <a:gd name="connsiteY1034" fmla="*/ 3333341 h 5142621"/>
              <a:gd name="connsiteX1035" fmla="*/ 5600987 w 6268558"/>
              <a:gd name="connsiteY1035" fmla="*/ 3327186 h 5142621"/>
              <a:gd name="connsiteX1036" fmla="*/ 5134842 w 6268558"/>
              <a:gd name="connsiteY1036" fmla="*/ 2637400 h 5142621"/>
              <a:gd name="connsiteX1037" fmla="*/ 4527668 w 6268558"/>
              <a:gd name="connsiteY1037" fmla="*/ 2306717 h 5142621"/>
              <a:gd name="connsiteX1038" fmla="*/ 4036406 w 6268558"/>
              <a:gd name="connsiteY1038" fmla="*/ 2232830 h 5142621"/>
              <a:gd name="connsiteX1039" fmla="*/ 3937828 w 6268558"/>
              <a:gd name="connsiteY1039" fmla="*/ 2240990 h 5142621"/>
              <a:gd name="connsiteX1040" fmla="*/ 3848990 w 6268558"/>
              <a:gd name="connsiteY1040" fmla="*/ 2258961 h 5142621"/>
              <a:gd name="connsiteX1041" fmla="*/ 3808592 w 6268558"/>
              <a:gd name="connsiteY1041" fmla="*/ 2272191 h 5142621"/>
              <a:gd name="connsiteX1042" fmla="*/ 3771637 w 6268558"/>
              <a:gd name="connsiteY1042" fmla="*/ 2288888 h 5142621"/>
              <a:gd name="connsiteX1043" fmla="*/ 3739705 w 6268558"/>
              <a:gd name="connsiteY1043" fmla="*/ 2309547 h 5142621"/>
              <a:gd name="connsiteX1044" fmla="*/ 3715344 w 6268558"/>
              <a:gd name="connsiteY1044" fmla="*/ 2333719 h 5142621"/>
              <a:gd name="connsiteX1045" fmla="*/ 3699685 w 6268558"/>
              <a:gd name="connsiteY1045" fmla="*/ 2359472 h 5142621"/>
              <a:gd name="connsiteX1046" fmla="*/ 3690959 w 6268558"/>
              <a:gd name="connsiteY1046" fmla="*/ 2385060 h 5142621"/>
              <a:gd name="connsiteX1047" fmla="*/ 3684756 w 6268558"/>
              <a:gd name="connsiteY1047" fmla="*/ 2434420 h 5142621"/>
              <a:gd name="connsiteX1048" fmla="*/ 3687987 w 6268558"/>
              <a:gd name="connsiteY1048" fmla="*/ 2530875 h 5142621"/>
              <a:gd name="connsiteX1049" fmla="*/ 3694567 w 6268558"/>
              <a:gd name="connsiteY1049" fmla="*/ 2630491 h 5142621"/>
              <a:gd name="connsiteX1050" fmla="*/ 3698953 w 6268558"/>
              <a:gd name="connsiteY1050" fmla="*/ 2735625 h 5142621"/>
              <a:gd name="connsiteX1051" fmla="*/ 3665347 w 6268558"/>
              <a:gd name="connsiteY1051" fmla="*/ 3215213 h 5142621"/>
              <a:gd name="connsiteX1052" fmla="*/ 3523093 w 6268558"/>
              <a:gd name="connsiteY1052" fmla="*/ 3773098 h 5142621"/>
              <a:gd name="connsiteX1053" fmla="*/ 3471541 w 6268558"/>
              <a:gd name="connsiteY1053" fmla="*/ 3918229 h 5142621"/>
              <a:gd name="connsiteX1054" fmla="*/ 3443854 w 6268558"/>
              <a:gd name="connsiteY1054" fmla="*/ 3990629 h 5142621"/>
              <a:gd name="connsiteX1055" fmla="*/ 3414988 w 6268558"/>
              <a:gd name="connsiteY1055" fmla="*/ 4062699 h 5142621"/>
              <a:gd name="connsiteX1056" fmla="*/ 3353742 w 6268558"/>
              <a:gd name="connsiteY1056" fmla="*/ 4205331 h 5142621"/>
              <a:gd name="connsiteX1057" fmla="*/ 3320207 w 6268558"/>
              <a:gd name="connsiteY1057" fmla="*/ 4276599 h 5142621"/>
              <a:gd name="connsiteX1058" fmla="*/ 3282662 w 6268558"/>
              <a:gd name="connsiteY1058" fmla="*/ 4348528 h 5142621"/>
              <a:gd name="connsiteX1059" fmla="*/ 3261626 w 6268558"/>
              <a:gd name="connsiteY1059" fmla="*/ 4384092 h 5142621"/>
              <a:gd name="connsiteX1060" fmla="*/ 3239599 w 6268558"/>
              <a:gd name="connsiteY1060" fmla="*/ 4417155 h 5142621"/>
              <a:gd name="connsiteX1061" fmla="*/ 3218068 w 6268558"/>
              <a:gd name="connsiteY1061" fmla="*/ 4445455 h 5142621"/>
              <a:gd name="connsiteX1062" fmla="*/ 3197857 w 6268558"/>
              <a:gd name="connsiteY1062" fmla="*/ 4469015 h 5142621"/>
              <a:gd name="connsiteX1063" fmla="*/ 3160360 w 6268558"/>
              <a:gd name="connsiteY1063" fmla="*/ 4507668 h 5142621"/>
              <a:gd name="connsiteX1064" fmla="*/ 3151280 w 6268558"/>
              <a:gd name="connsiteY1064" fmla="*/ 4516370 h 5142621"/>
              <a:gd name="connsiteX1065" fmla="*/ 3146752 w 6268558"/>
              <a:gd name="connsiteY1065" fmla="*/ 4520639 h 5142621"/>
              <a:gd name="connsiteX1066" fmla="*/ 3142319 w 6268558"/>
              <a:gd name="connsiteY1066" fmla="*/ 4524695 h 5142621"/>
              <a:gd name="connsiteX1067" fmla="*/ 3137885 w 6268558"/>
              <a:gd name="connsiteY1067" fmla="*/ 4528727 h 5142621"/>
              <a:gd name="connsiteX1068" fmla="*/ 3133500 w 6268558"/>
              <a:gd name="connsiteY1068" fmla="*/ 4532666 h 5142621"/>
              <a:gd name="connsiteX1069" fmla="*/ 3124634 w 6268558"/>
              <a:gd name="connsiteY1069" fmla="*/ 4540590 h 5142621"/>
              <a:gd name="connsiteX1070" fmla="*/ 2968183 w 6268558"/>
              <a:gd name="connsiteY1070" fmla="*/ 4673151 h 5142621"/>
              <a:gd name="connsiteX1071" fmla="*/ 2768341 w 6268558"/>
              <a:gd name="connsiteY1071" fmla="*/ 4813542 h 5142621"/>
              <a:gd name="connsiteX1072" fmla="*/ 2493620 w 6268558"/>
              <a:gd name="connsiteY1072" fmla="*/ 4953249 h 5142621"/>
              <a:gd name="connsiteX1073" fmla="*/ 2768529 w 6268558"/>
              <a:gd name="connsiteY1073" fmla="*/ 4813212 h 5142621"/>
              <a:gd name="connsiteX1074" fmla="*/ 2968559 w 6268558"/>
              <a:gd name="connsiteY1074" fmla="*/ 4672420 h 5142621"/>
              <a:gd name="connsiteX1075" fmla="*/ 3125225 w 6268558"/>
              <a:gd name="connsiteY1075" fmla="*/ 4539364 h 5142621"/>
              <a:gd name="connsiteX1076" fmla="*/ 3134089 w 6268558"/>
              <a:gd name="connsiteY1076" fmla="*/ 4531416 h 5142621"/>
              <a:gd name="connsiteX1077" fmla="*/ 3138498 w 6268558"/>
              <a:gd name="connsiteY1077" fmla="*/ 4527454 h 5142621"/>
              <a:gd name="connsiteX1078" fmla="*/ 3142908 w 6268558"/>
              <a:gd name="connsiteY1078" fmla="*/ 4523421 h 5142621"/>
              <a:gd name="connsiteX1079" fmla="*/ 3147318 w 6268558"/>
              <a:gd name="connsiteY1079" fmla="*/ 4519365 h 5142621"/>
              <a:gd name="connsiteX1080" fmla="*/ 3151846 w 6268558"/>
              <a:gd name="connsiteY1080" fmla="*/ 4515073 h 5142621"/>
              <a:gd name="connsiteX1081" fmla="*/ 3160926 w 6268558"/>
              <a:gd name="connsiteY1081" fmla="*/ 4506347 h 5142621"/>
              <a:gd name="connsiteX1082" fmla="*/ 3198352 w 6268558"/>
              <a:gd name="connsiteY1082" fmla="*/ 4467694 h 5142621"/>
              <a:gd name="connsiteX1083" fmla="*/ 3218422 w 6268558"/>
              <a:gd name="connsiteY1083" fmla="*/ 4444253 h 5142621"/>
              <a:gd name="connsiteX1084" fmla="*/ 3239694 w 6268558"/>
              <a:gd name="connsiteY1084" fmla="*/ 4416259 h 5142621"/>
              <a:gd name="connsiteX1085" fmla="*/ 3282144 w 6268558"/>
              <a:gd name="connsiteY1085" fmla="*/ 4348552 h 5142621"/>
              <a:gd name="connsiteX1086" fmla="*/ 3319382 w 6268558"/>
              <a:gd name="connsiteY1086" fmla="*/ 4277142 h 5142621"/>
              <a:gd name="connsiteX1087" fmla="*/ 3352752 w 6268558"/>
              <a:gd name="connsiteY1087" fmla="*/ 4206156 h 5142621"/>
              <a:gd name="connsiteX1088" fmla="*/ 3413785 w 6268558"/>
              <a:gd name="connsiteY1088" fmla="*/ 4063831 h 5142621"/>
              <a:gd name="connsiteX1089" fmla="*/ 3442580 w 6268558"/>
              <a:gd name="connsiteY1089" fmla="*/ 3991879 h 5142621"/>
              <a:gd name="connsiteX1090" fmla="*/ 3470196 w 6268558"/>
              <a:gd name="connsiteY1090" fmla="*/ 3919597 h 5142621"/>
              <a:gd name="connsiteX1091" fmla="*/ 3521608 w 6268558"/>
              <a:gd name="connsiteY1091" fmla="*/ 3774678 h 5142621"/>
              <a:gd name="connsiteX1092" fmla="*/ 3663225 w 6268558"/>
              <a:gd name="connsiteY1092" fmla="*/ 3217548 h 5142621"/>
              <a:gd name="connsiteX1093" fmla="*/ 3695864 w 6268558"/>
              <a:gd name="connsiteY1093" fmla="*/ 2738384 h 5142621"/>
              <a:gd name="connsiteX1094" fmla="*/ 3691100 w 6268558"/>
              <a:gd name="connsiteY1094" fmla="*/ 2633297 h 5142621"/>
              <a:gd name="connsiteX1095" fmla="*/ 3684025 w 6268558"/>
              <a:gd name="connsiteY1095" fmla="*/ 2533681 h 5142621"/>
              <a:gd name="connsiteX1096" fmla="*/ 3680158 w 6268558"/>
              <a:gd name="connsiteY1096" fmla="*/ 2436873 h 5142621"/>
              <a:gd name="connsiteX1097" fmla="*/ 3686030 w 6268558"/>
              <a:gd name="connsiteY1097" fmla="*/ 2386782 h 5142621"/>
              <a:gd name="connsiteX1098" fmla="*/ 3694756 w 6268558"/>
              <a:gd name="connsiteY1098" fmla="*/ 2360416 h 5142621"/>
              <a:gd name="connsiteX1099" fmla="*/ 3710887 w 6268558"/>
              <a:gd name="connsiteY1099" fmla="*/ 2333413 h 5142621"/>
              <a:gd name="connsiteX1100" fmla="*/ 3736380 w 6268558"/>
              <a:gd name="connsiteY1100" fmla="*/ 2307849 h 5142621"/>
              <a:gd name="connsiteX1101" fmla="*/ 3769562 w 6268558"/>
              <a:gd name="connsiteY1101" fmla="*/ 2286246 h 5142621"/>
              <a:gd name="connsiteX1102" fmla="*/ 3807531 w 6268558"/>
              <a:gd name="connsiteY1102" fmla="*/ 2269078 h 5142621"/>
              <a:gd name="connsiteX1103" fmla="*/ 3848707 w 6268558"/>
              <a:gd name="connsiteY1103" fmla="*/ 2255612 h 5142621"/>
              <a:gd name="connsiteX1104" fmla="*/ 3938653 w 6268558"/>
              <a:gd name="connsiteY1104" fmla="*/ 2237500 h 5142621"/>
              <a:gd name="connsiteX1105" fmla="*/ 4038104 w 6268558"/>
              <a:gd name="connsiteY1105" fmla="*/ 2229411 h 5142621"/>
              <a:gd name="connsiteX1106" fmla="*/ 4106506 w 6268558"/>
              <a:gd name="connsiteY1106" fmla="*/ 2186316 h 5142621"/>
              <a:gd name="connsiteX1107" fmla="*/ 4501892 w 6268558"/>
              <a:gd name="connsiteY1107" fmla="*/ 2248183 h 5142621"/>
              <a:gd name="connsiteX1108" fmla="*/ 5146304 w 6268558"/>
              <a:gd name="connsiteY1108" fmla="*/ 2566132 h 5142621"/>
              <a:gd name="connsiteX1109" fmla="*/ 5681242 w 6268558"/>
              <a:gd name="connsiteY1109" fmla="*/ 3268346 h 5142621"/>
              <a:gd name="connsiteX1110" fmla="*/ 5670630 w 6268558"/>
              <a:gd name="connsiteY1110" fmla="*/ 3261884 h 5142621"/>
              <a:gd name="connsiteX1111" fmla="*/ 5137177 w 6268558"/>
              <a:gd name="connsiteY1111" fmla="*/ 2565542 h 5142621"/>
              <a:gd name="connsiteX1112" fmla="*/ 4496963 w 6268558"/>
              <a:gd name="connsiteY1112" fmla="*/ 2250588 h 5142621"/>
              <a:gd name="connsiteX1113" fmla="*/ 3994311 w 6268558"/>
              <a:gd name="connsiteY1113" fmla="*/ 2191159 h 5142621"/>
              <a:gd name="connsiteX1114" fmla="*/ 3894719 w 6268558"/>
              <a:gd name="connsiteY1114" fmla="*/ 2202195 h 5142621"/>
              <a:gd name="connsiteX1115" fmla="*/ 3805409 w 6268558"/>
              <a:gd name="connsiteY1115" fmla="*/ 2222760 h 5142621"/>
              <a:gd name="connsiteX1116" fmla="*/ 3764964 w 6268558"/>
              <a:gd name="connsiteY1116" fmla="*/ 2237146 h 5142621"/>
              <a:gd name="connsiteX1117" fmla="*/ 3728103 w 6268558"/>
              <a:gd name="connsiteY1117" fmla="*/ 2254880 h 5142621"/>
              <a:gd name="connsiteX1118" fmla="*/ 3696431 w 6268558"/>
              <a:gd name="connsiteY1118" fmla="*/ 2276388 h 5142621"/>
              <a:gd name="connsiteX1119" fmla="*/ 3672470 w 6268558"/>
              <a:gd name="connsiteY1119" fmla="*/ 2301127 h 5142621"/>
              <a:gd name="connsiteX1120" fmla="*/ 3657330 w 6268558"/>
              <a:gd name="connsiteY1120" fmla="*/ 2327116 h 5142621"/>
              <a:gd name="connsiteX1121" fmla="*/ 3649194 w 6268558"/>
              <a:gd name="connsiteY1121" fmla="*/ 2352680 h 5142621"/>
              <a:gd name="connsiteX1122" fmla="*/ 3644289 w 6268558"/>
              <a:gd name="connsiteY1122" fmla="*/ 2401544 h 5142621"/>
              <a:gd name="connsiteX1123" fmla="*/ 3650420 w 6268558"/>
              <a:gd name="connsiteY1123" fmla="*/ 2496184 h 5142621"/>
              <a:gd name="connsiteX1124" fmla="*/ 3660419 w 6268558"/>
              <a:gd name="connsiteY1124" fmla="*/ 2593441 h 5142621"/>
              <a:gd name="connsiteX1125" fmla="*/ 3668674 w 6268558"/>
              <a:gd name="connsiteY1125" fmla="*/ 2695887 h 5142621"/>
              <a:gd name="connsiteX1126" fmla="*/ 3653486 w 6268558"/>
              <a:gd name="connsiteY1126" fmla="*/ 3162905 h 5142621"/>
              <a:gd name="connsiteX1127" fmla="*/ 3529485 w 6268558"/>
              <a:gd name="connsiteY1127" fmla="*/ 3709847 h 5142621"/>
              <a:gd name="connsiteX1128" fmla="*/ 3481729 w 6268558"/>
              <a:gd name="connsiteY1128" fmla="*/ 3853422 h 5142621"/>
              <a:gd name="connsiteX1129" fmla="*/ 3455741 w 6268558"/>
              <a:gd name="connsiteY1129" fmla="*/ 3925327 h 5142621"/>
              <a:gd name="connsiteX1130" fmla="*/ 3428431 w 6268558"/>
              <a:gd name="connsiteY1130" fmla="*/ 3997138 h 5142621"/>
              <a:gd name="connsiteX1131" fmla="*/ 3369709 w 6268558"/>
              <a:gd name="connsiteY1131" fmla="*/ 4140147 h 5142621"/>
              <a:gd name="connsiteX1132" fmla="*/ 3337023 w 6268558"/>
              <a:gd name="connsiteY1132" fmla="*/ 4212240 h 5142621"/>
              <a:gd name="connsiteX1133" fmla="*/ 3299856 w 6268558"/>
              <a:gd name="connsiteY1133" fmla="*/ 4285749 h 5142621"/>
              <a:gd name="connsiteX1134" fmla="*/ 3278725 w 6268558"/>
              <a:gd name="connsiteY1134" fmla="*/ 4322516 h 5142621"/>
              <a:gd name="connsiteX1135" fmla="*/ 3256345 w 6268558"/>
              <a:gd name="connsiteY1135" fmla="*/ 4357089 h 5142621"/>
              <a:gd name="connsiteX1136" fmla="*/ 3234272 w 6268558"/>
              <a:gd name="connsiteY1136" fmla="*/ 4387039 h 5142621"/>
              <a:gd name="connsiteX1137" fmla="*/ 3213424 w 6268558"/>
              <a:gd name="connsiteY1137" fmla="*/ 4412250 h 5142621"/>
              <a:gd name="connsiteX1138" fmla="*/ 3174512 w 6268558"/>
              <a:gd name="connsiteY1138" fmla="*/ 4454016 h 5142621"/>
              <a:gd name="connsiteX1139" fmla="*/ 3165078 w 6268558"/>
              <a:gd name="connsiteY1139" fmla="*/ 4463449 h 5142621"/>
              <a:gd name="connsiteX1140" fmla="*/ 3160385 w 6268558"/>
              <a:gd name="connsiteY1140" fmla="*/ 4468095 h 5142621"/>
              <a:gd name="connsiteX1141" fmla="*/ 3155763 w 6268558"/>
              <a:gd name="connsiteY1141" fmla="*/ 4472505 h 5142621"/>
              <a:gd name="connsiteX1142" fmla="*/ 3151141 w 6268558"/>
              <a:gd name="connsiteY1142" fmla="*/ 4476891 h 5142621"/>
              <a:gd name="connsiteX1143" fmla="*/ 3146565 w 6268558"/>
              <a:gd name="connsiteY1143" fmla="*/ 4481160 h 5142621"/>
              <a:gd name="connsiteX1144" fmla="*/ 3137344 w 6268558"/>
              <a:gd name="connsiteY1144" fmla="*/ 4489768 h 5142621"/>
              <a:gd name="connsiteX1145" fmla="*/ 2974457 w 6268558"/>
              <a:gd name="connsiteY1145" fmla="*/ 4631810 h 5142621"/>
              <a:gd name="connsiteX1146" fmla="*/ 2766221 w 6268558"/>
              <a:gd name="connsiteY1146" fmla="*/ 4778309 h 5142621"/>
              <a:gd name="connsiteX1147" fmla="*/ 2479473 w 6268558"/>
              <a:gd name="connsiteY1147" fmla="*/ 4919101 h 5142621"/>
              <a:gd name="connsiteX1148" fmla="*/ 2766434 w 6268558"/>
              <a:gd name="connsiteY1148" fmla="*/ 4777978 h 5142621"/>
              <a:gd name="connsiteX1149" fmla="*/ 2974858 w 6268558"/>
              <a:gd name="connsiteY1149" fmla="*/ 4631078 h 5142621"/>
              <a:gd name="connsiteX1150" fmla="*/ 3137957 w 6268558"/>
              <a:gd name="connsiteY1150" fmla="*/ 4488518 h 5142621"/>
              <a:gd name="connsiteX1151" fmla="*/ 3147202 w 6268558"/>
              <a:gd name="connsiteY1151" fmla="*/ 4479886 h 5142621"/>
              <a:gd name="connsiteX1152" fmla="*/ 3151777 w 6268558"/>
              <a:gd name="connsiteY1152" fmla="*/ 4475594 h 5142621"/>
              <a:gd name="connsiteX1153" fmla="*/ 3156376 w 6268558"/>
              <a:gd name="connsiteY1153" fmla="*/ 4471208 h 5142621"/>
              <a:gd name="connsiteX1154" fmla="*/ 3160975 w 6268558"/>
              <a:gd name="connsiteY1154" fmla="*/ 4466798 h 5142621"/>
              <a:gd name="connsiteX1155" fmla="*/ 3165668 w 6268558"/>
              <a:gd name="connsiteY1155" fmla="*/ 4462152 h 5142621"/>
              <a:gd name="connsiteX1156" fmla="*/ 3175101 w 6268558"/>
              <a:gd name="connsiteY1156" fmla="*/ 4452695 h 5142621"/>
              <a:gd name="connsiteX1157" fmla="*/ 3213919 w 6268558"/>
              <a:gd name="connsiteY1157" fmla="*/ 4410953 h 5142621"/>
              <a:gd name="connsiteX1158" fmla="*/ 3234625 w 6268558"/>
              <a:gd name="connsiteY1158" fmla="*/ 4385884 h 5142621"/>
              <a:gd name="connsiteX1159" fmla="*/ 3256415 w 6268558"/>
              <a:gd name="connsiteY1159" fmla="*/ 4356263 h 5142621"/>
              <a:gd name="connsiteX1160" fmla="*/ 3299290 w 6268558"/>
              <a:gd name="connsiteY1160" fmla="*/ 4285891 h 5142621"/>
              <a:gd name="connsiteX1161" fmla="*/ 3336150 w 6268558"/>
              <a:gd name="connsiteY1161" fmla="*/ 4212924 h 5142621"/>
              <a:gd name="connsiteX1162" fmla="*/ 3368695 w 6268558"/>
              <a:gd name="connsiteY1162" fmla="*/ 4141113 h 5142621"/>
              <a:gd name="connsiteX1163" fmla="*/ 3427229 w 6268558"/>
              <a:gd name="connsiteY1163" fmla="*/ 3998411 h 5142621"/>
              <a:gd name="connsiteX1164" fmla="*/ 3454467 w 6268558"/>
              <a:gd name="connsiteY1164" fmla="*/ 3926719 h 5142621"/>
              <a:gd name="connsiteX1165" fmla="*/ 3480385 w 6268558"/>
              <a:gd name="connsiteY1165" fmla="*/ 3854907 h 5142621"/>
              <a:gd name="connsiteX1166" fmla="*/ 3528000 w 6268558"/>
              <a:gd name="connsiteY1166" fmla="*/ 3711545 h 5142621"/>
              <a:gd name="connsiteX1167" fmla="*/ 3651411 w 6268558"/>
              <a:gd name="connsiteY1167" fmla="*/ 3165358 h 5142621"/>
              <a:gd name="connsiteX1168" fmla="*/ 3665655 w 6268558"/>
              <a:gd name="connsiteY1168" fmla="*/ 2698787 h 5142621"/>
              <a:gd name="connsiteX1169" fmla="*/ 3657023 w 6268558"/>
              <a:gd name="connsiteY1169" fmla="*/ 2596389 h 5142621"/>
              <a:gd name="connsiteX1170" fmla="*/ 3646552 w 6268558"/>
              <a:gd name="connsiteY1170" fmla="*/ 2499132 h 5142621"/>
              <a:gd name="connsiteX1171" fmla="*/ 3639761 w 6268558"/>
              <a:gd name="connsiteY1171" fmla="*/ 2404162 h 5142621"/>
              <a:gd name="connsiteX1172" fmla="*/ 3644336 w 6268558"/>
              <a:gd name="connsiteY1172" fmla="*/ 2354590 h 5142621"/>
              <a:gd name="connsiteX1173" fmla="*/ 3652448 w 6268558"/>
              <a:gd name="connsiteY1173" fmla="*/ 2328248 h 5142621"/>
              <a:gd name="connsiteX1174" fmla="*/ 3668013 w 6268558"/>
              <a:gd name="connsiteY1174" fmla="*/ 2301009 h 5142621"/>
              <a:gd name="connsiteX1175" fmla="*/ 3693059 w 6268558"/>
              <a:gd name="connsiteY1175" fmla="*/ 2274855 h 5142621"/>
              <a:gd name="connsiteX1176" fmla="*/ 3725981 w 6268558"/>
              <a:gd name="connsiteY1176" fmla="*/ 2252381 h 5142621"/>
              <a:gd name="connsiteX1177" fmla="*/ 3763855 w 6268558"/>
              <a:gd name="connsiteY1177" fmla="*/ 2234151 h 5142621"/>
              <a:gd name="connsiteX1178" fmla="*/ 3805079 w 6268558"/>
              <a:gd name="connsiteY1178" fmla="*/ 2219506 h 5142621"/>
              <a:gd name="connsiteX1179" fmla="*/ 3895497 w 6268558"/>
              <a:gd name="connsiteY1179" fmla="*/ 2198799 h 5142621"/>
              <a:gd name="connsiteX1180" fmla="*/ 3995962 w 6268558"/>
              <a:gd name="connsiteY1180" fmla="*/ 2187810 h 5142621"/>
              <a:gd name="connsiteX1181" fmla="*/ 4106506 w 6268558"/>
              <a:gd name="connsiteY1181" fmla="*/ 2186316 h 5142621"/>
              <a:gd name="connsiteX1182" fmla="*/ 4064551 w 6268558"/>
              <a:gd name="connsiteY1182" fmla="*/ 2143850 h 5142621"/>
              <a:gd name="connsiteX1183" fmla="*/ 4468898 w 6268558"/>
              <a:gd name="connsiteY1183" fmla="*/ 2194484 h 5142621"/>
              <a:gd name="connsiteX1184" fmla="*/ 5144959 w 6268558"/>
              <a:gd name="connsiteY1184" fmla="*/ 2495500 h 5142621"/>
              <a:gd name="connsiteX1185" fmla="*/ 5748878 w 6268558"/>
              <a:gd name="connsiteY1185" fmla="*/ 3201228 h 5142621"/>
              <a:gd name="connsiteX1186" fmla="*/ 5737346 w 6268558"/>
              <a:gd name="connsiteY1186" fmla="*/ 3194625 h 5142621"/>
              <a:gd name="connsiteX1187" fmla="*/ 5135526 w 6268558"/>
              <a:gd name="connsiteY1187" fmla="*/ 2495052 h 5142621"/>
              <a:gd name="connsiteX1188" fmla="*/ 4463946 w 6268558"/>
              <a:gd name="connsiteY1188" fmla="*/ 2196960 h 5142621"/>
              <a:gd name="connsiteX1189" fmla="*/ 3951035 w 6268558"/>
              <a:gd name="connsiteY1189" fmla="*/ 2151798 h 5142621"/>
              <a:gd name="connsiteX1190" fmla="*/ 3850617 w 6268558"/>
              <a:gd name="connsiteY1190" fmla="*/ 2165618 h 5142621"/>
              <a:gd name="connsiteX1191" fmla="*/ 3760930 w 6268558"/>
              <a:gd name="connsiteY1191" fmla="*/ 2188682 h 5142621"/>
              <a:gd name="connsiteX1192" fmla="*/ 3720485 w 6268558"/>
              <a:gd name="connsiteY1192" fmla="*/ 2204200 h 5142621"/>
              <a:gd name="connsiteX1193" fmla="*/ 3683742 w 6268558"/>
              <a:gd name="connsiteY1193" fmla="*/ 2222949 h 5142621"/>
              <a:gd name="connsiteX1194" fmla="*/ 3652306 w 6268558"/>
              <a:gd name="connsiteY1194" fmla="*/ 2245306 h 5142621"/>
              <a:gd name="connsiteX1195" fmla="*/ 3628723 w 6268558"/>
              <a:gd name="connsiteY1195" fmla="*/ 2270611 h 5142621"/>
              <a:gd name="connsiteX1196" fmla="*/ 3614077 w 6268558"/>
              <a:gd name="connsiteY1196" fmla="*/ 2296859 h 5142621"/>
              <a:gd name="connsiteX1197" fmla="*/ 3606484 w 6268558"/>
              <a:gd name="connsiteY1197" fmla="*/ 2322423 h 5142621"/>
              <a:gd name="connsiteX1198" fmla="*/ 3602734 w 6268558"/>
              <a:gd name="connsiteY1198" fmla="*/ 2370886 h 5142621"/>
              <a:gd name="connsiteX1199" fmla="*/ 3611531 w 6268558"/>
              <a:gd name="connsiteY1199" fmla="*/ 2463899 h 5142621"/>
              <a:gd name="connsiteX1200" fmla="*/ 3624666 w 6268558"/>
              <a:gd name="connsiteY1200" fmla="*/ 2559010 h 5142621"/>
              <a:gd name="connsiteX1201" fmla="*/ 3636529 w 6268558"/>
              <a:gd name="connsiteY1201" fmla="*/ 2658955 h 5142621"/>
              <a:gd name="connsiteX1202" fmla="*/ 3639052 w 6268558"/>
              <a:gd name="connsiteY1202" fmla="*/ 3113805 h 5142621"/>
              <a:gd name="connsiteX1203" fmla="*/ 3533211 w 6268558"/>
              <a:gd name="connsiteY1203" fmla="*/ 3649427 h 5142621"/>
              <a:gd name="connsiteX1204" fmla="*/ 3489369 w 6268558"/>
              <a:gd name="connsiteY1204" fmla="*/ 3791162 h 5142621"/>
              <a:gd name="connsiteX1205" fmla="*/ 3465197 w 6268558"/>
              <a:gd name="connsiteY1205" fmla="*/ 3862407 h 5142621"/>
              <a:gd name="connsiteX1206" fmla="*/ 3439538 w 6268558"/>
              <a:gd name="connsiteY1206" fmla="*/ 3933746 h 5142621"/>
              <a:gd name="connsiteX1207" fmla="*/ 3383646 w 6268558"/>
              <a:gd name="connsiteY1207" fmla="*/ 4076566 h 5142621"/>
              <a:gd name="connsiteX1208" fmla="*/ 3351997 w 6268558"/>
              <a:gd name="connsiteY1208" fmla="*/ 4149155 h 5142621"/>
              <a:gd name="connsiteX1209" fmla="*/ 3315467 w 6268558"/>
              <a:gd name="connsiteY1209" fmla="*/ 4223867 h 5142621"/>
              <a:gd name="connsiteX1210" fmla="*/ 3294383 w 6268558"/>
              <a:gd name="connsiteY1210" fmla="*/ 4261671 h 5142621"/>
              <a:gd name="connsiteX1211" fmla="*/ 3271814 w 6268558"/>
              <a:gd name="connsiteY1211" fmla="*/ 4297588 h 5142621"/>
              <a:gd name="connsiteX1212" fmla="*/ 3249339 w 6268558"/>
              <a:gd name="connsiteY1212" fmla="*/ 4329072 h 5142621"/>
              <a:gd name="connsiteX1213" fmla="*/ 3227949 w 6268558"/>
              <a:gd name="connsiteY1213" fmla="*/ 4355839 h 5142621"/>
              <a:gd name="connsiteX1214" fmla="*/ 3187787 w 6268558"/>
              <a:gd name="connsiteY1214" fmla="*/ 4400553 h 5142621"/>
              <a:gd name="connsiteX1215" fmla="*/ 3178024 w 6268558"/>
              <a:gd name="connsiteY1215" fmla="*/ 4410693 h 5142621"/>
              <a:gd name="connsiteX1216" fmla="*/ 3173166 w 6268558"/>
              <a:gd name="connsiteY1216" fmla="*/ 4415669 h 5142621"/>
              <a:gd name="connsiteX1217" fmla="*/ 3168378 w 6268558"/>
              <a:gd name="connsiteY1217" fmla="*/ 4420410 h 5142621"/>
              <a:gd name="connsiteX1218" fmla="*/ 3163591 w 6268558"/>
              <a:gd name="connsiteY1218" fmla="*/ 4425126 h 5142621"/>
              <a:gd name="connsiteX1219" fmla="*/ 3158850 w 6268558"/>
              <a:gd name="connsiteY1219" fmla="*/ 4429749 h 5142621"/>
              <a:gd name="connsiteX1220" fmla="*/ 3149276 w 6268558"/>
              <a:gd name="connsiteY1220" fmla="*/ 4439017 h 5142621"/>
              <a:gd name="connsiteX1221" fmla="*/ 2980350 w 6268558"/>
              <a:gd name="connsiteY1221" fmla="*/ 4590044 h 5142621"/>
              <a:gd name="connsiteX1222" fmla="*/ 2764001 w 6268558"/>
              <a:gd name="connsiteY1222" fmla="*/ 4741990 h 5142621"/>
              <a:gd name="connsiteX1223" fmla="*/ 2464989 w 6268558"/>
              <a:gd name="connsiteY1223" fmla="*/ 4883018 h 5142621"/>
              <a:gd name="connsiteX1224" fmla="*/ 2764213 w 6268558"/>
              <a:gd name="connsiteY1224" fmla="*/ 4741660 h 5142621"/>
              <a:gd name="connsiteX1225" fmla="*/ 2980750 w 6268558"/>
              <a:gd name="connsiteY1225" fmla="*/ 4589289 h 5142621"/>
              <a:gd name="connsiteX1226" fmla="*/ 3149889 w 6268558"/>
              <a:gd name="connsiteY1226" fmla="*/ 4437743 h 5142621"/>
              <a:gd name="connsiteX1227" fmla="*/ 3159464 w 6268558"/>
              <a:gd name="connsiteY1227" fmla="*/ 4428452 h 5142621"/>
              <a:gd name="connsiteX1228" fmla="*/ 3164228 w 6268558"/>
              <a:gd name="connsiteY1228" fmla="*/ 4423829 h 5142621"/>
              <a:gd name="connsiteX1229" fmla="*/ 3168991 w 6268558"/>
              <a:gd name="connsiteY1229" fmla="*/ 4419113 h 5142621"/>
              <a:gd name="connsiteX1230" fmla="*/ 3173755 w 6268558"/>
              <a:gd name="connsiteY1230" fmla="*/ 4414372 h 5142621"/>
              <a:gd name="connsiteX1231" fmla="*/ 3178613 w 6268558"/>
              <a:gd name="connsiteY1231" fmla="*/ 4409373 h 5142621"/>
              <a:gd name="connsiteX1232" fmla="*/ 3188377 w 6268558"/>
              <a:gd name="connsiteY1232" fmla="*/ 4399208 h 5142621"/>
              <a:gd name="connsiteX1233" fmla="*/ 3228421 w 6268558"/>
              <a:gd name="connsiteY1233" fmla="*/ 4354518 h 5142621"/>
              <a:gd name="connsiteX1234" fmla="*/ 3249646 w 6268558"/>
              <a:gd name="connsiteY1234" fmla="*/ 4327916 h 5142621"/>
              <a:gd name="connsiteX1235" fmla="*/ 3271838 w 6268558"/>
              <a:gd name="connsiteY1235" fmla="*/ 4296786 h 5142621"/>
              <a:gd name="connsiteX1236" fmla="*/ 3314854 w 6268558"/>
              <a:gd name="connsiteY1236" fmla="*/ 4224079 h 5142621"/>
              <a:gd name="connsiteX1237" fmla="*/ 3351077 w 6268558"/>
              <a:gd name="connsiteY1237" fmla="*/ 4149910 h 5142621"/>
              <a:gd name="connsiteX1238" fmla="*/ 3382561 w 6268558"/>
              <a:gd name="connsiteY1238" fmla="*/ 4077604 h 5142621"/>
              <a:gd name="connsiteX1239" fmla="*/ 3438288 w 6268558"/>
              <a:gd name="connsiteY1239" fmla="*/ 3935091 h 5142621"/>
              <a:gd name="connsiteX1240" fmla="*/ 3463876 w 6268558"/>
              <a:gd name="connsiteY1240" fmla="*/ 3863869 h 5142621"/>
              <a:gd name="connsiteX1241" fmla="*/ 3488002 w 6268558"/>
              <a:gd name="connsiteY1241" fmla="*/ 3792742 h 5142621"/>
              <a:gd name="connsiteX1242" fmla="*/ 3531701 w 6268558"/>
              <a:gd name="connsiteY1242" fmla="*/ 3651219 h 5142621"/>
              <a:gd name="connsiteX1243" fmla="*/ 3636977 w 6268558"/>
              <a:gd name="connsiteY1243" fmla="*/ 3116352 h 5142621"/>
              <a:gd name="connsiteX1244" fmla="*/ 3633534 w 6268558"/>
              <a:gd name="connsiteY1244" fmla="*/ 2661950 h 5142621"/>
              <a:gd name="connsiteX1245" fmla="*/ 3621270 w 6268558"/>
              <a:gd name="connsiteY1245" fmla="*/ 2562076 h 5142621"/>
              <a:gd name="connsiteX1246" fmla="*/ 3607639 w 6268558"/>
              <a:gd name="connsiteY1246" fmla="*/ 2466964 h 5142621"/>
              <a:gd name="connsiteX1247" fmla="*/ 3598182 w 6268558"/>
              <a:gd name="connsiteY1247" fmla="*/ 2373622 h 5142621"/>
              <a:gd name="connsiteX1248" fmla="*/ 3601555 w 6268558"/>
              <a:gd name="connsiteY1248" fmla="*/ 2324451 h 5142621"/>
              <a:gd name="connsiteX1249" fmla="*/ 3609125 w 6268558"/>
              <a:gd name="connsiteY1249" fmla="*/ 2298109 h 5142621"/>
              <a:gd name="connsiteX1250" fmla="*/ 3624195 w 6268558"/>
              <a:gd name="connsiteY1250" fmla="*/ 2270587 h 5142621"/>
              <a:gd name="connsiteX1251" fmla="*/ 3648839 w 6268558"/>
              <a:gd name="connsiteY1251" fmla="*/ 2243844 h 5142621"/>
              <a:gd name="connsiteX1252" fmla="*/ 3681502 w 6268558"/>
              <a:gd name="connsiteY1252" fmla="*/ 2220496 h 5142621"/>
              <a:gd name="connsiteX1253" fmla="*/ 3719259 w 6268558"/>
              <a:gd name="connsiteY1253" fmla="*/ 2201229 h 5142621"/>
              <a:gd name="connsiteX1254" fmla="*/ 3760482 w 6268558"/>
              <a:gd name="connsiteY1254" fmla="*/ 2185452 h 5142621"/>
              <a:gd name="connsiteX1255" fmla="*/ 3851278 w 6268558"/>
              <a:gd name="connsiteY1255" fmla="*/ 2162222 h 5142621"/>
              <a:gd name="connsiteX1256" fmla="*/ 3952591 w 6268558"/>
              <a:gd name="connsiteY1256" fmla="*/ 2148426 h 5142621"/>
              <a:gd name="connsiteX1257" fmla="*/ 4064551 w 6268558"/>
              <a:gd name="connsiteY1257" fmla="*/ 2143850 h 5142621"/>
              <a:gd name="connsiteX1258" fmla="*/ 4021442 w 6268558"/>
              <a:gd name="connsiteY1258" fmla="*/ 2103727 h 5142621"/>
              <a:gd name="connsiteX1259" fmla="*/ 4433878 w 6268558"/>
              <a:gd name="connsiteY1259" fmla="*/ 2143308 h 5142621"/>
              <a:gd name="connsiteX1260" fmla="*/ 5139866 w 6268558"/>
              <a:gd name="connsiteY1260" fmla="*/ 2426496 h 5142621"/>
              <a:gd name="connsiteX1261" fmla="*/ 5813332 w 6268558"/>
              <a:gd name="connsiteY1261" fmla="*/ 3132365 h 5142621"/>
              <a:gd name="connsiteX1262" fmla="*/ 5800809 w 6268558"/>
              <a:gd name="connsiteY1262" fmla="*/ 3125455 h 5142621"/>
              <a:gd name="connsiteX1263" fmla="*/ 5130102 w 6268558"/>
              <a:gd name="connsiteY1263" fmla="*/ 2426024 h 5142621"/>
              <a:gd name="connsiteX1264" fmla="*/ 4428855 w 6268558"/>
              <a:gd name="connsiteY1264" fmla="*/ 2145737 h 5142621"/>
              <a:gd name="connsiteX1265" fmla="*/ 3906699 w 6268558"/>
              <a:gd name="connsiteY1265" fmla="*/ 2114584 h 5142621"/>
              <a:gd name="connsiteX1266" fmla="*/ 3805574 w 6268558"/>
              <a:gd name="connsiteY1266" fmla="*/ 2131092 h 5142621"/>
              <a:gd name="connsiteX1267" fmla="*/ 3715628 w 6268558"/>
              <a:gd name="connsiteY1267" fmla="*/ 2156586 h 5142621"/>
              <a:gd name="connsiteX1268" fmla="*/ 3675206 w 6268558"/>
              <a:gd name="connsiteY1268" fmla="*/ 2173212 h 5142621"/>
              <a:gd name="connsiteX1269" fmla="*/ 3638605 w 6268558"/>
              <a:gd name="connsiteY1269" fmla="*/ 2192951 h 5142621"/>
              <a:gd name="connsiteX1270" fmla="*/ 3607428 w 6268558"/>
              <a:gd name="connsiteY1270" fmla="*/ 2216133 h 5142621"/>
              <a:gd name="connsiteX1271" fmla="*/ 3584222 w 6268558"/>
              <a:gd name="connsiteY1271" fmla="*/ 2242028 h 5142621"/>
              <a:gd name="connsiteX1272" fmla="*/ 3570025 w 6268558"/>
              <a:gd name="connsiteY1272" fmla="*/ 2268582 h 5142621"/>
              <a:gd name="connsiteX1273" fmla="*/ 3562926 w 6268558"/>
              <a:gd name="connsiteY1273" fmla="*/ 2294217 h 5142621"/>
              <a:gd name="connsiteX1274" fmla="*/ 3560214 w 6268558"/>
              <a:gd name="connsiteY1274" fmla="*/ 2342374 h 5142621"/>
              <a:gd name="connsiteX1275" fmla="*/ 3571416 w 6268558"/>
              <a:gd name="connsiteY1275" fmla="*/ 2433995 h 5142621"/>
              <a:gd name="connsiteX1276" fmla="*/ 3587429 w 6268558"/>
              <a:gd name="connsiteY1276" fmla="*/ 2527172 h 5142621"/>
              <a:gd name="connsiteX1277" fmla="*/ 3602664 w 6268558"/>
              <a:gd name="connsiteY1277" fmla="*/ 2624807 h 5142621"/>
              <a:gd name="connsiteX1278" fmla="*/ 3622120 w 6268558"/>
              <a:gd name="connsiteY1278" fmla="*/ 3067983 h 5142621"/>
              <a:gd name="connsiteX1279" fmla="*/ 3534296 w 6268558"/>
              <a:gd name="connsiteY1279" fmla="*/ 3592026 h 5142621"/>
              <a:gd name="connsiteX1280" fmla="*/ 3494441 w 6268558"/>
              <a:gd name="connsiteY1280" fmla="*/ 3731662 h 5142621"/>
              <a:gd name="connsiteX1281" fmla="*/ 3472107 w 6268558"/>
              <a:gd name="connsiteY1281" fmla="*/ 3802057 h 5142621"/>
              <a:gd name="connsiteX1282" fmla="*/ 3448194 w 6268558"/>
              <a:gd name="connsiteY1282" fmla="*/ 3872737 h 5142621"/>
              <a:gd name="connsiteX1283" fmla="*/ 3395368 w 6268558"/>
              <a:gd name="connsiteY1283" fmla="*/ 4014920 h 5142621"/>
              <a:gd name="connsiteX1284" fmla="*/ 3364945 w 6268558"/>
              <a:gd name="connsiteY1284" fmla="*/ 4087721 h 5142621"/>
              <a:gd name="connsiteX1285" fmla="*/ 3329264 w 6268558"/>
              <a:gd name="connsiteY1285" fmla="*/ 4163329 h 5142621"/>
              <a:gd name="connsiteX1286" fmla="*/ 3308345 w 6268558"/>
              <a:gd name="connsiteY1286" fmla="*/ 4201982 h 5142621"/>
              <a:gd name="connsiteX1287" fmla="*/ 3285706 w 6268558"/>
              <a:gd name="connsiteY1287" fmla="*/ 4239078 h 5142621"/>
              <a:gd name="connsiteX1288" fmla="*/ 3262924 w 6268558"/>
              <a:gd name="connsiteY1288" fmla="*/ 4271930 h 5142621"/>
              <a:gd name="connsiteX1289" fmla="*/ 3241086 w 6268558"/>
              <a:gd name="connsiteY1289" fmla="*/ 4300135 h 5142621"/>
              <a:gd name="connsiteX1290" fmla="*/ 3199863 w 6268558"/>
              <a:gd name="connsiteY1290" fmla="*/ 4347632 h 5142621"/>
              <a:gd name="connsiteX1291" fmla="*/ 3189816 w 6268558"/>
              <a:gd name="connsiteY1291" fmla="*/ 4358457 h 5142621"/>
              <a:gd name="connsiteX1292" fmla="*/ 3184793 w 6268558"/>
              <a:gd name="connsiteY1292" fmla="*/ 4363763 h 5142621"/>
              <a:gd name="connsiteX1293" fmla="*/ 3179864 w 6268558"/>
              <a:gd name="connsiteY1293" fmla="*/ 4368833 h 5142621"/>
              <a:gd name="connsiteX1294" fmla="*/ 3174935 w 6268558"/>
              <a:gd name="connsiteY1294" fmla="*/ 4373880 h 5142621"/>
              <a:gd name="connsiteX1295" fmla="*/ 3170030 w 6268558"/>
              <a:gd name="connsiteY1295" fmla="*/ 4378809 h 5142621"/>
              <a:gd name="connsiteX1296" fmla="*/ 3160149 w 6268558"/>
              <a:gd name="connsiteY1296" fmla="*/ 4388690 h 5142621"/>
              <a:gd name="connsiteX1297" fmla="*/ 2985635 w 6268558"/>
              <a:gd name="connsiteY1297" fmla="*/ 4548113 h 5142621"/>
              <a:gd name="connsiteX1298" fmla="*/ 2761430 w 6268558"/>
              <a:gd name="connsiteY1298" fmla="*/ 4704847 h 5142621"/>
              <a:gd name="connsiteX1299" fmla="*/ 2449825 w 6268558"/>
              <a:gd name="connsiteY1299" fmla="*/ 4845214 h 5142621"/>
              <a:gd name="connsiteX1300" fmla="*/ 2761642 w 6268558"/>
              <a:gd name="connsiteY1300" fmla="*/ 4704493 h 5142621"/>
              <a:gd name="connsiteX1301" fmla="*/ 2986037 w 6268558"/>
              <a:gd name="connsiteY1301" fmla="*/ 4547334 h 5142621"/>
              <a:gd name="connsiteX1302" fmla="*/ 3160738 w 6268558"/>
              <a:gd name="connsiteY1302" fmla="*/ 4387393 h 5142621"/>
              <a:gd name="connsiteX1303" fmla="*/ 3170619 w 6268558"/>
              <a:gd name="connsiteY1303" fmla="*/ 4377465 h 5142621"/>
              <a:gd name="connsiteX1304" fmla="*/ 3175525 w 6268558"/>
              <a:gd name="connsiteY1304" fmla="*/ 4372512 h 5142621"/>
              <a:gd name="connsiteX1305" fmla="*/ 3180454 w 6268558"/>
              <a:gd name="connsiteY1305" fmla="*/ 4367489 h 5142621"/>
              <a:gd name="connsiteX1306" fmla="*/ 3185382 w 6268558"/>
              <a:gd name="connsiteY1306" fmla="*/ 4362419 h 5142621"/>
              <a:gd name="connsiteX1307" fmla="*/ 3190382 w 6268558"/>
              <a:gd name="connsiteY1307" fmla="*/ 4357089 h 5142621"/>
              <a:gd name="connsiteX1308" fmla="*/ 3200429 w 6268558"/>
              <a:gd name="connsiteY1308" fmla="*/ 4346264 h 5142621"/>
              <a:gd name="connsiteX1309" fmla="*/ 3241558 w 6268558"/>
              <a:gd name="connsiteY1309" fmla="*/ 4298815 h 5142621"/>
              <a:gd name="connsiteX1310" fmla="*/ 3263231 w 6268558"/>
              <a:gd name="connsiteY1310" fmla="*/ 4270798 h 5142621"/>
              <a:gd name="connsiteX1311" fmla="*/ 3285729 w 6268558"/>
              <a:gd name="connsiteY1311" fmla="*/ 4238324 h 5142621"/>
              <a:gd name="connsiteX1312" fmla="*/ 3328627 w 6268558"/>
              <a:gd name="connsiteY1312" fmla="*/ 4163636 h 5142621"/>
              <a:gd name="connsiteX1313" fmla="*/ 3364025 w 6268558"/>
              <a:gd name="connsiteY1313" fmla="*/ 4088594 h 5142621"/>
              <a:gd name="connsiteX1314" fmla="*/ 3394306 w 6268558"/>
              <a:gd name="connsiteY1314" fmla="*/ 4016075 h 5142621"/>
              <a:gd name="connsiteX1315" fmla="*/ 3446968 w 6268558"/>
              <a:gd name="connsiteY1315" fmla="*/ 3874222 h 5142621"/>
              <a:gd name="connsiteX1316" fmla="*/ 3470810 w 6268558"/>
              <a:gd name="connsiteY1316" fmla="*/ 3803661 h 5142621"/>
              <a:gd name="connsiteX1317" fmla="*/ 3493073 w 6268558"/>
              <a:gd name="connsiteY1317" fmla="*/ 3733383 h 5142621"/>
              <a:gd name="connsiteX1318" fmla="*/ 3532787 w 6268558"/>
              <a:gd name="connsiteY1318" fmla="*/ 3593983 h 5142621"/>
              <a:gd name="connsiteX1319" fmla="*/ 3620116 w 6268558"/>
              <a:gd name="connsiteY1319" fmla="*/ 3070718 h 5142621"/>
              <a:gd name="connsiteX1320" fmla="*/ 3599763 w 6268558"/>
              <a:gd name="connsiteY1320" fmla="*/ 2628038 h 5142621"/>
              <a:gd name="connsiteX1321" fmla="*/ 3584151 w 6268558"/>
              <a:gd name="connsiteY1321" fmla="*/ 2530474 h 5142621"/>
              <a:gd name="connsiteX1322" fmla="*/ 3567643 w 6268558"/>
              <a:gd name="connsiteY1322" fmla="*/ 2437297 h 5142621"/>
              <a:gd name="connsiteX1323" fmla="*/ 3555757 w 6268558"/>
              <a:gd name="connsiteY1323" fmla="*/ 2345369 h 5142621"/>
              <a:gd name="connsiteX1324" fmla="*/ 3558068 w 6268558"/>
              <a:gd name="connsiteY1324" fmla="*/ 2296505 h 5142621"/>
              <a:gd name="connsiteX1325" fmla="*/ 3565120 w 6268558"/>
              <a:gd name="connsiteY1325" fmla="*/ 2270092 h 5142621"/>
              <a:gd name="connsiteX1326" fmla="*/ 3579718 w 6268558"/>
              <a:gd name="connsiteY1326" fmla="*/ 2242263 h 5142621"/>
              <a:gd name="connsiteX1327" fmla="*/ 3603961 w 6268558"/>
              <a:gd name="connsiteY1327" fmla="*/ 2214907 h 5142621"/>
              <a:gd name="connsiteX1328" fmla="*/ 3636365 w 6268558"/>
              <a:gd name="connsiteY1328" fmla="*/ 2190687 h 5142621"/>
              <a:gd name="connsiteX1329" fmla="*/ 3673980 w 6268558"/>
              <a:gd name="connsiteY1329" fmla="*/ 2170405 h 5142621"/>
              <a:gd name="connsiteX1330" fmla="*/ 3715180 w 6268558"/>
              <a:gd name="connsiteY1330" fmla="*/ 2153496 h 5142621"/>
              <a:gd name="connsiteX1331" fmla="*/ 3806234 w 6268558"/>
              <a:gd name="connsiteY1331" fmla="*/ 2127814 h 5142621"/>
              <a:gd name="connsiteX1332" fmla="*/ 3908255 w 6268558"/>
              <a:gd name="connsiteY1332" fmla="*/ 2111306 h 5142621"/>
              <a:gd name="connsiteX1333" fmla="*/ 4021442 w 6268558"/>
              <a:gd name="connsiteY1333" fmla="*/ 2103727 h 5142621"/>
              <a:gd name="connsiteX1334" fmla="*/ 4104217 w 6268558"/>
              <a:gd name="connsiteY1334" fmla="*/ 2063971 h 5142621"/>
              <a:gd name="connsiteX1335" fmla="*/ 4397135 w 6268558"/>
              <a:gd name="connsiteY1335" fmla="*/ 2094302 h 5142621"/>
              <a:gd name="connsiteX1336" fmla="*/ 5131234 w 6268558"/>
              <a:gd name="connsiteY1336" fmla="*/ 2358929 h 5142621"/>
              <a:gd name="connsiteX1337" fmla="*/ 5874271 w 6268558"/>
              <a:gd name="connsiteY1337" fmla="*/ 3061544 h 5142621"/>
              <a:gd name="connsiteX1338" fmla="*/ 5860781 w 6268558"/>
              <a:gd name="connsiteY1338" fmla="*/ 3054540 h 5142621"/>
              <a:gd name="connsiteX1339" fmla="*/ 5121211 w 6268558"/>
              <a:gd name="connsiteY1339" fmla="*/ 2358576 h 5142621"/>
              <a:gd name="connsiteX1340" fmla="*/ 4392112 w 6268558"/>
              <a:gd name="connsiteY1340" fmla="*/ 2096778 h 5142621"/>
              <a:gd name="connsiteX1341" fmla="*/ 3861655 w 6268558"/>
              <a:gd name="connsiteY1341" fmla="*/ 2079280 h 5142621"/>
              <a:gd name="connsiteX1342" fmla="*/ 3759940 w 6268558"/>
              <a:gd name="connsiteY1342" fmla="*/ 2098406 h 5142621"/>
              <a:gd name="connsiteX1343" fmla="*/ 3669829 w 6268558"/>
              <a:gd name="connsiteY1343" fmla="*/ 2126234 h 5142621"/>
              <a:gd name="connsiteX1344" fmla="*/ 3629454 w 6268558"/>
              <a:gd name="connsiteY1344" fmla="*/ 2143921 h 5142621"/>
              <a:gd name="connsiteX1345" fmla="*/ 3592995 w 6268558"/>
              <a:gd name="connsiteY1345" fmla="*/ 2164627 h 5142621"/>
              <a:gd name="connsiteX1346" fmla="*/ 3562077 w 6268558"/>
              <a:gd name="connsiteY1346" fmla="*/ 2188635 h 5142621"/>
              <a:gd name="connsiteX1347" fmla="*/ 3539225 w 6268558"/>
              <a:gd name="connsiteY1347" fmla="*/ 2215142 h 5142621"/>
              <a:gd name="connsiteX1348" fmla="*/ 3525429 w 6268558"/>
              <a:gd name="connsiteY1348" fmla="*/ 2242027 h 5142621"/>
              <a:gd name="connsiteX1349" fmla="*/ 3518755 w 6268558"/>
              <a:gd name="connsiteY1349" fmla="*/ 2267757 h 5142621"/>
              <a:gd name="connsiteX1350" fmla="*/ 3516986 w 6268558"/>
              <a:gd name="connsiteY1350" fmla="*/ 2315725 h 5142621"/>
              <a:gd name="connsiteX1351" fmla="*/ 3530358 w 6268558"/>
              <a:gd name="connsiteY1351" fmla="*/ 2406190 h 5142621"/>
              <a:gd name="connsiteX1352" fmla="*/ 3549012 w 6268558"/>
              <a:gd name="connsiteY1352" fmla="*/ 2497669 h 5142621"/>
              <a:gd name="connsiteX1353" fmla="*/ 3567360 w 6268558"/>
              <a:gd name="connsiteY1353" fmla="*/ 2593181 h 5142621"/>
              <a:gd name="connsiteX1354" fmla="*/ 3602947 w 6268558"/>
              <a:gd name="connsiteY1354" fmla="*/ 3025203 h 5142621"/>
              <a:gd name="connsiteX1355" fmla="*/ 3532881 w 6268558"/>
              <a:gd name="connsiteY1355" fmla="*/ 3537524 h 5142621"/>
              <a:gd name="connsiteX1356" fmla="*/ 3497058 w 6268558"/>
              <a:gd name="connsiteY1356" fmla="*/ 3674873 h 5142621"/>
              <a:gd name="connsiteX1357" fmla="*/ 3476635 w 6268558"/>
              <a:gd name="connsiteY1357" fmla="*/ 3744302 h 5142621"/>
              <a:gd name="connsiteX1358" fmla="*/ 3454537 w 6268558"/>
              <a:gd name="connsiteY1358" fmla="*/ 3814179 h 5142621"/>
              <a:gd name="connsiteX1359" fmla="*/ 3404942 w 6268558"/>
              <a:gd name="connsiteY1359" fmla="*/ 3955325 h 5142621"/>
              <a:gd name="connsiteX1360" fmla="*/ 3375887 w 6268558"/>
              <a:gd name="connsiteY1360" fmla="*/ 4028103 h 5142621"/>
              <a:gd name="connsiteX1361" fmla="*/ 3341220 w 6268558"/>
              <a:gd name="connsiteY1361" fmla="*/ 4104300 h 5142621"/>
              <a:gd name="connsiteX1362" fmla="*/ 3320585 w 6268558"/>
              <a:gd name="connsiteY1362" fmla="*/ 4143660 h 5142621"/>
              <a:gd name="connsiteX1363" fmla="*/ 3297992 w 6268558"/>
              <a:gd name="connsiteY1363" fmla="*/ 4181771 h 5142621"/>
              <a:gd name="connsiteX1364" fmla="*/ 3275046 w 6268558"/>
              <a:gd name="connsiteY1364" fmla="*/ 4215872 h 5142621"/>
              <a:gd name="connsiteX1365" fmla="*/ 3252877 w 6268558"/>
              <a:gd name="connsiteY1365" fmla="*/ 4245398 h 5142621"/>
              <a:gd name="connsiteX1366" fmla="*/ 3210734 w 6268558"/>
              <a:gd name="connsiteY1366" fmla="*/ 4295489 h 5142621"/>
              <a:gd name="connsiteX1367" fmla="*/ 3200428 w 6268558"/>
              <a:gd name="connsiteY1367" fmla="*/ 4306927 h 5142621"/>
              <a:gd name="connsiteX1368" fmla="*/ 3195287 w 6268558"/>
              <a:gd name="connsiteY1368" fmla="*/ 4312540 h 5142621"/>
              <a:gd name="connsiteX1369" fmla="*/ 3190217 w 6268558"/>
              <a:gd name="connsiteY1369" fmla="*/ 4317917 h 5142621"/>
              <a:gd name="connsiteX1370" fmla="*/ 3185146 w 6268558"/>
              <a:gd name="connsiteY1370" fmla="*/ 4323246 h 5142621"/>
              <a:gd name="connsiteX1371" fmla="*/ 3180100 w 6268558"/>
              <a:gd name="connsiteY1371" fmla="*/ 4328482 h 5142621"/>
              <a:gd name="connsiteX1372" fmla="*/ 3169959 w 6268558"/>
              <a:gd name="connsiteY1372" fmla="*/ 4338953 h 5142621"/>
              <a:gd name="connsiteX1373" fmla="*/ 2990305 w 6268558"/>
              <a:gd name="connsiteY1373" fmla="*/ 4506134 h 5142621"/>
              <a:gd name="connsiteX1374" fmla="*/ 2433788 w 6268558"/>
              <a:gd name="connsiteY1374" fmla="*/ 4805759 h 5142621"/>
              <a:gd name="connsiteX1375" fmla="*/ 2990703 w 6268558"/>
              <a:gd name="connsiteY1375" fmla="*/ 4505356 h 5142621"/>
              <a:gd name="connsiteX1376" fmla="*/ 3170525 w 6268558"/>
              <a:gd name="connsiteY1376" fmla="*/ 4337656 h 5142621"/>
              <a:gd name="connsiteX1377" fmla="*/ 3180689 w 6268558"/>
              <a:gd name="connsiteY1377" fmla="*/ 4327161 h 5142621"/>
              <a:gd name="connsiteX1378" fmla="*/ 3185736 w 6268558"/>
              <a:gd name="connsiteY1378" fmla="*/ 4321926 h 5142621"/>
              <a:gd name="connsiteX1379" fmla="*/ 3190783 w 6268558"/>
              <a:gd name="connsiteY1379" fmla="*/ 4316596 h 5142621"/>
              <a:gd name="connsiteX1380" fmla="*/ 3195830 w 6268558"/>
              <a:gd name="connsiteY1380" fmla="*/ 4311219 h 5142621"/>
              <a:gd name="connsiteX1381" fmla="*/ 3200971 w 6268558"/>
              <a:gd name="connsiteY1381" fmla="*/ 4305583 h 5142621"/>
              <a:gd name="connsiteX1382" fmla="*/ 3211277 w 6268558"/>
              <a:gd name="connsiteY1382" fmla="*/ 4294121 h 5142621"/>
              <a:gd name="connsiteX1383" fmla="*/ 3253302 w 6268558"/>
              <a:gd name="connsiteY1383" fmla="*/ 4244078 h 5142621"/>
              <a:gd name="connsiteX1384" fmla="*/ 3275305 w 6268558"/>
              <a:gd name="connsiteY1384" fmla="*/ 4214740 h 5142621"/>
              <a:gd name="connsiteX1385" fmla="*/ 3297968 w 6268558"/>
              <a:gd name="connsiteY1385" fmla="*/ 4181016 h 5142621"/>
              <a:gd name="connsiteX1386" fmla="*/ 3340536 w 6268558"/>
              <a:gd name="connsiteY1386" fmla="*/ 4104630 h 5142621"/>
              <a:gd name="connsiteX1387" fmla="*/ 3374897 w 6268558"/>
              <a:gd name="connsiteY1387" fmla="*/ 4028999 h 5142621"/>
              <a:gd name="connsiteX1388" fmla="*/ 3403810 w 6268558"/>
              <a:gd name="connsiteY1388" fmla="*/ 3956527 h 5142621"/>
              <a:gd name="connsiteX1389" fmla="*/ 3453241 w 6268558"/>
              <a:gd name="connsiteY1389" fmla="*/ 3815712 h 5142621"/>
              <a:gd name="connsiteX1390" fmla="*/ 3475291 w 6268558"/>
              <a:gd name="connsiteY1390" fmla="*/ 3745977 h 5142621"/>
              <a:gd name="connsiteX1391" fmla="*/ 3495667 w 6268558"/>
              <a:gd name="connsiteY1391" fmla="*/ 3676665 h 5142621"/>
              <a:gd name="connsiteX1392" fmla="*/ 3531372 w 6268558"/>
              <a:gd name="connsiteY1392" fmla="*/ 3539553 h 5142621"/>
              <a:gd name="connsiteX1393" fmla="*/ 3600990 w 6268558"/>
              <a:gd name="connsiteY1393" fmla="*/ 3028009 h 5142621"/>
              <a:gd name="connsiteX1394" fmla="*/ 3564530 w 6268558"/>
              <a:gd name="connsiteY1394" fmla="*/ 2596483 h 5142621"/>
              <a:gd name="connsiteX1395" fmla="*/ 3545781 w 6268558"/>
              <a:gd name="connsiteY1395" fmla="*/ 2501042 h 5142621"/>
              <a:gd name="connsiteX1396" fmla="*/ 3526632 w 6268558"/>
              <a:gd name="connsiteY1396" fmla="*/ 2409586 h 5142621"/>
              <a:gd name="connsiteX1397" fmla="*/ 3512552 w 6268558"/>
              <a:gd name="connsiteY1397" fmla="*/ 2318838 h 5142621"/>
              <a:gd name="connsiteX1398" fmla="*/ 3513897 w 6268558"/>
              <a:gd name="connsiteY1398" fmla="*/ 2270186 h 5142621"/>
              <a:gd name="connsiteX1399" fmla="*/ 3520500 w 6268558"/>
              <a:gd name="connsiteY1399" fmla="*/ 2243678 h 5142621"/>
              <a:gd name="connsiteX1400" fmla="*/ 3534650 w 6268558"/>
              <a:gd name="connsiteY1400" fmla="*/ 2215520 h 5142621"/>
              <a:gd name="connsiteX1401" fmla="*/ 3558540 w 6268558"/>
              <a:gd name="connsiteY1401" fmla="*/ 2187527 h 5142621"/>
              <a:gd name="connsiteX1402" fmla="*/ 3590660 w 6268558"/>
              <a:gd name="connsiteY1402" fmla="*/ 2162458 h 5142621"/>
              <a:gd name="connsiteX1403" fmla="*/ 3628134 w 6268558"/>
              <a:gd name="connsiteY1403" fmla="*/ 2141162 h 5142621"/>
              <a:gd name="connsiteX1404" fmla="*/ 3669286 w 6268558"/>
              <a:gd name="connsiteY1404" fmla="*/ 2123168 h 5142621"/>
              <a:gd name="connsiteX1405" fmla="*/ 3760530 w 6268558"/>
              <a:gd name="connsiteY1405" fmla="*/ 2095128 h 5142621"/>
              <a:gd name="connsiteX1406" fmla="*/ 3863140 w 6268558"/>
              <a:gd name="connsiteY1406" fmla="*/ 2076001 h 5142621"/>
              <a:gd name="connsiteX1407" fmla="*/ 4104217 w 6268558"/>
              <a:gd name="connsiteY1407" fmla="*/ 2063971 h 5142621"/>
              <a:gd name="connsiteX1408" fmla="*/ 4061015 w 6268558"/>
              <a:gd name="connsiteY1408" fmla="*/ 2024429 h 5142621"/>
              <a:gd name="connsiteX1409" fmla="*/ 4359072 w 6268558"/>
              <a:gd name="connsiteY1409" fmla="*/ 2047372 h 5142621"/>
              <a:gd name="connsiteX1410" fmla="*/ 5119490 w 6268558"/>
              <a:gd name="connsiteY1410" fmla="*/ 2292944 h 5142621"/>
              <a:gd name="connsiteX1411" fmla="*/ 5931577 w 6268558"/>
              <a:gd name="connsiteY1411" fmla="*/ 2989026 h 5142621"/>
              <a:gd name="connsiteX1412" fmla="*/ 5916980 w 6268558"/>
              <a:gd name="connsiteY1412" fmla="*/ 2981951 h 5142621"/>
              <a:gd name="connsiteX1413" fmla="*/ 5109089 w 6268558"/>
              <a:gd name="connsiteY1413" fmla="*/ 2292755 h 5142621"/>
              <a:gd name="connsiteX1414" fmla="*/ 4353931 w 6268558"/>
              <a:gd name="connsiteY1414" fmla="*/ 2049919 h 5142621"/>
              <a:gd name="connsiteX1415" fmla="*/ 3816068 w 6268558"/>
              <a:gd name="connsiteY1415" fmla="*/ 2045697 h 5142621"/>
              <a:gd name="connsiteX1416" fmla="*/ 3713882 w 6268558"/>
              <a:gd name="connsiteY1416" fmla="*/ 2067347 h 5142621"/>
              <a:gd name="connsiteX1417" fmla="*/ 3623653 w 6268558"/>
              <a:gd name="connsiteY1417" fmla="*/ 2097439 h 5142621"/>
              <a:gd name="connsiteX1418" fmla="*/ 3583349 w 6268558"/>
              <a:gd name="connsiteY1418" fmla="*/ 2116164 h 5142621"/>
              <a:gd name="connsiteX1419" fmla="*/ 3547055 w 6268558"/>
              <a:gd name="connsiteY1419" fmla="*/ 2137813 h 5142621"/>
              <a:gd name="connsiteX1420" fmla="*/ 3516373 w 6268558"/>
              <a:gd name="connsiteY1420" fmla="*/ 2162647 h 5142621"/>
              <a:gd name="connsiteX1421" fmla="*/ 3493827 w 6268558"/>
              <a:gd name="connsiteY1421" fmla="*/ 2189744 h 5142621"/>
              <a:gd name="connsiteX1422" fmla="*/ 3480409 w 6268558"/>
              <a:gd name="connsiteY1422" fmla="*/ 2216982 h 5142621"/>
              <a:gd name="connsiteX1423" fmla="*/ 3474135 w 6268558"/>
              <a:gd name="connsiteY1423" fmla="*/ 2242853 h 5142621"/>
              <a:gd name="connsiteX1424" fmla="*/ 3473216 w 6268558"/>
              <a:gd name="connsiteY1424" fmla="*/ 2290727 h 5142621"/>
              <a:gd name="connsiteX1425" fmla="*/ 3488521 w 6268558"/>
              <a:gd name="connsiteY1425" fmla="*/ 2380249 h 5142621"/>
              <a:gd name="connsiteX1426" fmla="*/ 3509581 w 6268558"/>
              <a:gd name="connsiteY1426" fmla="*/ 2470242 h 5142621"/>
              <a:gd name="connsiteX1427" fmla="*/ 3530829 w 6268558"/>
              <a:gd name="connsiteY1427" fmla="*/ 2563868 h 5142621"/>
              <a:gd name="connsiteX1428" fmla="*/ 3581746 w 6268558"/>
              <a:gd name="connsiteY1428" fmla="*/ 2985324 h 5142621"/>
              <a:gd name="connsiteX1429" fmla="*/ 3529131 w 6268558"/>
              <a:gd name="connsiteY1429" fmla="*/ 3485901 h 5142621"/>
              <a:gd name="connsiteX1430" fmla="*/ 3497365 w 6268558"/>
              <a:gd name="connsiteY1430" fmla="*/ 3620797 h 5142621"/>
              <a:gd name="connsiteX1431" fmla="*/ 3478852 w 6268558"/>
              <a:gd name="connsiteY1431" fmla="*/ 3689165 h 5142621"/>
              <a:gd name="connsiteX1432" fmla="*/ 3458594 w 6268558"/>
              <a:gd name="connsiteY1432" fmla="*/ 3758099 h 5142621"/>
              <a:gd name="connsiteX1433" fmla="*/ 3412394 w 6268558"/>
              <a:gd name="connsiteY1433" fmla="*/ 3897876 h 5142621"/>
              <a:gd name="connsiteX1434" fmla="*/ 3384802 w 6268558"/>
              <a:gd name="connsiteY1434" fmla="*/ 3970395 h 5142621"/>
              <a:gd name="connsiteX1435" fmla="*/ 3351314 w 6268558"/>
              <a:gd name="connsiteY1435" fmla="*/ 4046946 h 5142621"/>
              <a:gd name="connsiteX1436" fmla="*/ 3331079 w 6268558"/>
              <a:gd name="connsiteY1436" fmla="*/ 4086849 h 5142621"/>
              <a:gd name="connsiteX1437" fmla="*/ 3308652 w 6268558"/>
              <a:gd name="connsiteY1437" fmla="*/ 4125832 h 5142621"/>
              <a:gd name="connsiteX1438" fmla="*/ 3285611 w 6268558"/>
              <a:gd name="connsiteY1438" fmla="*/ 4161065 h 5142621"/>
              <a:gd name="connsiteX1439" fmla="*/ 3263207 w 6268558"/>
              <a:gd name="connsiteY1439" fmla="*/ 4191794 h 5142621"/>
              <a:gd name="connsiteX1440" fmla="*/ 3220333 w 6268558"/>
              <a:gd name="connsiteY1440" fmla="*/ 4244290 h 5142621"/>
              <a:gd name="connsiteX1441" fmla="*/ 3209815 w 6268558"/>
              <a:gd name="connsiteY1441" fmla="*/ 4256318 h 5142621"/>
              <a:gd name="connsiteX1442" fmla="*/ 3204555 w 6268558"/>
              <a:gd name="connsiteY1442" fmla="*/ 4262214 h 5142621"/>
              <a:gd name="connsiteX1443" fmla="*/ 3199367 w 6268558"/>
              <a:gd name="connsiteY1443" fmla="*/ 4267873 h 5142621"/>
              <a:gd name="connsiteX1444" fmla="*/ 3194179 w 6268558"/>
              <a:gd name="connsiteY1444" fmla="*/ 4273486 h 5142621"/>
              <a:gd name="connsiteX1445" fmla="*/ 3189014 w 6268558"/>
              <a:gd name="connsiteY1445" fmla="*/ 4278981 h 5142621"/>
              <a:gd name="connsiteX1446" fmla="*/ 3178614 w 6268558"/>
              <a:gd name="connsiteY1446" fmla="*/ 4289994 h 5142621"/>
              <a:gd name="connsiteX1447" fmla="*/ 2994267 w 6268558"/>
              <a:gd name="connsiteY1447" fmla="*/ 4464227 h 5142621"/>
              <a:gd name="connsiteX1448" fmla="*/ 2416642 w 6268558"/>
              <a:gd name="connsiteY1448" fmla="*/ 4764654 h 5142621"/>
              <a:gd name="connsiteX1449" fmla="*/ 2994668 w 6268558"/>
              <a:gd name="connsiteY1449" fmla="*/ 4463426 h 5142621"/>
              <a:gd name="connsiteX1450" fmla="*/ 3179180 w 6268558"/>
              <a:gd name="connsiteY1450" fmla="*/ 4288674 h 5142621"/>
              <a:gd name="connsiteX1451" fmla="*/ 3189580 w 6268558"/>
              <a:gd name="connsiteY1451" fmla="*/ 4277613 h 5142621"/>
              <a:gd name="connsiteX1452" fmla="*/ 3194745 w 6268558"/>
              <a:gd name="connsiteY1452" fmla="*/ 4272095 h 5142621"/>
              <a:gd name="connsiteX1453" fmla="*/ 3199910 w 6268558"/>
              <a:gd name="connsiteY1453" fmla="*/ 4266482 h 5142621"/>
              <a:gd name="connsiteX1454" fmla="*/ 3205074 w 6268558"/>
              <a:gd name="connsiteY1454" fmla="*/ 4260822 h 5142621"/>
              <a:gd name="connsiteX1455" fmla="*/ 3210333 w 6268558"/>
              <a:gd name="connsiteY1455" fmla="*/ 4254903 h 5142621"/>
              <a:gd name="connsiteX1456" fmla="*/ 3220851 w 6268558"/>
              <a:gd name="connsiteY1456" fmla="*/ 4242875 h 5142621"/>
              <a:gd name="connsiteX1457" fmla="*/ 3263608 w 6268558"/>
              <a:gd name="connsiteY1457" fmla="*/ 4190450 h 5142621"/>
              <a:gd name="connsiteX1458" fmla="*/ 3285847 w 6268558"/>
              <a:gd name="connsiteY1458" fmla="*/ 4159910 h 5142621"/>
              <a:gd name="connsiteX1459" fmla="*/ 3308581 w 6268558"/>
              <a:gd name="connsiteY1459" fmla="*/ 4125101 h 5142621"/>
              <a:gd name="connsiteX1460" fmla="*/ 3350606 w 6268558"/>
              <a:gd name="connsiteY1460" fmla="*/ 4047300 h 5142621"/>
              <a:gd name="connsiteX1461" fmla="*/ 3383811 w 6268558"/>
              <a:gd name="connsiteY1461" fmla="*/ 3971338 h 5142621"/>
              <a:gd name="connsiteX1462" fmla="*/ 3411262 w 6268558"/>
              <a:gd name="connsiteY1462" fmla="*/ 3899103 h 5142621"/>
              <a:gd name="connsiteX1463" fmla="*/ 3457320 w 6268558"/>
              <a:gd name="connsiteY1463" fmla="*/ 3759655 h 5142621"/>
              <a:gd name="connsiteX1464" fmla="*/ 3477531 w 6268558"/>
              <a:gd name="connsiteY1464" fmla="*/ 3690863 h 5142621"/>
              <a:gd name="connsiteX1465" fmla="*/ 3495973 w 6268558"/>
              <a:gd name="connsiteY1465" fmla="*/ 3622613 h 5142621"/>
              <a:gd name="connsiteX1466" fmla="*/ 3527622 w 6268558"/>
              <a:gd name="connsiteY1466" fmla="*/ 3487953 h 5142621"/>
              <a:gd name="connsiteX1467" fmla="*/ 3579835 w 6268558"/>
              <a:gd name="connsiteY1467" fmla="*/ 2988177 h 5142621"/>
              <a:gd name="connsiteX1468" fmla="*/ 3528070 w 6268558"/>
              <a:gd name="connsiteY1468" fmla="*/ 2567240 h 5142621"/>
              <a:gd name="connsiteX1469" fmla="*/ 3506444 w 6268558"/>
              <a:gd name="connsiteY1469" fmla="*/ 2473709 h 5142621"/>
              <a:gd name="connsiteX1470" fmla="*/ 3484889 w 6268558"/>
              <a:gd name="connsiteY1470" fmla="*/ 2383763 h 5142621"/>
              <a:gd name="connsiteX1471" fmla="*/ 3468853 w 6268558"/>
              <a:gd name="connsiteY1471" fmla="*/ 2293958 h 5142621"/>
              <a:gd name="connsiteX1472" fmla="*/ 3469348 w 6268558"/>
              <a:gd name="connsiteY1472" fmla="*/ 2245400 h 5142621"/>
              <a:gd name="connsiteX1473" fmla="*/ 3475527 w 6268558"/>
              <a:gd name="connsiteY1473" fmla="*/ 2218751 h 5142621"/>
              <a:gd name="connsiteX1474" fmla="*/ 3489299 w 6268558"/>
              <a:gd name="connsiteY1474" fmla="*/ 2190215 h 5142621"/>
              <a:gd name="connsiteX1475" fmla="*/ 3512835 w 6268558"/>
              <a:gd name="connsiteY1475" fmla="*/ 2161585 h 5142621"/>
              <a:gd name="connsiteX1476" fmla="*/ 3544720 w 6268558"/>
              <a:gd name="connsiteY1476" fmla="*/ 2135667 h 5142621"/>
              <a:gd name="connsiteX1477" fmla="*/ 3582029 w 6268558"/>
              <a:gd name="connsiteY1477" fmla="*/ 2113405 h 5142621"/>
              <a:gd name="connsiteX1478" fmla="*/ 3623111 w 6268558"/>
              <a:gd name="connsiteY1478" fmla="*/ 2094373 h 5142621"/>
              <a:gd name="connsiteX1479" fmla="*/ 3714472 w 6268558"/>
              <a:gd name="connsiteY1479" fmla="*/ 2064045 h 5142621"/>
              <a:gd name="connsiteX1480" fmla="*/ 3817578 w 6268558"/>
              <a:gd name="connsiteY1480" fmla="*/ 2042396 h 5142621"/>
              <a:gd name="connsiteX1481" fmla="*/ 4061015 w 6268558"/>
              <a:gd name="connsiteY1481" fmla="*/ 2024429 h 5142621"/>
              <a:gd name="connsiteX1482" fmla="*/ 4017077 w 6268558"/>
              <a:gd name="connsiteY1482" fmla="*/ 1986701 h 5142621"/>
              <a:gd name="connsiteX1483" fmla="*/ 4319735 w 6268558"/>
              <a:gd name="connsiteY1483" fmla="*/ 2002422 h 5142621"/>
              <a:gd name="connsiteX1484" fmla="*/ 5104632 w 6268558"/>
              <a:gd name="connsiteY1484" fmla="*/ 2228632 h 5142621"/>
              <a:gd name="connsiteX1485" fmla="*/ 5984782 w 6268558"/>
              <a:gd name="connsiteY1485" fmla="*/ 2914951 h 5142621"/>
              <a:gd name="connsiteX1486" fmla="*/ 5969146 w 6268558"/>
              <a:gd name="connsiteY1486" fmla="*/ 2907876 h 5142621"/>
              <a:gd name="connsiteX1487" fmla="*/ 5093949 w 6268558"/>
              <a:gd name="connsiteY1487" fmla="*/ 2228608 h 5142621"/>
              <a:gd name="connsiteX1488" fmla="*/ 4314523 w 6268558"/>
              <a:gd name="connsiteY1488" fmla="*/ 2005063 h 5142621"/>
              <a:gd name="connsiteX1489" fmla="*/ 3770034 w 6268558"/>
              <a:gd name="connsiteY1489" fmla="*/ 2013718 h 5142621"/>
              <a:gd name="connsiteX1490" fmla="*/ 3667471 w 6268558"/>
              <a:gd name="connsiteY1490" fmla="*/ 2037797 h 5142621"/>
              <a:gd name="connsiteX1491" fmla="*/ 3577194 w 6268558"/>
              <a:gd name="connsiteY1491" fmla="*/ 2070082 h 5142621"/>
              <a:gd name="connsiteX1492" fmla="*/ 3536985 w 6268558"/>
              <a:gd name="connsiteY1492" fmla="*/ 2089821 h 5142621"/>
              <a:gd name="connsiteX1493" fmla="*/ 3500832 w 6268558"/>
              <a:gd name="connsiteY1493" fmla="*/ 2112414 h 5142621"/>
              <a:gd name="connsiteX1494" fmla="*/ 3470386 w 6268558"/>
              <a:gd name="connsiteY1494" fmla="*/ 2138049 h 5142621"/>
              <a:gd name="connsiteX1495" fmla="*/ 3448147 w 6268558"/>
              <a:gd name="connsiteY1495" fmla="*/ 2165783 h 5142621"/>
              <a:gd name="connsiteX1496" fmla="*/ 3435058 w 6268558"/>
              <a:gd name="connsiteY1496" fmla="*/ 2193399 h 5142621"/>
              <a:gd name="connsiteX1497" fmla="*/ 3429139 w 6268558"/>
              <a:gd name="connsiteY1497" fmla="*/ 2219458 h 5142621"/>
              <a:gd name="connsiteX1498" fmla="*/ 3428950 w 6268558"/>
              <a:gd name="connsiteY1498" fmla="*/ 2267332 h 5142621"/>
              <a:gd name="connsiteX1499" fmla="*/ 3446001 w 6268558"/>
              <a:gd name="connsiteY1499" fmla="*/ 2356146 h 5142621"/>
              <a:gd name="connsiteX1500" fmla="*/ 3469230 w 6268558"/>
              <a:gd name="connsiteY1500" fmla="*/ 2444866 h 5142621"/>
              <a:gd name="connsiteX1501" fmla="*/ 3493120 w 6268558"/>
              <a:gd name="connsiteY1501" fmla="*/ 2536817 h 5142621"/>
              <a:gd name="connsiteX1502" fmla="*/ 3558540 w 6268558"/>
              <a:gd name="connsiteY1502" fmla="*/ 2948344 h 5142621"/>
              <a:gd name="connsiteX1503" fmla="*/ 3522976 w 6268558"/>
              <a:gd name="connsiteY1503" fmla="*/ 3437225 h 5142621"/>
              <a:gd name="connsiteX1504" fmla="*/ 3495266 w 6268558"/>
              <a:gd name="connsiteY1504" fmla="*/ 3569550 h 5142621"/>
              <a:gd name="connsiteX1505" fmla="*/ 3478710 w 6268558"/>
              <a:gd name="connsiteY1505" fmla="*/ 3636762 h 5142621"/>
              <a:gd name="connsiteX1506" fmla="*/ 3460316 w 6268558"/>
              <a:gd name="connsiteY1506" fmla="*/ 3704658 h 5142621"/>
              <a:gd name="connsiteX1507" fmla="*/ 3417583 w 6268558"/>
              <a:gd name="connsiteY1507" fmla="*/ 3842785 h 5142621"/>
              <a:gd name="connsiteX1508" fmla="*/ 3391547 w 6268558"/>
              <a:gd name="connsiteY1508" fmla="*/ 3914879 h 5142621"/>
              <a:gd name="connsiteX1509" fmla="*/ 3359356 w 6268558"/>
              <a:gd name="connsiteY1509" fmla="*/ 3991548 h 5142621"/>
              <a:gd name="connsiteX1510" fmla="*/ 3339569 w 6268558"/>
              <a:gd name="connsiteY1510" fmla="*/ 4031876 h 5142621"/>
              <a:gd name="connsiteX1511" fmla="*/ 3317378 w 6268558"/>
              <a:gd name="connsiteY1511" fmla="*/ 4071613 h 5142621"/>
              <a:gd name="connsiteX1512" fmla="*/ 3294361 w 6268558"/>
              <a:gd name="connsiteY1512" fmla="*/ 4107837 h 5142621"/>
              <a:gd name="connsiteX1513" fmla="*/ 3271791 w 6268558"/>
              <a:gd name="connsiteY1513" fmla="*/ 4139651 h 5142621"/>
              <a:gd name="connsiteX1514" fmla="*/ 3228328 w 6268558"/>
              <a:gd name="connsiteY1514" fmla="*/ 4194341 h 5142621"/>
              <a:gd name="connsiteX1515" fmla="*/ 3217621 w 6268558"/>
              <a:gd name="connsiteY1515" fmla="*/ 4206887 h 5142621"/>
              <a:gd name="connsiteX1516" fmla="*/ 3212267 w 6268558"/>
              <a:gd name="connsiteY1516" fmla="*/ 4213042 h 5142621"/>
              <a:gd name="connsiteX1517" fmla="*/ 3206985 w 6268558"/>
              <a:gd name="connsiteY1517" fmla="*/ 4218961 h 5142621"/>
              <a:gd name="connsiteX1518" fmla="*/ 3201702 w 6268558"/>
              <a:gd name="connsiteY1518" fmla="*/ 4224833 h 5142621"/>
              <a:gd name="connsiteX1519" fmla="*/ 3196443 w 6268558"/>
              <a:gd name="connsiteY1519" fmla="*/ 4230588 h 5142621"/>
              <a:gd name="connsiteX1520" fmla="*/ 3185831 w 6268558"/>
              <a:gd name="connsiteY1520" fmla="*/ 4242097 h 5142621"/>
              <a:gd name="connsiteX1521" fmla="*/ 2997192 w 6268558"/>
              <a:gd name="connsiteY1521" fmla="*/ 4422650 h 5142621"/>
              <a:gd name="connsiteX1522" fmla="*/ 2397873 w 6268558"/>
              <a:gd name="connsiteY1522" fmla="*/ 4722156 h 5142621"/>
              <a:gd name="connsiteX1523" fmla="*/ 2997614 w 6268558"/>
              <a:gd name="connsiteY1523" fmla="*/ 4421848 h 5142621"/>
              <a:gd name="connsiteX1524" fmla="*/ 3186420 w 6268558"/>
              <a:gd name="connsiteY1524" fmla="*/ 4240776 h 5142621"/>
              <a:gd name="connsiteX1525" fmla="*/ 3197033 w 6268558"/>
              <a:gd name="connsiteY1525" fmla="*/ 4229220 h 5142621"/>
              <a:gd name="connsiteX1526" fmla="*/ 3202292 w 6268558"/>
              <a:gd name="connsiteY1526" fmla="*/ 4223442 h 5142621"/>
              <a:gd name="connsiteX1527" fmla="*/ 3207551 w 6268558"/>
              <a:gd name="connsiteY1527" fmla="*/ 4217570 h 5142621"/>
              <a:gd name="connsiteX1528" fmla="*/ 3212810 w 6268558"/>
              <a:gd name="connsiteY1528" fmla="*/ 4211651 h 5142621"/>
              <a:gd name="connsiteX1529" fmla="*/ 3218163 w 6268558"/>
              <a:gd name="connsiteY1529" fmla="*/ 4205472 h 5142621"/>
              <a:gd name="connsiteX1530" fmla="*/ 3228846 w 6268558"/>
              <a:gd name="connsiteY1530" fmla="*/ 4192926 h 5142621"/>
              <a:gd name="connsiteX1531" fmla="*/ 3272192 w 6268558"/>
              <a:gd name="connsiteY1531" fmla="*/ 4138307 h 5142621"/>
              <a:gd name="connsiteX1532" fmla="*/ 3294596 w 6268558"/>
              <a:gd name="connsiteY1532" fmla="*/ 4106705 h 5142621"/>
              <a:gd name="connsiteX1533" fmla="*/ 3317331 w 6268558"/>
              <a:gd name="connsiteY1533" fmla="*/ 4070929 h 5142621"/>
              <a:gd name="connsiteX1534" fmla="*/ 3358672 w 6268558"/>
              <a:gd name="connsiteY1534" fmla="*/ 3991996 h 5142621"/>
              <a:gd name="connsiteX1535" fmla="*/ 3390580 w 6268558"/>
              <a:gd name="connsiteY1535" fmla="*/ 3915940 h 5142621"/>
              <a:gd name="connsiteX1536" fmla="*/ 3416498 w 6268558"/>
              <a:gd name="connsiteY1536" fmla="*/ 3844130 h 5142621"/>
              <a:gd name="connsiteX1537" fmla="*/ 3459089 w 6268558"/>
              <a:gd name="connsiteY1537" fmla="*/ 3706333 h 5142621"/>
              <a:gd name="connsiteX1538" fmla="*/ 3477437 w 6268558"/>
              <a:gd name="connsiteY1538" fmla="*/ 3638578 h 5142621"/>
              <a:gd name="connsiteX1539" fmla="*/ 3493945 w 6268558"/>
              <a:gd name="connsiteY1539" fmla="*/ 3571484 h 5142621"/>
              <a:gd name="connsiteX1540" fmla="*/ 3521561 w 6268558"/>
              <a:gd name="connsiteY1540" fmla="*/ 3439371 h 5142621"/>
              <a:gd name="connsiteX1541" fmla="*/ 3556748 w 6268558"/>
              <a:gd name="connsiteY1541" fmla="*/ 2951269 h 5142621"/>
              <a:gd name="connsiteX1542" fmla="*/ 3490502 w 6268558"/>
              <a:gd name="connsiteY1542" fmla="*/ 2540284 h 5142621"/>
              <a:gd name="connsiteX1543" fmla="*/ 3466212 w 6268558"/>
              <a:gd name="connsiteY1543" fmla="*/ 2448427 h 5142621"/>
              <a:gd name="connsiteX1544" fmla="*/ 3442463 w 6268558"/>
              <a:gd name="connsiteY1544" fmla="*/ 2359755 h 5142621"/>
              <a:gd name="connsiteX1545" fmla="*/ 3424682 w 6268558"/>
              <a:gd name="connsiteY1545" fmla="*/ 2270681 h 5142621"/>
              <a:gd name="connsiteX1546" fmla="*/ 3424422 w 6268558"/>
              <a:gd name="connsiteY1546" fmla="*/ 2222123 h 5142621"/>
              <a:gd name="connsiteX1547" fmla="*/ 3430247 w 6268558"/>
              <a:gd name="connsiteY1547" fmla="*/ 2195285 h 5142621"/>
              <a:gd name="connsiteX1548" fmla="*/ 3443666 w 6268558"/>
              <a:gd name="connsiteY1548" fmla="*/ 2166349 h 5142621"/>
              <a:gd name="connsiteX1549" fmla="*/ 3466895 w 6268558"/>
              <a:gd name="connsiteY1549" fmla="*/ 2137058 h 5142621"/>
              <a:gd name="connsiteX1550" fmla="*/ 3498520 w 6268558"/>
              <a:gd name="connsiteY1550" fmla="*/ 2110291 h 5142621"/>
              <a:gd name="connsiteX1551" fmla="*/ 3535664 w 6268558"/>
              <a:gd name="connsiteY1551" fmla="*/ 2087085 h 5142621"/>
              <a:gd name="connsiteX1552" fmla="*/ 3576652 w 6268558"/>
              <a:gd name="connsiteY1552" fmla="*/ 2067016 h 5142621"/>
              <a:gd name="connsiteX1553" fmla="*/ 3668084 w 6268558"/>
              <a:gd name="connsiteY1553" fmla="*/ 2034471 h 5142621"/>
              <a:gd name="connsiteX1554" fmla="*/ 3771567 w 6268558"/>
              <a:gd name="connsiteY1554" fmla="*/ 2010369 h 5142621"/>
              <a:gd name="connsiteX1555" fmla="*/ 4017077 w 6268558"/>
              <a:gd name="connsiteY1555" fmla="*/ 1986701 h 5142621"/>
              <a:gd name="connsiteX1556" fmla="*/ 4118211 w 6268558"/>
              <a:gd name="connsiteY1556" fmla="*/ 1949483 h 5142621"/>
              <a:gd name="connsiteX1557" fmla="*/ 4279479 w 6268558"/>
              <a:gd name="connsiteY1557" fmla="*/ 1959359 h 5142621"/>
              <a:gd name="connsiteX1558" fmla="*/ 5087063 w 6268558"/>
              <a:gd name="connsiteY1558" fmla="*/ 2166090 h 5142621"/>
              <a:gd name="connsiteX1559" fmla="*/ 6033788 w 6268558"/>
              <a:gd name="connsiteY1559" fmla="*/ 2839603 h 5142621"/>
              <a:gd name="connsiteX1560" fmla="*/ 6017090 w 6268558"/>
              <a:gd name="connsiteY1560" fmla="*/ 2832481 h 5142621"/>
              <a:gd name="connsiteX1561" fmla="*/ 5076073 w 6268558"/>
              <a:gd name="connsiteY1561" fmla="*/ 2166161 h 5142621"/>
              <a:gd name="connsiteX1562" fmla="*/ 4274173 w 6268558"/>
              <a:gd name="connsiteY1562" fmla="*/ 1962001 h 5142621"/>
              <a:gd name="connsiteX1563" fmla="*/ 3723811 w 6268558"/>
              <a:gd name="connsiteY1563" fmla="*/ 1983061 h 5142621"/>
              <a:gd name="connsiteX1564" fmla="*/ 3620941 w 6268558"/>
              <a:gd name="connsiteY1564" fmla="*/ 2009474 h 5142621"/>
              <a:gd name="connsiteX1565" fmla="*/ 3530641 w 6268558"/>
              <a:gd name="connsiteY1565" fmla="*/ 2043905 h 5142621"/>
              <a:gd name="connsiteX1566" fmla="*/ 3490526 w 6268558"/>
              <a:gd name="connsiteY1566" fmla="*/ 2064611 h 5142621"/>
              <a:gd name="connsiteX1567" fmla="*/ 3454538 w 6268558"/>
              <a:gd name="connsiteY1567" fmla="*/ 2088124 h 5142621"/>
              <a:gd name="connsiteX1568" fmla="*/ 3424328 w 6268558"/>
              <a:gd name="connsiteY1568" fmla="*/ 2114584 h 5142621"/>
              <a:gd name="connsiteX1569" fmla="*/ 3402372 w 6268558"/>
              <a:gd name="connsiteY1569" fmla="*/ 2142955 h 5142621"/>
              <a:gd name="connsiteX1570" fmla="*/ 3389566 w 6268558"/>
              <a:gd name="connsiteY1570" fmla="*/ 2170995 h 5142621"/>
              <a:gd name="connsiteX1571" fmla="*/ 3383953 w 6268558"/>
              <a:gd name="connsiteY1571" fmla="*/ 2197290 h 5142621"/>
              <a:gd name="connsiteX1572" fmla="*/ 3384401 w 6268558"/>
              <a:gd name="connsiteY1572" fmla="*/ 2245282 h 5142621"/>
              <a:gd name="connsiteX1573" fmla="*/ 3402961 w 6268558"/>
              <a:gd name="connsiteY1573" fmla="*/ 2333602 h 5142621"/>
              <a:gd name="connsiteX1574" fmla="*/ 3428148 w 6268558"/>
              <a:gd name="connsiteY1574" fmla="*/ 2421284 h 5142621"/>
              <a:gd name="connsiteX1575" fmla="*/ 3454467 w 6268558"/>
              <a:gd name="connsiteY1575" fmla="*/ 2511773 h 5142621"/>
              <a:gd name="connsiteX1576" fmla="*/ 3533589 w 6268558"/>
              <a:gd name="connsiteY1576" fmla="*/ 2914032 h 5142621"/>
              <a:gd name="connsiteX1577" fmla="*/ 3514675 w 6268558"/>
              <a:gd name="connsiteY1577" fmla="*/ 3391356 h 5142621"/>
              <a:gd name="connsiteX1578" fmla="*/ 3490974 w 6268558"/>
              <a:gd name="connsiteY1578" fmla="*/ 3521064 h 5142621"/>
              <a:gd name="connsiteX1579" fmla="*/ 3476352 w 6268558"/>
              <a:gd name="connsiteY1579" fmla="*/ 3587050 h 5142621"/>
              <a:gd name="connsiteX1580" fmla="*/ 3459844 w 6268558"/>
              <a:gd name="connsiteY1580" fmla="*/ 3653814 h 5142621"/>
              <a:gd name="connsiteX1581" fmla="*/ 3420649 w 6268558"/>
              <a:gd name="connsiteY1581" fmla="*/ 3790101 h 5142621"/>
              <a:gd name="connsiteX1582" fmla="*/ 3396216 w 6268558"/>
              <a:gd name="connsiteY1582" fmla="*/ 3861629 h 5142621"/>
              <a:gd name="connsiteX1583" fmla="*/ 3365441 w 6268558"/>
              <a:gd name="connsiteY1583" fmla="*/ 3938204 h 5142621"/>
              <a:gd name="connsiteX1584" fmla="*/ 3346197 w 6268558"/>
              <a:gd name="connsiteY1584" fmla="*/ 3978838 h 5142621"/>
              <a:gd name="connsiteX1585" fmla="*/ 3324335 w 6268558"/>
              <a:gd name="connsiteY1585" fmla="*/ 4019189 h 5142621"/>
              <a:gd name="connsiteX1586" fmla="*/ 3301412 w 6268558"/>
              <a:gd name="connsiteY1586" fmla="*/ 4056261 h 5142621"/>
              <a:gd name="connsiteX1587" fmla="*/ 3278749 w 6268558"/>
              <a:gd name="connsiteY1587" fmla="*/ 4089042 h 5142621"/>
              <a:gd name="connsiteX1588" fmla="*/ 3234813 w 6268558"/>
              <a:gd name="connsiteY1588" fmla="*/ 4145713 h 5142621"/>
              <a:gd name="connsiteX1589" fmla="*/ 3223965 w 6268558"/>
              <a:gd name="connsiteY1589" fmla="*/ 4158731 h 5142621"/>
              <a:gd name="connsiteX1590" fmla="*/ 3218541 w 6268558"/>
              <a:gd name="connsiteY1590" fmla="*/ 4165122 h 5142621"/>
              <a:gd name="connsiteX1591" fmla="*/ 3213187 w 6268558"/>
              <a:gd name="connsiteY1591" fmla="*/ 4171277 h 5142621"/>
              <a:gd name="connsiteX1592" fmla="*/ 3207810 w 6268558"/>
              <a:gd name="connsiteY1592" fmla="*/ 4177385 h 5142621"/>
              <a:gd name="connsiteX1593" fmla="*/ 3202457 w 6268558"/>
              <a:gd name="connsiteY1593" fmla="*/ 4183375 h 5142621"/>
              <a:gd name="connsiteX1594" fmla="*/ 3191679 w 6268558"/>
              <a:gd name="connsiteY1594" fmla="*/ 4195332 h 5142621"/>
              <a:gd name="connsiteX1595" fmla="*/ 2999146 w 6268558"/>
              <a:gd name="connsiteY1595" fmla="*/ 4381498 h 5142621"/>
              <a:gd name="connsiteX1596" fmla="*/ 2377330 w 6268558"/>
              <a:gd name="connsiteY1596" fmla="*/ 4678269 h 5142621"/>
              <a:gd name="connsiteX1597" fmla="*/ 2999547 w 6268558"/>
              <a:gd name="connsiteY1597" fmla="*/ 4380696 h 5142621"/>
              <a:gd name="connsiteX1598" fmla="*/ 3192222 w 6268558"/>
              <a:gd name="connsiteY1598" fmla="*/ 4194035 h 5142621"/>
              <a:gd name="connsiteX1599" fmla="*/ 3202999 w 6268558"/>
              <a:gd name="connsiteY1599" fmla="*/ 4182031 h 5142621"/>
              <a:gd name="connsiteX1600" fmla="*/ 3208352 w 6268558"/>
              <a:gd name="connsiteY1600" fmla="*/ 4176041 h 5142621"/>
              <a:gd name="connsiteX1601" fmla="*/ 3213706 w 6268558"/>
              <a:gd name="connsiteY1601" fmla="*/ 4169933 h 5142621"/>
              <a:gd name="connsiteX1602" fmla="*/ 3219059 w 6268558"/>
              <a:gd name="connsiteY1602" fmla="*/ 4163777 h 5142621"/>
              <a:gd name="connsiteX1603" fmla="*/ 3224484 w 6268558"/>
              <a:gd name="connsiteY1603" fmla="*/ 4157363 h 5142621"/>
              <a:gd name="connsiteX1604" fmla="*/ 3235332 w 6268558"/>
              <a:gd name="connsiteY1604" fmla="*/ 4144321 h 5142621"/>
              <a:gd name="connsiteX1605" fmla="*/ 3279102 w 6268558"/>
              <a:gd name="connsiteY1605" fmla="*/ 4087745 h 5142621"/>
              <a:gd name="connsiteX1606" fmla="*/ 3301577 w 6268558"/>
              <a:gd name="connsiteY1606" fmla="*/ 4055177 h 5142621"/>
              <a:gd name="connsiteX1607" fmla="*/ 3324193 w 6268558"/>
              <a:gd name="connsiteY1607" fmla="*/ 4018552 h 5142621"/>
              <a:gd name="connsiteX1608" fmla="*/ 3364686 w 6268558"/>
              <a:gd name="connsiteY1608" fmla="*/ 3938723 h 5142621"/>
              <a:gd name="connsiteX1609" fmla="*/ 3395203 w 6268558"/>
              <a:gd name="connsiteY1609" fmla="*/ 3862738 h 5142621"/>
              <a:gd name="connsiteX1610" fmla="*/ 3419517 w 6268558"/>
              <a:gd name="connsiteY1610" fmla="*/ 3791516 h 5142621"/>
              <a:gd name="connsiteX1611" fmla="*/ 3458594 w 6268558"/>
              <a:gd name="connsiteY1611" fmla="*/ 3655582 h 5142621"/>
              <a:gd name="connsiteX1612" fmla="*/ 3475055 w 6268558"/>
              <a:gd name="connsiteY1612" fmla="*/ 3588960 h 5142621"/>
              <a:gd name="connsiteX1613" fmla="*/ 3489630 w 6268558"/>
              <a:gd name="connsiteY1613" fmla="*/ 3523092 h 5142621"/>
              <a:gd name="connsiteX1614" fmla="*/ 3513236 w 6268558"/>
              <a:gd name="connsiteY1614" fmla="*/ 3393620 h 5142621"/>
              <a:gd name="connsiteX1615" fmla="*/ 3531820 w 6268558"/>
              <a:gd name="connsiteY1615" fmla="*/ 2917074 h 5142621"/>
              <a:gd name="connsiteX1616" fmla="*/ 3451896 w 6268558"/>
              <a:gd name="connsiteY1616" fmla="*/ 2515357 h 5142621"/>
              <a:gd name="connsiteX1617" fmla="*/ 3425177 w 6268558"/>
              <a:gd name="connsiteY1617" fmla="*/ 2424987 h 5142621"/>
              <a:gd name="connsiteX1618" fmla="*/ 3399471 w 6268558"/>
              <a:gd name="connsiteY1618" fmla="*/ 2337351 h 5142621"/>
              <a:gd name="connsiteX1619" fmla="*/ 3380156 w 6268558"/>
              <a:gd name="connsiteY1619" fmla="*/ 2248773 h 5142621"/>
              <a:gd name="connsiteX1620" fmla="*/ 3379237 w 6268558"/>
              <a:gd name="connsiteY1620" fmla="*/ 2200097 h 5142621"/>
              <a:gd name="connsiteX1621" fmla="*/ 3384755 w 6268558"/>
              <a:gd name="connsiteY1621" fmla="*/ 2173023 h 5142621"/>
              <a:gd name="connsiteX1622" fmla="*/ 3397867 w 6268558"/>
              <a:gd name="connsiteY1622" fmla="*/ 2143662 h 5142621"/>
              <a:gd name="connsiteX1623" fmla="*/ 3420814 w 6268558"/>
              <a:gd name="connsiteY1623" fmla="*/ 2113712 h 5142621"/>
              <a:gd name="connsiteX1624" fmla="*/ 3452227 w 6268558"/>
              <a:gd name="connsiteY1624" fmla="*/ 2086096 h 5142621"/>
              <a:gd name="connsiteX1625" fmla="*/ 3489205 w 6268558"/>
              <a:gd name="connsiteY1625" fmla="*/ 2061946 h 5142621"/>
              <a:gd name="connsiteX1626" fmla="*/ 3530098 w 6268558"/>
              <a:gd name="connsiteY1626" fmla="*/ 2040887 h 5142621"/>
              <a:gd name="connsiteX1627" fmla="*/ 3621554 w 6268558"/>
              <a:gd name="connsiteY1627" fmla="*/ 2006196 h 5142621"/>
              <a:gd name="connsiteX1628" fmla="*/ 3725368 w 6268558"/>
              <a:gd name="connsiteY1628" fmla="*/ 1979759 h 5142621"/>
              <a:gd name="connsiteX1629" fmla="*/ 4118211 w 6268558"/>
              <a:gd name="connsiteY1629" fmla="*/ 1949483 h 5142621"/>
              <a:gd name="connsiteX1630" fmla="*/ 4075058 w 6268558"/>
              <a:gd name="connsiteY1630" fmla="*/ 1911605 h 5142621"/>
              <a:gd name="connsiteX1631" fmla="*/ 4238515 w 6268558"/>
              <a:gd name="connsiteY1631" fmla="*/ 1917900 h 5142621"/>
              <a:gd name="connsiteX1632" fmla="*/ 5067017 w 6268558"/>
              <a:gd name="connsiteY1632" fmla="*/ 2105174 h 5142621"/>
              <a:gd name="connsiteX1633" fmla="*/ 6078383 w 6268558"/>
              <a:gd name="connsiteY1633" fmla="*/ 2763004 h 5142621"/>
              <a:gd name="connsiteX1634" fmla="*/ 6060649 w 6268558"/>
              <a:gd name="connsiteY1634" fmla="*/ 2755929 h 5142621"/>
              <a:gd name="connsiteX1635" fmla="*/ 5055721 w 6268558"/>
              <a:gd name="connsiteY1635" fmla="*/ 2105386 h 5142621"/>
              <a:gd name="connsiteX1636" fmla="*/ 4233114 w 6268558"/>
              <a:gd name="connsiteY1636" fmla="*/ 1920565 h 5142621"/>
              <a:gd name="connsiteX1637" fmla="*/ 3677517 w 6268558"/>
              <a:gd name="connsiteY1637" fmla="*/ 1953581 h 5142621"/>
              <a:gd name="connsiteX1638" fmla="*/ 3574411 w 6268558"/>
              <a:gd name="connsiteY1638" fmla="*/ 1982235 h 5142621"/>
              <a:gd name="connsiteX1639" fmla="*/ 3484135 w 6268558"/>
              <a:gd name="connsiteY1639" fmla="*/ 2018718 h 5142621"/>
              <a:gd name="connsiteX1640" fmla="*/ 3444114 w 6268558"/>
              <a:gd name="connsiteY1640" fmla="*/ 2040391 h 5142621"/>
              <a:gd name="connsiteX1641" fmla="*/ 3408291 w 6268558"/>
              <a:gd name="connsiteY1641" fmla="*/ 2064800 h 5142621"/>
              <a:gd name="connsiteX1642" fmla="*/ 3378270 w 6268558"/>
              <a:gd name="connsiteY1642" fmla="*/ 2092062 h 5142621"/>
              <a:gd name="connsiteX1643" fmla="*/ 3356550 w 6268558"/>
              <a:gd name="connsiteY1643" fmla="*/ 2121069 h 5142621"/>
              <a:gd name="connsiteX1644" fmla="*/ 3344003 w 6268558"/>
              <a:gd name="connsiteY1644" fmla="*/ 2149558 h 5142621"/>
              <a:gd name="connsiteX1645" fmla="*/ 3338650 w 6268558"/>
              <a:gd name="connsiteY1645" fmla="*/ 2176112 h 5142621"/>
              <a:gd name="connsiteX1646" fmla="*/ 3339640 w 6268558"/>
              <a:gd name="connsiteY1646" fmla="*/ 2224317 h 5142621"/>
              <a:gd name="connsiteX1647" fmla="*/ 3359521 w 6268558"/>
              <a:gd name="connsiteY1647" fmla="*/ 2312353 h 5142621"/>
              <a:gd name="connsiteX1648" fmla="*/ 3386453 w 6268558"/>
              <a:gd name="connsiteY1648" fmla="*/ 2399233 h 5142621"/>
              <a:gd name="connsiteX1649" fmla="*/ 3414989 w 6268558"/>
              <a:gd name="connsiteY1649" fmla="*/ 2488472 h 5142621"/>
              <a:gd name="connsiteX1650" fmla="*/ 3506987 w 6268558"/>
              <a:gd name="connsiteY1650" fmla="*/ 2882194 h 5142621"/>
              <a:gd name="connsiteX1651" fmla="*/ 3504251 w 6268558"/>
              <a:gd name="connsiteY1651" fmla="*/ 3348199 h 5142621"/>
              <a:gd name="connsiteX1652" fmla="*/ 3484536 w 6268558"/>
              <a:gd name="connsiteY1652" fmla="*/ 3475218 h 5142621"/>
              <a:gd name="connsiteX1653" fmla="*/ 3471848 w 6268558"/>
              <a:gd name="connsiteY1653" fmla="*/ 3539954 h 5142621"/>
              <a:gd name="connsiteX1654" fmla="*/ 3457203 w 6268558"/>
              <a:gd name="connsiteY1654" fmla="*/ 3605539 h 5142621"/>
              <a:gd name="connsiteX1655" fmla="*/ 3421568 w 6268558"/>
              <a:gd name="connsiteY1655" fmla="*/ 3739774 h 5142621"/>
              <a:gd name="connsiteX1656" fmla="*/ 3398787 w 6268558"/>
              <a:gd name="connsiteY1656" fmla="*/ 3810571 h 5142621"/>
              <a:gd name="connsiteX1657" fmla="*/ 3369473 w 6268558"/>
              <a:gd name="connsiteY1657" fmla="*/ 3886910 h 5142621"/>
              <a:gd name="connsiteX1658" fmla="*/ 3350795 w 6268558"/>
              <a:gd name="connsiteY1658" fmla="*/ 3927756 h 5142621"/>
              <a:gd name="connsiteX1659" fmla="*/ 3329335 w 6268558"/>
              <a:gd name="connsiteY1659" fmla="*/ 3968602 h 5142621"/>
              <a:gd name="connsiteX1660" fmla="*/ 3306577 w 6268558"/>
              <a:gd name="connsiteY1660" fmla="*/ 4006406 h 5142621"/>
              <a:gd name="connsiteX1661" fmla="*/ 3283913 w 6268558"/>
              <a:gd name="connsiteY1661" fmla="*/ 4040059 h 5142621"/>
              <a:gd name="connsiteX1662" fmla="*/ 3239671 w 6268558"/>
              <a:gd name="connsiteY1662" fmla="*/ 4098499 h 5142621"/>
              <a:gd name="connsiteX1663" fmla="*/ 3228705 w 6268558"/>
              <a:gd name="connsiteY1663" fmla="*/ 4111965 h 5142621"/>
              <a:gd name="connsiteX1664" fmla="*/ 3223210 w 6268558"/>
              <a:gd name="connsiteY1664" fmla="*/ 4118568 h 5142621"/>
              <a:gd name="connsiteX1665" fmla="*/ 3217786 w 6268558"/>
              <a:gd name="connsiteY1665" fmla="*/ 4124935 h 5142621"/>
              <a:gd name="connsiteX1666" fmla="*/ 3212338 w 6268558"/>
              <a:gd name="connsiteY1666" fmla="*/ 4131256 h 5142621"/>
              <a:gd name="connsiteX1667" fmla="*/ 3206914 w 6268558"/>
              <a:gd name="connsiteY1667" fmla="*/ 4137458 h 5142621"/>
              <a:gd name="connsiteX1668" fmla="*/ 3195971 w 6268558"/>
              <a:gd name="connsiteY1668" fmla="*/ 4149839 h 5142621"/>
              <a:gd name="connsiteX1669" fmla="*/ 2999877 w 6268558"/>
              <a:gd name="connsiteY1669" fmla="*/ 4340840 h 5142621"/>
              <a:gd name="connsiteX1670" fmla="*/ 2354640 w 6268558"/>
              <a:gd name="connsiteY1670" fmla="*/ 4632989 h 5142621"/>
              <a:gd name="connsiteX1671" fmla="*/ 3000278 w 6268558"/>
              <a:gd name="connsiteY1671" fmla="*/ 4340038 h 5142621"/>
              <a:gd name="connsiteX1672" fmla="*/ 3196490 w 6268558"/>
              <a:gd name="connsiteY1672" fmla="*/ 4148519 h 5142621"/>
              <a:gd name="connsiteX1673" fmla="*/ 3207433 w 6268558"/>
              <a:gd name="connsiteY1673" fmla="*/ 4136114 h 5142621"/>
              <a:gd name="connsiteX1674" fmla="*/ 3212857 w 6268558"/>
              <a:gd name="connsiteY1674" fmla="*/ 4129911 h 5142621"/>
              <a:gd name="connsiteX1675" fmla="*/ 3218281 w 6268558"/>
              <a:gd name="connsiteY1675" fmla="*/ 4123615 h 5142621"/>
              <a:gd name="connsiteX1676" fmla="*/ 3223705 w 6268558"/>
              <a:gd name="connsiteY1676" fmla="*/ 4117247 h 5142621"/>
              <a:gd name="connsiteX1677" fmla="*/ 3229200 w 6268558"/>
              <a:gd name="connsiteY1677" fmla="*/ 4110621 h 5142621"/>
              <a:gd name="connsiteX1678" fmla="*/ 3240166 w 6268558"/>
              <a:gd name="connsiteY1678" fmla="*/ 4097154 h 5142621"/>
              <a:gd name="connsiteX1679" fmla="*/ 3284267 w 6268558"/>
              <a:gd name="connsiteY1679" fmla="*/ 4038809 h 5142621"/>
              <a:gd name="connsiteX1680" fmla="*/ 3306742 w 6268558"/>
              <a:gd name="connsiteY1680" fmla="*/ 4005392 h 5142621"/>
              <a:gd name="connsiteX1681" fmla="*/ 3329193 w 6268558"/>
              <a:gd name="connsiteY1681" fmla="*/ 3968036 h 5142621"/>
              <a:gd name="connsiteX1682" fmla="*/ 3368718 w 6268558"/>
              <a:gd name="connsiteY1682" fmla="*/ 3887523 h 5142621"/>
              <a:gd name="connsiteX1683" fmla="*/ 3397773 w 6268558"/>
              <a:gd name="connsiteY1683" fmla="*/ 3811797 h 5142621"/>
              <a:gd name="connsiteX1684" fmla="*/ 3420437 w 6268558"/>
              <a:gd name="connsiteY1684" fmla="*/ 3741284 h 5142621"/>
              <a:gd name="connsiteX1685" fmla="*/ 3455929 w 6268558"/>
              <a:gd name="connsiteY1685" fmla="*/ 3607378 h 5142621"/>
              <a:gd name="connsiteX1686" fmla="*/ 3470527 w 6268558"/>
              <a:gd name="connsiteY1686" fmla="*/ 3541935 h 5142621"/>
              <a:gd name="connsiteX1687" fmla="*/ 3483191 w 6268558"/>
              <a:gd name="connsiteY1687" fmla="*/ 3477317 h 5142621"/>
              <a:gd name="connsiteX1688" fmla="*/ 3502836 w 6268558"/>
              <a:gd name="connsiteY1688" fmla="*/ 3350533 h 5142621"/>
              <a:gd name="connsiteX1689" fmla="*/ 3505289 w 6268558"/>
              <a:gd name="connsiteY1689" fmla="*/ 2885331 h 5142621"/>
              <a:gd name="connsiteX1690" fmla="*/ 3412513 w 6268558"/>
              <a:gd name="connsiteY1690" fmla="*/ 2492198 h 5142621"/>
              <a:gd name="connsiteX1691" fmla="*/ 3383576 w 6268558"/>
              <a:gd name="connsiteY1691" fmla="*/ 2403077 h 5142621"/>
              <a:gd name="connsiteX1692" fmla="*/ 3356125 w 6268558"/>
              <a:gd name="connsiteY1692" fmla="*/ 2316268 h 5142621"/>
              <a:gd name="connsiteX1693" fmla="*/ 3335490 w 6268558"/>
              <a:gd name="connsiteY1693" fmla="*/ 2227996 h 5142621"/>
              <a:gd name="connsiteX1694" fmla="*/ 3334028 w 6268558"/>
              <a:gd name="connsiteY1694" fmla="*/ 2179131 h 5142621"/>
              <a:gd name="connsiteX1695" fmla="*/ 3339263 w 6268558"/>
              <a:gd name="connsiteY1695" fmla="*/ 2151775 h 5142621"/>
              <a:gd name="connsiteX1696" fmla="*/ 3352092 w 6268558"/>
              <a:gd name="connsiteY1696" fmla="*/ 2121942 h 5142621"/>
              <a:gd name="connsiteX1697" fmla="*/ 3374779 w 6268558"/>
              <a:gd name="connsiteY1697" fmla="*/ 2091307 h 5142621"/>
              <a:gd name="connsiteX1698" fmla="*/ 3405980 w 6268558"/>
              <a:gd name="connsiteY1698" fmla="*/ 2062866 h 5142621"/>
              <a:gd name="connsiteX1699" fmla="*/ 3442817 w 6268558"/>
              <a:gd name="connsiteY1699" fmla="*/ 2037797 h 5142621"/>
              <a:gd name="connsiteX1700" fmla="*/ 3483616 w 6268558"/>
              <a:gd name="connsiteY1700" fmla="*/ 2015770 h 5142621"/>
              <a:gd name="connsiteX1701" fmla="*/ 3575048 w 6268558"/>
              <a:gd name="connsiteY1701" fmla="*/ 1979004 h 5142621"/>
              <a:gd name="connsiteX1702" fmla="*/ 3679121 w 6268558"/>
              <a:gd name="connsiteY1702" fmla="*/ 1950303 h 5142621"/>
              <a:gd name="connsiteX1703" fmla="*/ 4075058 w 6268558"/>
              <a:gd name="connsiteY1703" fmla="*/ 1911605 h 5142621"/>
              <a:gd name="connsiteX1704" fmla="*/ 4031605 w 6268558"/>
              <a:gd name="connsiteY1704" fmla="*/ 1874980 h 5142621"/>
              <a:gd name="connsiteX1705" fmla="*/ 4197032 w 6268558"/>
              <a:gd name="connsiteY1705" fmla="*/ 1877832 h 5142621"/>
              <a:gd name="connsiteX1706" fmla="*/ 5044731 w 6268558"/>
              <a:gd name="connsiteY1706" fmla="*/ 2045863 h 5142621"/>
              <a:gd name="connsiteX1707" fmla="*/ 6118427 w 6268558"/>
              <a:gd name="connsiteY1707" fmla="*/ 2685345 h 5142621"/>
              <a:gd name="connsiteX1708" fmla="*/ 6099655 w 6268558"/>
              <a:gd name="connsiteY1708" fmla="*/ 2678435 h 5142621"/>
              <a:gd name="connsiteX1709" fmla="*/ 5033127 w 6268558"/>
              <a:gd name="connsiteY1709" fmla="*/ 2046311 h 5142621"/>
              <a:gd name="connsiteX1710" fmla="*/ 4191513 w 6268558"/>
              <a:gd name="connsiteY1710" fmla="*/ 1880662 h 5142621"/>
              <a:gd name="connsiteX1711" fmla="*/ 3631294 w 6268558"/>
              <a:gd name="connsiteY1711" fmla="*/ 1925164 h 5142621"/>
              <a:gd name="connsiteX1712" fmla="*/ 3527975 w 6268558"/>
              <a:gd name="connsiteY1712" fmla="*/ 1955987 h 5142621"/>
              <a:gd name="connsiteX1713" fmla="*/ 3437746 w 6268558"/>
              <a:gd name="connsiteY1713" fmla="*/ 1994451 h 5142621"/>
              <a:gd name="connsiteX1714" fmla="*/ 3397820 w 6268558"/>
              <a:gd name="connsiteY1714" fmla="*/ 2017044 h 5142621"/>
              <a:gd name="connsiteX1715" fmla="*/ 3362138 w 6268558"/>
              <a:gd name="connsiteY1715" fmla="*/ 2042325 h 5142621"/>
              <a:gd name="connsiteX1716" fmla="*/ 3332305 w 6268558"/>
              <a:gd name="connsiteY1716" fmla="*/ 2070389 h 5142621"/>
              <a:gd name="connsiteX1717" fmla="*/ 3310774 w 6268558"/>
              <a:gd name="connsiteY1717" fmla="*/ 2100057 h 5142621"/>
              <a:gd name="connsiteX1718" fmla="*/ 3298440 w 6268558"/>
              <a:gd name="connsiteY1718" fmla="*/ 2129017 h 5142621"/>
              <a:gd name="connsiteX1719" fmla="*/ 3293299 w 6268558"/>
              <a:gd name="connsiteY1719" fmla="*/ 2155902 h 5142621"/>
              <a:gd name="connsiteX1720" fmla="*/ 3294761 w 6268558"/>
              <a:gd name="connsiteY1720" fmla="*/ 2204413 h 5142621"/>
              <a:gd name="connsiteX1721" fmla="*/ 3315774 w 6268558"/>
              <a:gd name="connsiteY1721" fmla="*/ 2292401 h 5142621"/>
              <a:gd name="connsiteX1722" fmla="*/ 3344262 w 6268558"/>
              <a:gd name="connsiteY1722" fmla="*/ 2378693 h 5142621"/>
              <a:gd name="connsiteX1723" fmla="*/ 3374803 w 6268558"/>
              <a:gd name="connsiteY1723" fmla="*/ 2466917 h 5142621"/>
              <a:gd name="connsiteX1724" fmla="*/ 3478852 w 6268558"/>
              <a:gd name="connsiteY1724" fmla="*/ 2852810 h 5142621"/>
              <a:gd name="connsiteX1725" fmla="*/ 3491799 w 6268558"/>
              <a:gd name="connsiteY1725" fmla="*/ 3307753 h 5142621"/>
              <a:gd name="connsiteX1726" fmla="*/ 3475998 w 6268558"/>
              <a:gd name="connsiteY1726" fmla="*/ 3432037 h 5142621"/>
              <a:gd name="connsiteX1727" fmla="*/ 3465221 w 6268558"/>
              <a:gd name="connsiteY1727" fmla="*/ 3495476 h 5142621"/>
              <a:gd name="connsiteX1728" fmla="*/ 3452462 w 6268558"/>
              <a:gd name="connsiteY1728" fmla="*/ 3559811 h 5142621"/>
              <a:gd name="connsiteX1729" fmla="*/ 3420412 w 6268558"/>
              <a:gd name="connsiteY1729" fmla="*/ 3691853 h 5142621"/>
              <a:gd name="connsiteX1730" fmla="*/ 3399329 w 6268558"/>
              <a:gd name="connsiteY1730" fmla="*/ 3761848 h 5142621"/>
              <a:gd name="connsiteX1731" fmla="*/ 3371548 w 6268558"/>
              <a:gd name="connsiteY1731" fmla="*/ 3837763 h 5142621"/>
              <a:gd name="connsiteX1732" fmla="*/ 3353507 w 6268558"/>
              <a:gd name="connsiteY1732" fmla="*/ 3878703 h 5142621"/>
              <a:gd name="connsiteX1733" fmla="*/ 3332494 w 6268558"/>
              <a:gd name="connsiteY1733" fmla="*/ 3919927 h 5142621"/>
              <a:gd name="connsiteX1734" fmla="*/ 3309972 w 6268558"/>
              <a:gd name="connsiteY1734" fmla="*/ 3958367 h 5142621"/>
              <a:gd name="connsiteX1735" fmla="*/ 3287379 w 6268558"/>
              <a:gd name="connsiteY1735" fmla="*/ 3992752 h 5142621"/>
              <a:gd name="connsiteX1736" fmla="*/ 3242949 w 6268558"/>
              <a:gd name="connsiteY1736" fmla="*/ 4052747 h 5142621"/>
              <a:gd name="connsiteX1737" fmla="*/ 3231888 w 6268558"/>
              <a:gd name="connsiteY1737" fmla="*/ 4066591 h 5142621"/>
              <a:gd name="connsiteX1738" fmla="*/ 3226346 w 6268558"/>
              <a:gd name="connsiteY1738" fmla="*/ 4073383 h 5142621"/>
              <a:gd name="connsiteX1739" fmla="*/ 3220851 w 6268558"/>
              <a:gd name="connsiteY1739" fmla="*/ 4079939 h 5142621"/>
              <a:gd name="connsiteX1740" fmla="*/ 3215356 w 6268558"/>
              <a:gd name="connsiteY1740" fmla="*/ 4086448 h 5142621"/>
              <a:gd name="connsiteX1741" fmla="*/ 3209885 w 6268558"/>
              <a:gd name="connsiteY1741" fmla="*/ 4092815 h 5142621"/>
              <a:gd name="connsiteX1742" fmla="*/ 3198825 w 6268558"/>
              <a:gd name="connsiteY1742" fmla="*/ 4105550 h 5142621"/>
              <a:gd name="connsiteX1743" fmla="*/ 2999502 w 6268558"/>
              <a:gd name="connsiteY1743" fmla="*/ 4300654 h 5142621"/>
              <a:gd name="connsiteX1744" fmla="*/ 2731835 w 6268558"/>
              <a:gd name="connsiteY1744" fmla="*/ 4470571 h 5142621"/>
              <a:gd name="connsiteX1745" fmla="*/ 2329717 w 6268558"/>
              <a:gd name="connsiteY1745" fmla="*/ 4586223 h 5142621"/>
              <a:gd name="connsiteX1746" fmla="*/ 2732071 w 6268558"/>
              <a:gd name="connsiteY1746" fmla="*/ 4470194 h 5142621"/>
              <a:gd name="connsiteX1747" fmla="*/ 2999904 w 6268558"/>
              <a:gd name="connsiteY1747" fmla="*/ 4299829 h 5142621"/>
              <a:gd name="connsiteX1748" fmla="*/ 3199343 w 6268558"/>
              <a:gd name="connsiteY1748" fmla="*/ 4104229 h 5142621"/>
              <a:gd name="connsiteX1749" fmla="*/ 3210404 w 6268558"/>
              <a:gd name="connsiteY1749" fmla="*/ 4091471 h 5142621"/>
              <a:gd name="connsiteX1750" fmla="*/ 3215899 w 6268558"/>
              <a:gd name="connsiteY1750" fmla="*/ 4085080 h 5142621"/>
              <a:gd name="connsiteX1751" fmla="*/ 3221370 w 6268558"/>
              <a:gd name="connsiteY1751" fmla="*/ 4078594 h 5142621"/>
              <a:gd name="connsiteX1752" fmla="*/ 3226841 w 6268558"/>
              <a:gd name="connsiteY1752" fmla="*/ 4072039 h 5142621"/>
              <a:gd name="connsiteX1753" fmla="*/ 3232383 w 6268558"/>
              <a:gd name="connsiteY1753" fmla="*/ 4065223 h 5142621"/>
              <a:gd name="connsiteX1754" fmla="*/ 3243420 w 6268558"/>
              <a:gd name="connsiteY1754" fmla="*/ 4051380 h 5142621"/>
              <a:gd name="connsiteX1755" fmla="*/ 3287710 w 6268558"/>
              <a:gd name="connsiteY1755" fmla="*/ 3991478 h 5142621"/>
              <a:gd name="connsiteX1756" fmla="*/ 3310114 w 6268558"/>
              <a:gd name="connsiteY1756" fmla="*/ 3957330 h 5142621"/>
              <a:gd name="connsiteX1757" fmla="*/ 3332329 w 6268558"/>
              <a:gd name="connsiteY1757" fmla="*/ 3919361 h 5142621"/>
              <a:gd name="connsiteX1758" fmla="*/ 3370770 w 6268558"/>
              <a:gd name="connsiteY1758" fmla="*/ 3838376 h 5142621"/>
              <a:gd name="connsiteX1759" fmla="*/ 3398315 w 6268558"/>
              <a:gd name="connsiteY1759" fmla="*/ 3763051 h 5142621"/>
              <a:gd name="connsiteX1760" fmla="*/ 3419304 w 6268558"/>
              <a:gd name="connsiteY1760" fmla="*/ 3693363 h 5142621"/>
              <a:gd name="connsiteX1761" fmla="*/ 3451236 w 6268558"/>
              <a:gd name="connsiteY1761" fmla="*/ 3561650 h 5142621"/>
              <a:gd name="connsiteX1762" fmla="*/ 3463971 w 6268558"/>
              <a:gd name="connsiteY1762" fmla="*/ 3497433 h 5142621"/>
              <a:gd name="connsiteX1763" fmla="*/ 3474725 w 6268558"/>
              <a:gd name="connsiteY1763" fmla="*/ 3434112 h 5142621"/>
              <a:gd name="connsiteX1764" fmla="*/ 3490455 w 6268558"/>
              <a:gd name="connsiteY1764" fmla="*/ 3310064 h 5142621"/>
              <a:gd name="connsiteX1765" fmla="*/ 3477248 w 6268558"/>
              <a:gd name="connsiteY1765" fmla="*/ 2855923 h 5142621"/>
              <a:gd name="connsiteX1766" fmla="*/ 3372421 w 6268558"/>
              <a:gd name="connsiteY1766" fmla="*/ 2470644 h 5142621"/>
              <a:gd name="connsiteX1767" fmla="*/ 3341479 w 6268558"/>
              <a:gd name="connsiteY1767" fmla="*/ 2382537 h 5142621"/>
              <a:gd name="connsiteX1768" fmla="*/ 3312472 w 6268558"/>
              <a:gd name="connsiteY1768" fmla="*/ 2296316 h 5142621"/>
              <a:gd name="connsiteX1769" fmla="*/ 3290681 w 6268558"/>
              <a:gd name="connsiteY1769" fmla="*/ 2208115 h 5142621"/>
              <a:gd name="connsiteX1770" fmla="*/ 3288747 w 6268558"/>
              <a:gd name="connsiteY1770" fmla="*/ 2158944 h 5142621"/>
              <a:gd name="connsiteX1771" fmla="*/ 3293771 w 6268558"/>
              <a:gd name="connsiteY1771" fmla="*/ 2131281 h 5142621"/>
              <a:gd name="connsiteX1772" fmla="*/ 3306388 w 6268558"/>
              <a:gd name="connsiteY1772" fmla="*/ 2100953 h 5142621"/>
              <a:gd name="connsiteX1773" fmla="*/ 3328862 w 6268558"/>
              <a:gd name="connsiteY1773" fmla="*/ 2069634 h 5142621"/>
              <a:gd name="connsiteX1774" fmla="*/ 3359874 w 6268558"/>
              <a:gd name="connsiteY1774" fmla="*/ 2040368 h 5142621"/>
              <a:gd name="connsiteX1775" fmla="*/ 3396570 w 6268558"/>
              <a:gd name="connsiteY1775" fmla="*/ 2014402 h 5142621"/>
              <a:gd name="connsiteX1776" fmla="*/ 3437274 w 6268558"/>
              <a:gd name="connsiteY1776" fmla="*/ 1991432 h 5142621"/>
              <a:gd name="connsiteX1777" fmla="*/ 3528683 w 6268558"/>
              <a:gd name="connsiteY1777" fmla="*/ 1952662 h 5142621"/>
              <a:gd name="connsiteX1778" fmla="*/ 3632944 w 6268558"/>
              <a:gd name="connsiteY1778" fmla="*/ 1921768 h 5142621"/>
              <a:gd name="connsiteX1779" fmla="*/ 4031605 w 6268558"/>
              <a:gd name="connsiteY1779" fmla="*/ 1874980 h 5142621"/>
              <a:gd name="connsiteX1780" fmla="*/ 4155053 w 6268558"/>
              <a:gd name="connsiteY1780" fmla="*/ 1839300 h 5142621"/>
              <a:gd name="connsiteX1781" fmla="*/ 5020322 w 6268558"/>
              <a:gd name="connsiteY1781" fmla="*/ 1988367 h 5142621"/>
              <a:gd name="connsiteX1782" fmla="*/ 6153684 w 6268558"/>
              <a:gd name="connsiteY1782" fmla="*/ 2607096 h 5142621"/>
              <a:gd name="connsiteX1783" fmla="*/ 6134039 w 6268558"/>
              <a:gd name="connsiteY1783" fmla="*/ 2600210 h 5142621"/>
              <a:gd name="connsiteX1784" fmla="*/ 5008577 w 6268558"/>
              <a:gd name="connsiteY1784" fmla="*/ 1988885 h 5142621"/>
              <a:gd name="connsiteX1785" fmla="*/ 4149582 w 6268558"/>
              <a:gd name="connsiteY1785" fmla="*/ 1842083 h 5142621"/>
              <a:gd name="connsiteX1786" fmla="*/ 3585259 w 6268558"/>
              <a:gd name="connsiteY1786" fmla="*/ 1897618 h 5142621"/>
              <a:gd name="connsiteX1787" fmla="*/ 3481799 w 6268558"/>
              <a:gd name="connsiteY1787" fmla="*/ 1930541 h 5142621"/>
              <a:gd name="connsiteX1788" fmla="*/ 3391617 w 6268558"/>
              <a:gd name="connsiteY1788" fmla="*/ 1970939 h 5142621"/>
              <a:gd name="connsiteX1789" fmla="*/ 3351785 w 6268558"/>
              <a:gd name="connsiteY1789" fmla="*/ 1994451 h 5142621"/>
              <a:gd name="connsiteX1790" fmla="*/ 3316222 w 6268558"/>
              <a:gd name="connsiteY1790" fmla="*/ 2020581 h 5142621"/>
              <a:gd name="connsiteX1791" fmla="*/ 3286554 w 6268558"/>
              <a:gd name="connsiteY1791" fmla="*/ 2049424 h 5142621"/>
              <a:gd name="connsiteX1792" fmla="*/ 3265211 w 6268558"/>
              <a:gd name="connsiteY1792" fmla="*/ 2079775 h 5142621"/>
              <a:gd name="connsiteX1793" fmla="*/ 3253066 w 6268558"/>
              <a:gd name="connsiteY1793" fmla="*/ 2109254 h 5142621"/>
              <a:gd name="connsiteX1794" fmla="*/ 3248090 w 6268558"/>
              <a:gd name="connsiteY1794" fmla="*/ 2136469 h 5142621"/>
              <a:gd name="connsiteX1795" fmla="*/ 3249906 w 6268558"/>
              <a:gd name="connsiteY1795" fmla="*/ 2185357 h 5142621"/>
              <a:gd name="connsiteX1796" fmla="*/ 3271861 w 6268558"/>
              <a:gd name="connsiteY1796" fmla="*/ 2273488 h 5142621"/>
              <a:gd name="connsiteX1797" fmla="*/ 3301694 w 6268558"/>
              <a:gd name="connsiteY1797" fmla="*/ 2359401 h 5142621"/>
              <a:gd name="connsiteX1798" fmla="*/ 3334027 w 6268558"/>
              <a:gd name="connsiteY1798" fmla="*/ 2446825 h 5142621"/>
              <a:gd name="connsiteX1799" fmla="*/ 3449372 w 6268558"/>
              <a:gd name="connsiteY1799" fmla="*/ 2825642 h 5142621"/>
              <a:gd name="connsiteX1800" fmla="*/ 3477484 w 6268558"/>
              <a:gd name="connsiteY1800" fmla="*/ 3269879 h 5142621"/>
              <a:gd name="connsiteX1801" fmla="*/ 3465527 w 6268558"/>
              <a:gd name="connsiteY1801" fmla="*/ 3391450 h 5142621"/>
              <a:gd name="connsiteX1802" fmla="*/ 3456636 w 6268558"/>
              <a:gd name="connsiteY1802" fmla="*/ 3453569 h 5142621"/>
              <a:gd name="connsiteX1803" fmla="*/ 3445717 w 6268558"/>
              <a:gd name="connsiteY1803" fmla="*/ 3516654 h 5142621"/>
              <a:gd name="connsiteX1804" fmla="*/ 3417252 w 6268558"/>
              <a:gd name="connsiteY1804" fmla="*/ 3646408 h 5142621"/>
              <a:gd name="connsiteX1805" fmla="*/ 3397867 w 6268558"/>
              <a:gd name="connsiteY1805" fmla="*/ 3715484 h 5142621"/>
              <a:gd name="connsiteX1806" fmla="*/ 3371666 w 6268558"/>
              <a:gd name="connsiteY1806" fmla="*/ 3790879 h 5142621"/>
              <a:gd name="connsiteX1807" fmla="*/ 3354308 w 6268558"/>
              <a:gd name="connsiteY1807" fmla="*/ 3831820 h 5142621"/>
              <a:gd name="connsiteX1808" fmla="*/ 3333791 w 6268558"/>
              <a:gd name="connsiteY1808" fmla="*/ 3873326 h 5142621"/>
              <a:gd name="connsiteX1809" fmla="*/ 3311552 w 6268558"/>
              <a:gd name="connsiteY1809" fmla="*/ 3912286 h 5142621"/>
              <a:gd name="connsiteX1810" fmla="*/ 3289054 w 6268558"/>
              <a:gd name="connsiteY1810" fmla="*/ 3947331 h 5142621"/>
              <a:gd name="connsiteX1811" fmla="*/ 3244529 w 6268558"/>
              <a:gd name="connsiteY1811" fmla="*/ 4008694 h 5142621"/>
              <a:gd name="connsiteX1812" fmla="*/ 3233397 w 6268558"/>
              <a:gd name="connsiteY1812" fmla="*/ 4022867 h 5142621"/>
              <a:gd name="connsiteX1813" fmla="*/ 3227832 w 6268558"/>
              <a:gd name="connsiteY1813" fmla="*/ 4029825 h 5142621"/>
              <a:gd name="connsiteX1814" fmla="*/ 3222290 w 6268558"/>
              <a:gd name="connsiteY1814" fmla="*/ 4036546 h 5142621"/>
              <a:gd name="connsiteX1815" fmla="*/ 3216748 w 6268558"/>
              <a:gd name="connsiteY1815" fmla="*/ 4043220 h 5142621"/>
              <a:gd name="connsiteX1816" fmla="*/ 3211206 w 6268558"/>
              <a:gd name="connsiteY1816" fmla="*/ 4049752 h 5142621"/>
              <a:gd name="connsiteX1817" fmla="*/ 3200027 w 6268558"/>
              <a:gd name="connsiteY1817" fmla="*/ 4062794 h 5142621"/>
              <a:gd name="connsiteX1818" fmla="*/ 2997732 w 6268558"/>
              <a:gd name="connsiteY1818" fmla="*/ 4261270 h 5142621"/>
              <a:gd name="connsiteX1819" fmla="*/ 2722964 w 6268558"/>
              <a:gd name="connsiteY1819" fmla="*/ 4430739 h 5142621"/>
              <a:gd name="connsiteX1820" fmla="*/ 2302145 w 6268558"/>
              <a:gd name="connsiteY1820" fmla="*/ 4538279 h 5142621"/>
              <a:gd name="connsiteX1821" fmla="*/ 2723200 w 6268558"/>
              <a:gd name="connsiteY1821" fmla="*/ 4430362 h 5142621"/>
              <a:gd name="connsiteX1822" fmla="*/ 2998133 w 6268558"/>
              <a:gd name="connsiteY1822" fmla="*/ 4260468 h 5142621"/>
              <a:gd name="connsiteX1823" fmla="*/ 3200522 w 6268558"/>
              <a:gd name="connsiteY1823" fmla="*/ 4061497 h 5142621"/>
              <a:gd name="connsiteX1824" fmla="*/ 3211701 w 6268558"/>
              <a:gd name="connsiteY1824" fmla="*/ 4048432 h 5142621"/>
              <a:gd name="connsiteX1825" fmla="*/ 3217243 w 6268558"/>
              <a:gd name="connsiteY1825" fmla="*/ 4041876 h 5142621"/>
              <a:gd name="connsiteX1826" fmla="*/ 3222761 w 6268558"/>
              <a:gd name="connsiteY1826" fmla="*/ 4035225 h 5142621"/>
              <a:gd name="connsiteX1827" fmla="*/ 3228280 w 6268558"/>
              <a:gd name="connsiteY1827" fmla="*/ 4028527 h 5142621"/>
              <a:gd name="connsiteX1828" fmla="*/ 3233845 w 6268558"/>
              <a:gd name="connsiteY1828" fmla="*/ 4021547 h 5142621"/>
              <a:gd name="connsiteX1829" fmla="*/ 3244953 w 6268558"/>
              <a:gd name="connsiteY1829" fmla="*/ 4007373 h 5142621"/>
              <a:gd name="connsiteX1830" fmla="*/ 3289313 w 6268558"/>
              <a:gd name="connsiteY1830" fmla="*/ 3946128 h 5142621"/>
              <a:gd name="connsiteX1831" fmla="*/ 3311623 w 6268558"/>
              <a:gd name="connsiteY1831" fmla="*/ 3911342 h 5142621"/>
              <a:gd name="connsiteX1832" fmla="*/ 3333555 w 6268558"/>
              <a:gd name="connsiteY1832" fmla="*/ 3872878 h 5142621"/>
              <a:gd name="connsiteX1833" fmla="*/ 3370840 w 6268558"/>
              <a:gd name="connsiteY1833" fmla="*/ 3791634 h 5142621"/>
              <a:gd name="connsiteX1834" fmla="*/ 3396805 w 6268558"/>
              <a:gd name="connsiteY1834" fmla="*/ 3716852 h 5142621"/>
              <a:gd name="connsiteX1835" fmla="*/ 3416097 w 6268558"/>
              <a:gd name="connsiteY1835" fmla="*/ 3648083 h 5142621"/>
              <a:gd name="connsiteX1836" fmla="*/ 3444444 w 6268558"/>
              <a:gd name="connsiteY1836" fmla="*/ 3518658 h 5142621"/>
              <a:gd name="connsiteX1837" fmla="*/ 3455315 w 6268558"/>
              <a:gd name="connsiteY1837" fmla="*/ 3455714 h 5142621"/>
              <a:gd name="connsiteX1838" fmla="*/ 3464183 w 6268558"/>
              <a:gd name="connsiteY1838" fmla="*/ 3393714 h 5142621"/>
              <a:gd name="connsiteX1839" fmla="*/ 3476069 w 6268558"/>
              <a:gd name="connsiteY1839" fmla="*/ 3272379 h 5142621"/>
              <a:gd name="connsiteX1840" fmla="*/ 3447745 w 6268558"/>
              <a:gd name="connsiteY1840" fmla="*/ 2828967 h 5142621"/>
              <a:gd name="connsiteX1841" fmla="*/ 3331621 w 6268558"/>
              <a:gd name="connsiteY1841" fmla="*/ 2450763 h 5142621"/>
              <a:gd name="connsiteX1842" fmla="*/ 3298864 w 6268558"/>
              <a:gd name="connsiteY1842" fmla="*/ 2363481 h 5142621"/>
              <a:gd name="connsiteX1843" fmla="*/ 3268489 w 6268558"/>
              <a:gd name="connsiteY1843" fmla="*/ 2277662 h 5142621"/>
              <a:gd name="connsiteX1844" fmla="*/ 3245755 w 6268558"/>
              <a:gd name="connsiteY1844" fmla="*/ 2189319 h 5142621"/>
              <a:gd name="connsiteX1845" fmla="*/ 3243444 w 6268558"/>
              <a:gd name="connsiteY1845" fmla="*/ 2139747 h 5142621"/>
              <a:gd name="connsiteX1846" fmla="*/ 3248278 w 6268558"/>
              <a:gd name="connsiteY1846" fmla="*/ 2111707 h 5142621"/>
              <a:gd name="connsiteX1847" fmla="*/ 3260707 w 6268558"/>
              <a:gd name="connsiteY1847" fmla="*/ 2080860 h 5142621"/>
              <a:gd name="connsiteX1848" fmla="*/ 3282993 w 6268558"/>
              <a:gd name="connsiteY1848" fmla="*/ 2048834 h 5142621"/>
              <a:gd name="connsiteX1849" fmla="*/ 3313840 w 6268558"/>
              <a:gd name="connsiteY1849" fmla="*/ 2018742 h 5142621"/>
              <a:gd name="connsiteX1850" fmla="*/ 3350394 w 6268558"/>
              <a:gd name="connsiteY1850" fmla="*/ 1991881 h 5142621"/>
              <a:gd name="connsiteX1851" fmla="*/ 3391004 w 6268558"/>
              <a:gd name="connsiteY1851" fmla="*/ 1967991 h 5142621"/>
              <a:gd name="connsiteX1852" fmla="*/ 3482365 w 6268558"/>
              <a:gd name="connsiteY1852" fmla="*/ 1927286 h 5142621"/>
              <a:gd name="connsiteX1853" fmla="*/ 3586792 w 6268558"/>
              <a:gd name="connsiteY1853" fmla="*/ 1894293 h 5142621"/>
              <a:gd name="connsiteX1854" fmla="*/ 4155053 w 6268558"/>
              <a:gd name="connsiteY1854" fmla="*/ 1839300 h 5142621"/>
              <a:gd name="connsiteX1855" fmla="*/ 4113122 w 6268558"/>
              <a:gd name="connsiteY1855" fmla="*/ 1801667 h 5142621"/>
              <a:gd name="connsiteX1856" fmla="*/ 4994357 w 6268558"/>
              <a:gd name="connsiteY1856" fmla="*/ 1932191 h 5142621"/>
              <a:gd name="connsiteX1857" fmla="*/ 6184413 w 6268558"/>
              <a:gd name="connsiteY1857" fmla="*/ 2527974 h 5142621"/>
              <a:gd name="connsiteX1858" fmla="*/ 6163731 w 6268558"/>
              <a:gd name="connsiteY1858" fmla="*/ 2521441 h 5142621"/>
              <a:gd name="connsiteX1859" fmla="*/ 4982282 w 6268558"/>
              <a:gd name="connsiteY1859" fmla="*/ 1933016 h 5142621"/>
              <a:gd name="connsiteX1860" fmla="*/ 4107462 w 6268558"/>
              <a:gd name="connsiteY1860" fmla="*/ 1804638 h 5142621"/>
              <a:gd name="connsiteX1861" fmla="*/ 3539508 w 6268558"/>
              <a:gd name="connsiteY1861" fmla="*/ 1870709 h 5142621"/>
              <a:gd name="connsiteX1862" fmla="*/ 3435930 w 6268558"/>
              <a:gd name="connsiteY1862" fmla="*/ 1905636 h 5142621"/>
              <a:gd name="connsiteX1863" fmla="*/ 3345819 w 6268558"/>
              <a:gd name="connsiteY1863" fmla="*/ 1947874 h 5142621"/>
              <a:gd name="connsiteX1864" fmla="*/ 3306081 w 6268558"/>
              <a:gd name="connsiteY1864" fmla="*/ 1972259 h 5142621"/>
              <a:gd name="connsiteX1865" fmla="*/ 3270635 w 6268558"/>
              <a:gd name="connsiteY1865" fmla="*/ 1999238 h 5142621"/>
              <a:gd name="connsiteX1866" fmla="*/ 3241085 w 6268558"/>
              <a:gd name="connsiteY1866" fmla="*/ 2028859 h 5142621"/>
              <a:gd name="connsiteX1867" fmla="*/ 3219884 w 6268558"/>
              <a:gd name="connsiteY1867" fmla="*/ 2059871 h 5142621"/>
              <a:gd name="connsiteX1868" fmla="*/ 3207880 w 6268558"/>
              <a:gd name="connsiteY1868" fmla="*/ 2089868 h 5142621"/>
              <a:gd name="connsiteX1869" fmla="*/ 3203046 w 6268558"/>
              <a:gd name="connsiteY1869" fmla="*/ 2117484 h 5142621"/>
              <a:gd name="connsiteX1870" fmla="*/ 3205145 w 6268558"/>
              <a:gd name="connsiteY1870" fmla="*/ 2166868 h 5142621"/>
              <a:gd name="connsiteX1871" fmla="*/ 3227879 w 6268558"/>
              <a:gd name="connsiteY1871" fmla="*/ 2255352 h 5142621"/>
              <a:gd name="connsiteX1872" fmla="*/ 3258891 w 6268558"/>
              <a:gd name="connsiteY1872" fmla="*/ 2341124 h 5142621"/>
              <a:gd name="connsiteX1873" fmla="*/ 3292851 w 6268558"/>
              <a:gd name="connsiteY1873" fmla="*/ 2427957 h 5142621"/>
              <a:gd name="connsiteX1874" fmla="*/ 3418691 w 6268558"/>
              <a:gd name="connsiteY1874" fmla="*/ 2800478 h 5142621"/>
              <a:gd name="connsiteX1875" fmla="*/ 3461400 w 6268558"/>
              <a:gd name="connsiteY1875" fmla="*/ 3234362 h 5142621"/>
              <a:gd name="connsiteX1876" fmla="*/ 3453240 w 6268558"/>
              <a:gd name="connsiteY1876" fmla="*/ 3353221 h 5142621"/>
              <a:gd name="connsiteX1877" fmla="*/ 3446213 w 6268558"/>
              <a:gd name="connsiteY1877" fmla="*/ 3414019 h 5142621"/>
              <a:gd name="connsiteX1878" fmla="*/ 3437133 w 6268558"/>
              <a:gd name="connsiteY1878" fmla="*/ 3475807 h 5142621"/>
              <a:gd name="connsiteX1879" fmla="*/ 3412229 w 6268558"/>
              <a:gd name="connsiteY1879" fmla="*/ 3603180 h 5142621"/>
              <a:gd name="connsiteX1880" fmla="*/ 3394565 w 6268558"/>
              <a:gd name="connsiteY1880" fmla="*/ 3671265 h 5142621"/>
              <a:gd name="connsiteX1881" fmla="*/ 3369991 w 6268558"/>
              <a:gd name="connsiteY1881" fmla="*/ 3746024 h 5142621"/>
              <a:gd name="connsiteX1882" fmla="*/ 3353342 w 6268558"/>
              <a:gd name="connsiteY1882" fmla="*/ 3786893 h 5142621"/>
              <a:gd name="connsiteX1883" fmla="*/ 3333390 w 6268558"/>
              <a:gd name="connsiteY1883" fmla="*/ 3828588 h 5142621"/>
              <a:gd name="connsiteX1884" fmla="*/ 3311505 w 6268558"/>
              <a:gd name="connsiteY1884" fmla="*/ 3867949 h 5142621"/>
              <a:gd name="connsiteX1885" fmla="*/ 3289172 w 6268558"/>
              <a:gd name="connsiteY1885" fmla="*/ 3903512 h 5142621"/>
              <a:gd name="connsiteX1886" fmla="*/ 3244647 w 6268558"/>
              <a:gd name="connsiteY1886" fmla="*/ 3966031 h 5142621"/>
              <a:gd name="connsiteX1887" fmla="*/ 3233468 w 6268558"/>
              <a:gd name="connsiteY1887" fmla="*/ 3980488 h 5142621"/>
              <a:gd name="connsiteX1888" fmla="*/ 3227855 w 6268558"/>
              <a:gd name="connsiteY1888" fmla="*/ 3987586 h 5142621"/>
              <a:gd name="connsiteX1889" fmla="*/ 3222290 w 6268558"/>
              <a:gd name="connsiteY1889" fmla="*/ 3994449 h 5142621"/>
              <a:gd name="connsiteX1890" fmla="*/ 3216701 w 6268558"/>
              <a:gd name="connsiteY1890" fmla="*/ 4001241 h 5142621"/>
              <a:gd name="connsiteX1891" fmla="*/ 3211135 w 6268558"/>
              <a:gd name="connsiteY1891" fmla="*/ 4007915 h 5142621"/>
              <a:gd name="connsiteX1892" fmla="*/ 3199886 w 6268558"/>
              <a:gd name="connsiteY1892" fmla="*/ 4021216 h 5142621"/>
              <a:gd name="connsiteX1893" fmla="*/ 2994857 w 6268558"/>
              <a:gd name="connsiteY1893" fmla="*/ 4222334 h 5142621"/>
              <a:gd name="connsiteX1894" fmla="*/ 2712876 w 6268558"/>
              <a:gd name="connsiteY1894" fmla="*/ 4390576 h 5142621"/>
              <a:gd name="connsiteX1895" fmla="*/ 2272057 w 6268558"/>
              <a:gd name="connsiteY1895" fmla="*/ 4488683 h 5142621"/>
              <a:gd name="connsiteX1896" fmla="*/ 2713110 w 6268558"/>
              <a:gd name="connsiteY1896" fmla="*/ 4390223 h 5142621"/>
              <a:gd name="connsiteX1897" fmla="*/ 2995233 w 6268558"/>
              <a:gd name="connsiteY1897" fmla="*/ 4221555 h 5142621"/>
              <a:gd name="connsiteX1898" fmla="*/ 3200334 w 6268558"/>
              <a:gd name="connsiteY1898" fmla="*/ 4019966 h 5142621"/>
              <a:gd name="connsiteX1899" fmla="*/ 3211583 w 6268558"/>
              <a:gd name="connsiteY1899" fmla="*/ 4006642 h 5142621"/>
              <a:gd name="connsiteX1900" fmla="*/ 3217149 w 6268558"/>
              <a:gd name="connsiteY1900" fmla="*/ 3999968 h 5142621"/>
              <a:gd name="connsiteX1901" fmla="*/ 3222714 w 6268558"/>
              <a:gd name="connsiteY1901" fmla="*/ 3993176 h 5142621"/>
              <a:gd name="connsiteX1902" fmla="*/ 3228256 w 6268558"/>
              <a:gd name="connsiteY1902" fmla="*/ 3986336 h 5142621"/>
              <a:gd name="connsiteX1903" fmla="*/ 3233846 w 6268558"/>
              <a:gd name="connsiteY1903" fmla="*/ 3979215 h 5142621"/>
              <a:gd name="connsiteX1904" fmla="*/ 3245000 w 6268558"/>
              <a:gd name="connsiteY1904" fmla="*/ 3964758 h 5142621"/>
              <a:gd name="connsiteX1905" fmla="*/ 3289361 w 6268558"/>
              <a:gd name="connsiteY1905" fmla="*/ 3902357 h 5142621"/>
              <a:gd name="connsiteX1906" fmla="*/ 3311482 w 6268558"/>
              <a:gd name="connsiteY1906" fmla="*/ 3867029 h 5142621"/>
              <a:gd name="connsiteX1907" fmla="*/ 3333084 w 6268558"/>
              <a:gd name="connsiteY1907" fmla="*/ 3828164 h 5142621"/>
              <a:gd name="connsiteX1908" fmla="*/ 3369143 w 6268558"/>
              <a:gd name="connsiteY1908" fmla="*/ 3746802 h 5142621"/>
              <a:gd name="connsiteX1909" fmla="*/ 3393504 w 6268558"/>
              <a:gd name="connsiteY1909" fmla="*/ 3672656 h 5142621"/>
              <a:gd name="connsiteX1910" fmla="*/ 3411097 w 6268558"/>
              <a:gd name="connsiteY1910" fmla="*/ 3604854 h 5142621"/>
              <a:gd name="connsiteX1911" fmla="*/ 3435907 w 6268558"/>
              <a:gd name="connsiteY1911" fmla="*/ 3477811 h 5142621"/>
              <a:gd name="connsiteX1912" fmla="*/ 3444939 w 6268558"/>
              <a:gd name="connsiteY1912" fmla="*/ 3416142 h 5142621"/>
              <a:gd name="connsiteX1913" fmla="*/ 3451943 w 6268558"/>
              <a:gd name="connsiteY1913" fmla="*/ 3355462 h 5142621"/>
              <a:gd name="connsiteX1914" fmla="*/ 3460080 w 6268558"/>
              <a:gd name="connsiteY1914" fmla="*/ 3236838 h 5142621"/>
              <a:gd name="connsiteX1915" fmla="*/ 3417182 w 6268558"/>
              <a:gd name="connsiteY1915" fmla="*/ 2803780 h 5142621"/>
              <a:gd name="connsiteX1916" fmla="*/ 3290563 w 6268558"/>
              <a:gd name="connsiteY1916" fmla="*/ 2431919 h 5142621"/>
              <a:gd name="connsiteX1917" fmla="*/ 3256202 w 6268558"/>
              <a:gd name="connsiteY1917" fmla="*/ 2345227 h 5142621"/>
              <a:gd name="connsiteX1918" fmla="*/ 3224648 w 6268558"/>
              <a:gd name="connsiteY1918" fmla="*/ 2259573 h 5142621"/>
              <a:gd name="connsiteX1919" fmla="*/ 3201112 w 6268558"/>
              <a:gd name="connsiteY1919" fmla="*/ 2170877 h 5142621"/>
              <a:gd name="connsiteX1920" fmla="*/ 3198518 w 6268558"/>
              <a:gd name="connsiteY1920" fmla="*/ 2120809 h 5142621"/>
              <a:gd name="connsiteX1921" fmla="*/ 3203211 w 6268558"/>
              <a:gd name="connsiteY1921" fmla="*/ 2092392 h 5142621"/>
              <a:gd name="connsiteX1922" fmla="*/ 3215498 w 6268558"/>
              <a:gd name="connsiteY1922" fmla="*/ 2060979 h 5142621"/>
              <a:gd name="connsiteX1923" fmla="*/ 3237642 w 6268558"/>
              <a:gd name="connsiteY1923" fmla="*/ 2028245 h 5142621"/>
              <a:gd name="connsiteX1924" fmla="*/ 3268348 w 6268558"/>
              <a:gd name="connsiteY1924" fmla="*/ 1997328 h 5142621"/>
              <a:gd name="connsiteX1925" fmla="*/ 3304784 w 6268558"/>
              <a:gd name="connsiteY1925" fmla="*/ 1969594 h 5142621"/>
              <a:gd name="connsiteX1926" fmla="*/ 3345324 w 6268558"/>
              <a:gd name="connsiteY1926" fmla="*/ 1944808 h 5142621"/>
              <a:gd name="connsiteX1927" fmla="*/ 3436614 w 6268558"/>
              <a:gd name="connsiteY1927" fmla="*/ 1902217 h 5142621"/>
              <a:gd name="connsiteX1928" fmla="*/ 3541182 w 6268558"/>
              <a:gd name="connsiteY1928" fmla="*/ 1867219 h 5142621"/>
              <a:gd name="connsiteX1929" fmla="*/ 4113122 w 6268558"/>
              <a:gd name="connsiteY1929" fmla="*/ 1801667 h 5142621"/>
              <a:gd name="connsiteX1930" fmla="*/ 4071050 w 6268558"/>
              <a:gd name="connsiteY1930" fmla="*/ 1765105 h 5142621"/>
              <a:gd name="connsiteX1931" fmla="*/ 4966741 w 6268558"/>
              <a:gd name="connsiteY1931" fmla="*/ 1877643 h 5142621"/>
              <a:gd name="connsiteX1932" fmla="*/ 6210214 w 6268558"/>
              <a:gd name="connsiteY1932" fmla="*/ 2448616 h 5142621"/>
              <a:gd name="connsiteX1933" fmla="*/ 6188658 w 6268558"/>
              <a:gd name="connsiteY1933" fmla="*/ 2442367 h 5142621"/>
              <a:gd name="connsiteX1934" fmla="*/ 4954455 w 6268558"/>
              <a:gd name="connsiteY1934" fmla="*/ 1878681 h 5142621"/>
              <a:gd name="connsiteX1935" fmla="*/ 4065320 w 6268558"/>
              <a:gd name="connsiteY1935" fmla="*/ 1768194 h 5142621"/>
              <a:gd name="connsiteX1936" fmla="*/ 3494158 w 6268558"/>
              <a:gd name="connsiteY1936" fmla="*/ 1844368 h 5142621"/>
              <a:gd name="connsiteX1937" fmla="*/ 3390462 w 6268558"/>
              <a:gd name="connsiteY1937" fmla="*/ 1881228 h 5142621"/>
              <a:gd name="connsiteX1938" fmla="*/ 3300398 w 6268558"/>
              <a:gd name="connsiteY1938" fmla="*/ 1925257 h 5142621"/>
              <a:gd name="connsiteX1939" fmla="*/ 3260731 w 6268558"/>
              <a:gd name="connsiteY1939" fmla="*/ 1950491 h 5142621"/>
              <a:gd name="connsiteX1940" fmla="*/ 3225380 w 6268558"/>
              <a:gd name="connsiteY1940" fmla="*/ 1978296 h 5142621"/>
              <a:gd name="connsiteX1941" fmla="*/ 3195948 w 6268558"/>
              <a:gd name="connsiteY1941" fmla="*/ 2008718 h 5142621"/>
              <a:gd name="connsiteX1942" fmla="*/ 3174841 w 6268558"/>
              <a:gd name="connsiteY1942" fmla="*/ 2040438 h 5142621"/>
              <a:gd name="connsiteX1943" fmla="*/ 3162931 w 6268558"/>
              <a:gd name="connsiteY1943" fmla="*/ 2071002 h 5142621"/>
              <a:gd name="connsiteX1944" fmla="*/ 3158191 w 6268558"/>
              <a:gd name="connsiteY1944" fmla="*/ 2099042 h 5142621"/>
              <a:gd name="connsiteX1945" fmla="*/ 3160502 w 6268558"/>
              <a:gd name="connsiteY1945" fmla="*/ 2148991 h 5142621"/>
              <a:gd name="connsiteX1946" fmla="*/ 3183850 w 6268558"/>
              <a:gd name="connsiteY1946" fmla="*/ 2238018 h 5142621"/>
              <a:gd name="connsiteX1947" fmla="*/ 3215852 w 6268558"/>
              <a:gd name="connsiteY1947" fmla="*/ 2323837 h 5142621"/>
              <a:gd name="connsiteX1948" fmla="*/ 3251250 w 6268558"/>
              <a:gd name="connsiteY1948" fmla="*/ 2410293 h 5142621"/>
              <a:gd name="connsiteX1949" fmla="*/ 3386854 w 6268558"/>
              <a:gd name="connsiteY1949" fmla="*/ 2777296 h 5142621"/>
              <a:gd name="connsiteX1950" fmla="*/ 3443619 w 6268558"/>
              <a:gd name="connsiteY1950" fmla="*/ 3201275 h 5142621"/>
              <a:gd name="connsiteX1951" fmla="*/ 3439138 w 6268558"/>
              <a:gd name="connsiteY1951" fmla="*/ 3317446 h 5142621"/>
              <a:gd name="connsiteX1952" fmla="*/ 3433926 w 6268558"/>
              <a:gd name="connsiteY1952" fmla="*/ 3376923 h 5142621"/>
              <a:gd name="connsiteX1953" fmla="*/ 3426663 w 6268558"/>
              <a:gd name="connsiteY1953" fmla="*/ 3437413 h 5142621"/>
              <a:gd name="connsiteX1954" fmla="*/ 3405296 w 6268558"/>
              <a:gd name="connsiteY1954" fmla="*/ 3562357 h 5142621"/>
              <a:gd name="connsiteX1955" fmla="*/ 3389330 w 6268558"/>
              <a:gd name="connsiteY1955" fmla="*/ 3629404 h 5142621"/>
              <a:gd name="connsiteX1956" fmla="*/ 3366384 w 6268558"/>
              <a:gd name="connsiteY1956" fmla="*/ 3703409 h 5142621"/>
              <a:gd name="connsiteX1957" fmla="*/ 3350465 w 6268558"/>
              <a:gd name="connsiteY1957" fmla="*/ 3744160 h 5142621"/>
              <a:gd name="connsiteX1958" fmla="*/ 3331080 w 6268558"/>
              <a:gd name="connsiteY1958" fmla="*/ 3785950 h 5142621"/>
              <a:gd name="connsiteX1959" fmla="*/ 3309572 w 6268558"/>
              <a:gd name="connsiteY1959" fmla="*/ 3825640 h 5142621"/>
              <a:gd name="connsiteX1960" fmla="*/ 3287451 w 6268558"/>
              <a:gd name="connsiteY1960" fmla="*/ 3861652 h 5142621"/>
              <a:gd name="connsiteX1961" fmla="*/ 3243020 w 6268558"/>
              <a:gd name="connsiteY1961" fmla="*/ 3925162 h 5142621"/>
              <a:gd name="connsiteX1962" fmla="*/ 3231818 w 6268558"/>
              <a:gd name="connsiteY1962" fmla="*/ 3939854 h 5142621"/>
              <a:gd name="connsiteX1963" fmla="*/ 3226205 w 6268558"/>
              <a:gd name="connsiteY1963" fmla="*/ 3947071 h 5142621"/>
              <a:gd name="connsiteX1964" fmla="*/ 3220616 w 6268558"/>
              <a:gd name="connsiteY1964" fmla="*/ 3954051 h 5142621"/>
              <a:gd name="connsiteX1965" fmla="*/ 3215003 w 6268558"/>
              <a:gd name="connsiteY1965" fmla="*/ 3960961 h 5142621"/>
              <a:gd name="connsiteX1966" fmla="*/ 3209390 w 6268558"/>
              <a:gd name="connsiteY1966" fmla="*/ 3967753 h 5142621"/>
              <a:gd name="connsiteX1967" fmla="*/ 3198070 w 6268558"/>
              <a:gd name="connsiteY1967" fmla="*/ 3981266 h 5142621"/>
              <a:gd name="connsiteX1968" fmla="*/ 2990514 w 6268558"/>
              <a:gd name="connsiteY1968" fmla="*/ 4184294 h 5142621"/>
              <a:gd name="connsiteX1969" fmla="*/ 2701196 w 6268558"/>
              <a:gd name="connsiteY1969" fmla="*/ 4350556 h 5142621"/>
              <a:gd name="connsiteX1970" fmla="*/ 2239036 w 6268558"/>
              <a:gd name="connsiteY1970" fmla="*/ 4437790 h 5142621"/>
              <a:gd name="connsiteX1971" fmla="*/ 2701432 w 6268558"/>
              <a:gd name="connsiteY1971" fmla="*/ 4350202 h 5142621"/>
              <a:gd name="connsiteX1972" fmla="*/ 2990893 w 6268558"/>
              <a:gd name="connsiteY1972" fmla="*/ 4183516 h 5142621"/>
              <a:gd name="connsiteX1973" fmla="*/ 3198518 w 6268558"/>
              <a:gd name="connsiteY1973" fmla="*/ 3980016 h 5142621"/>
              <a:gd name="connsiteX1974" fmla="*/ 3209838 w 6268558"/>
              <a:gd name="connsiteY1974" fmla="*/ 3966456 h 5142621"/>
              <a:gd name="connsiteX1975" fmla="*/ 3215451 w 6268558"/>
              <a:gd name="connsiteY1975" fmla="*/ 3959664 h 5142621"/>
              <a:gd name="connsiteX1976" fmla="*/ 3221040 w 6268558"/>
              <a:gd name="connsiteY1976" fmla="*/ 3952754 h 5142621"/>
              <a:gd name="connsiteX1977" fmla="*/ 3226606 w 6268558"/>
              <a:gd name="connsiteY1977" fmla="*/ 3945797 h 5142621"/>
              <a:gd name="connsiteX1978" fmla="*/ 3232219 w 6268558"/>
              <a:gd name="connsiteY1978" fmla="*/ 3938580 h 5142621"/>
              <a:gd name="connsiteX1979" fmla="*/ 3243397 w 6268558"/>
              <a:gd name="connsiteY1979" fmla="*/ 3923888 h 5142621"/>
              <a:gd name="connsiteX1980" fmla="*/ 3287663 w 6268558"/>
              <a:gd name="connsiteY1980" fmla="*/ 3860520 h 5142621"/>
              <a:gd name="connsiteX1981" fmla="*/ 3309572 w 6268558"/>
              <a:gd name="connsiteY1981" fmla="*/ 3824768 h 5142621"/>
              <a:gd name="connsiteX1982" fmla="*/ 3330773 w 6268558"/>
              <a:gd name="connsiteY1982" fmla="*/ 3785572 h 5142621"/>
              <a:gd name="connsiteX1983" fmla="*/ 3365535 w 6268558"/>
              <a:gd name="connsiteY1983" fmla="*/ 3704258 h 5142621"/>
              <a:gd name="connsiteX1984" fmla="*/ 3388293 w 6268558"/>
              <a:gd name="connsiteY1984" fmla="*/ 3630843 h 5142621"/>
              <a:gd name="connsiteX1985" fmla="*/ 3404164 w 6268558"/>
              <a:gd name="connsiteY1985" fmla="*/ 3564079 h 5142621"/>
              <a:gd name="connsiteX1986" fmla="*/ 3425460 w 6268558"/>
              <a:gd name="connsiteY1986" fmla="*/ 3439465 h 5142621"/>
              <a:gd name="connsiteX1987" fmla="*/ 3432700 w 6268558"/>
              <a:gd name="connsiteY1987" fmla="*/ 3379092 h 5142621"/>
              <a:gd name="connsiteX1988" fmla="*/ 3437888 w 6268558"/>
              <a:gd name="connsiteY1988" fmla="*/ 3319733 h 5142621"/>
              <a:gd name="connsiteX1989" fmla="*/ 3442322 w 6268558"/>
              <a:gd name="connsiteY1989" fmla="*/ 3203798 h 5142621"/>
              <a:gd name="connsiteX1990" fmla="*/ 3385415 w 6268558"/>
              <a:gd name="connsiteY1990" fmla="*/ 2780644 h 5142621"/>
              <a:gd name="connsiteX1991" fmla="*/ 3249034 w 6268558"/>
              <a:gd name="connsiteY1991" fmla="*/ 2414326 h 5142621"/>
              <a:gd name="connsiteX1992" fmla="*/ 3213234 w 6268558"/>
              <a:gd name="connsiteY1992" fmla="*/ 2328012 h 5142621"/>
              <a:gd name="connsiteX1993" fmla="*/ 3180666 w 6268558"/>
              <a:gd name="connsiteY1993" fmla="*/ 2242287 h 5142621"/>
              <a:gd name="connsiteX1994" fmla="*/ 3156517 w 6268558"/>
              <a:gd name="connsiteY1994" fmla="*/ 2153048 h 5142621"/>
              <a:gd name="connsiteX1995" fmla="*/ 3153710 w 6268558"/>
              <a:gd name="connsiteY1995" fmla="*/ 2102415 h 5142621"/>
              <a:gd name="connsiteX1996" fmla="*/ 3158309 w 6268558"/>
              <a:gd name="connsiteY1996" fmla="*/ 2073549 h 5142621"/>
              <a:gd name="connsiteX1997" fmla="*/ 3170502 w 6268558"/>
              <a:gd name="connsiteY1997" fmla="*/ 2041570 h 5142621"/>
              <a:gd name="connsiteX1998" fmla="*/ 3192528 w 6268558"/>
              <a:gd name="connsiteY1998" fmla="*/ 2008105 h 5142621"/>
              <a:gd name="connsiteX1999" fmla="*/ 3223139 w 6268558"/>
              <a:gd name="connsiteY1999" fmla="*/ 1976386 h 5142621"/>
              <a:gd name="connsiteX2000" fmla="*/ 3259481 w 6268558"/>
              <a:gd name="connsiteY2000" fmla="*/ 1947803 h 5142621"/>
              <a:gd name="connsiteX2001" fmla="*/ 3299950 w 6268558"/>
              <a:gd name="connsiteY2001" fmla="*/ 1922144 h 5142621"/>
              <a:gd name="connsiteX2002" fmla="*/ 3391193 w 6268558"/>
              <a:gd name="connsiteY2002" fmla="*/ 1877761 h 5142621"/>
              <a:gd name="connsiteX2003" fmla="*/ 3495856 w 6268558"/>
              <a:gd name="connsiteY2003" fmla="*/ 1840807 h 5142621"/>
              <a:gd name="connsiteX2004" fmla="*/ 4071050 w 6268558"/>
              <a:gd name="connsiteY2004" fmla="*/ 1765105 h 5142621"/>
              <a:gd name="connsiteX2005" fmla="*/ 4029119 w 6268558"/>
              <a:gd name="connsiteY2005" fmla="*/ 1729550 h 5142621"/>
              <a:gd name="connsiteX2006" fmla="*/ 4937828 w 6268558"/>
              <a:gd name="connsiteY2006" fmla="*/ 1824661 h 5142621"/>
              <a:gd name="connsiteX2007" fmla="*/ 6231273 w 6268558"/>
              <a:gd name="connsiteY2007" fmla="*/ 2369236 h 5142621"/>
              <a:gd name="connsiteX2008" fmla="*/ 6208869 w 6268558"/>
              <a:gd name="connsiteY2008" fmla="*/ 2363198 h 5142621"/>
              <a:gd name="connsiteX2009" fmla="*/ 4925329 w 6268558"/>
              <a:gd name="connsiteY2009" fmla="*/ 1825817 h 5142621"/>
              <a:gd name="connsiteX2010" fmla="*/ 4023294 w 6268558"/>
              <a:gd name="connsiteY2010" fmla="*/ 1732663 h 5142621"/>
              <a:gd name="connsiteX2011" fmla="*/ 3449302 w 6268558"/>
              <a:gd name="connsiteY2011" fmla="*/ 1818482 h 5142621"/>
              <a:gd name="connsiteX2012" fmla="*/ 3345512 w 6268558"/>
              <a:gd name="connsiteY2012" fmla="*/ 1857206 h 5142621"/>
              <a:gd name="connsiteX2013" fmla="*/ 3255495 w 6268558"/>
              <a:gd name="connsiteY2013" fmla="*/ 1902972 h 5142621"/>
              <a:gd name="connsiteX2014" fmla="*/ 3215876 w 6268558"/>
              <a:gd name="connsiteY2014" fmla="*/ 1929055 h 5142621"/>
              <a:gd name="connsiteX2015" fmla="*/ 3180596 w 6268558"/>
              <a:gd name="connsiteY2015" fmla="*/ 1957661 h 5142621"/>
              <a:gd name="connsiteX2016" fmla="*/ 3151235 w 6268558"/>
              <a:gd name="connsiteY2016" fmla="*/ 1988838 h 5142621"/>
              <a:gd name="connsiteX2017" fmla="*/ 3130203 w 6268558"/>
              <a:gd name="connsiteY2017" fmla="*/ 2021242 h 5142621"/>
              <a:gd name="connsiteX2018" fmla="*/ 3118338 w 6268558"/>
              <a:gd name="connsiteY2018" fmla="*/ 2052372 h 5142621"/>
              <a:gd name="connsiteX2019" fmla="*/ 3113650 w 6268558"/>
              <a:gd name="connsiteY2019" fmla="*/ 2080860 h 5142621"/>
              <a:gd name="connsiteX2020" fmla="*/ 3116054 w 6268558"/>
              <a:gd name="connsiteY2020" fmla="*/ 2131470 h 5142621"/>
              <a:gd name="connsiteX2021" fmla="*/ 3139844 w 6268558"/>
              <a:gd name="connsiteY2021" fmla="*/ 2221251 h 5142621"/>
              <a:gd name="connsiteX2022" fmla="*/ 3172695 w 6268558"/>
              <a:gd name="connsiteY2022" fmla="*/ 2307330 h 5142621"/>
              <a:gd name="connsiteX2023" fmla="*/ 3209344 w 6268558"/>
              <a:gd name="connsiteY2023" fmla="*/ 2393644 h 5142621"/>
              <a:gd name="connsiteX2024" fmla="*/ 3354002 w 6268558"/>
              <a:gd name="connsiteY2024" fmla="*/ 2755930 h 5142621"/>
              <a:gd name="connsiteX2025" fmla="*/ 3424257 w 6268558"/>
              <a:gd name="connsiteY2025" fmla="*/ 3170452 h 5142621"/>
              <a:gd name="connsiteX2026" fmla="*/ 3423384 w 6268558"/>
              <a:gd name="connsiteY2026" fmla="*/ 3283982 h 5142621"/>
              <a:gd name="connsiteX2027" fmla="*/ 3419965 w 6268558"/>
              <a:gd name="connsiteY2027" fmla="*/ 3342138 h 5142621"/>
              <a:gd name="connsiteX2028" fmla="*/ 3414470 w 6268558"/>
              <a:gd name="connsiteY2028" fmla="*/ 3401332 h 5142621"/>
              <a:gd name="connsiteX2029" fmla="*/ 3396594 w 6268558"/>
              <a:gd name="connsiteY2029" fmla="*/ 3523799 h 5142621"/>
              <a:gd name="connsiteX2030" fmla="*/ 3382349 w 6268558"/>
              <a:gd name="connsiteY2030" fmla="*/ 3589762 h 5142621"/>
              <a:gd name="connsiteX2031" fmla="*/ 3361054 w 6268558"/>
              <a:gd name="connsiteY2031" fmla="*/ 3662940 h 5142621"/>
              <a:gd name="connsiteX2032" fmla="*/ 3345866 w 6268558"/>
              <a:gd name="connsiteY2032" fmla="*/ 3703480 h 5142621"/>
              <a:gd name="connsiteX2033" fmla="*/ 3327094 w 6268558"/>
              <a:gd name="connsiteY2033" fmla="*/ 3745293 h 5142621"/>
              <a:gd name="connsiteX2034" fmla="*/ 3306010 w 6268558"/>
              <a:gd name="connsiteY2034" fmla="*/ 3785196 h 5142621"/>
              <a:gd name="connsiteX2035" fmla="*/ 3284149 w 6268558"/>
              <a:gd name="connsiteY2035" fmla="*/ 3821561 h 5142621"/>
              <a:gd name="connsiteX2036" fmla="*/ 3239884 w 6268558"/>
              <a:gd name="connsiteY2036" fmla="*/ 3885849 h 5142621"/>
              <a:gd name="connsiteX2037" fmla="*/ 3228682 w 6268558"/>
              <a:gd name="connsiteY2037" fmla="*/ 3900730 h 5142621"/>
              <a:gd name="connsiteX2038" fmla="*/ 3223046 w 6268558"/>
              <a:gd name="connsiteY2038" fmla="*/ 3908041 h 5142621"/>
              <a:gd name="connsiteX2039" fmla="*/ 3217433 w 6268558"/>
              <a:gd name="connsiteY2039" fmla="*/ 3915116 h 5142621"/>
              <a:gd name="connsiteX2040" fmla="*/ 3211797 w 6268558"/>
              <a:gd name="connsiteY2040" fmla="*/ 3922120 h 5142621"/>
              <a:gd name="connsiteX2041" fmla="*/ 3206160 w 6268558"/>
              <a:gd name="connsiteY2041" fmla="*/ 3929006 h 5142621"/>
              <a:gd name="connsiteX2042" fmla="*/ 3194793 w 6268558"/>
              <a:gd name="connsiteY2042" fmla="*/ 3942708 h 5142621"/>
              <a:gd name="connsiteX2043" fmla="*/ 2984834 w 6268558"/>
              <a:gd name="connsiteY2043" fmla="*/ 4146986 h 5142621"/>
              <a:gd name="connsiteX2044" fmla="*/ 2687949 w 6268558"/>
              <a:gd name="connsiteY2044" fmla="*/ 4310512 h 5142621"/>
              <a:gd name="connsiteX2045" fmla="*/ 2203101 w 6268558"/>
              <a:gd name="connsiteY2045" fmla="*/ 4385342 h 5142621"/>
              <a:gd name="connsiteX2046" fmla="*/ 2688208 w 6268558"/>
              <a:gd name="connsiteY2046" fmla="*/ 4310158 h 5142621"/>
              <a:gd name="connsiteX2047" fmla="*/ 2985211 w 6268558"/>
              <a:gd name="connsiteY2047" fmla="*/ 4146208 h 5142621"/>
              <a:gd name="connsiteX2048" fmla="*/ 3195218 w 6268558"/>
              <a:gd name="connsiteY2048" fmla="*/ 3941482 h 5142621"/>
              <a:gd name="connsiteX2049" fmla="*/ 3206585 w 6268558"/>
              <a:gd name="connsiteY2049" fmla="*/ 3927756 h 5142621"/>
              <a:gd name="connsiteX2050" fmla="*/ 3212221 w 6268558"/>
              <a:gd name="connsiteY2050" fmla="*/ 3920870 h 5142621"/>
              <a:gd name="connsiteX2051" fmla="*/ 3217834 w 6268558"/>
              <a:gd name="connsiteY2051" fmla="*/ 3913866 h 5142621"/>
              <a:gd name="connsiteX2052" fmla="*/ 3223423 w 6268558"/>
              <a:gd name="connsiteY2052" fmla="*/ 3906814 h 5142621"/>
              <a:gd name="connsiteX2053" fmla="*/ 3229036 w 6268558"/>
              <a:gd name="connsiteY2053" fmla="*/ 3899504 h 5142621"/>
              <a:gd name="connsiteX2054" fmla="*/ 3240214 w 6268558"/>
              <a:gd name="connsiteY2054" fmla="*/ 3884622 h 5142621"/>
              <a:gd name="connsiteX2055" fmla="*/ 3284314 w 6268558"/>
              <a:gd name="connsiteY2055" fmla="*/ 3820476 h 5142621"/>
              <a:gd name="connsiteX2056" fmla="*/ 3305987 w 6268558"/>
              <a:gd name="connsiteY2056" fmla="*/ 3784394 h 5142621"/>
              <a:gd name="connsiteX2057" fmla="*/ 3326787 w 6268558"/>
              <a:gd name="connsiteY2057" fmla="*/ 3744986 h 5142621"/>
              <a:gd name="connsiteX2058" fmla="*/ 3360205 w 6268558"/>
              <a:gd name="connsiteY2058" fmla="*/ 3663860 h 5142621"/>
              <a:gd name="connsiteX2059" fmla="*/ 3381312 w 6268558"/>
              <a:gd name="connsiteY2059" fmla="*/ 3591271 h 5142621"/>
              <a:gd name="connsiteX2060" fmla="*/ 3395485 w 6268558"/>
              <a:gd name="connsiteY2060" fmla="*/ 3525615 h 5142621"/>
              <a:gd name="connsiteX2061" fmla="*/ 3413291 w 6268558"/>
              <a:gd name="connsiteY2061" fmla="*/ 3403478 h 5142621"/>
              <a:gd name="connsiteX2062" fmla="*/ 3418762 w 6268558"/>
              <a:gd name="connsiteY2062" fmla="*/ 3344402 h 5142621"/>
              <a:gd name="connsiteX2063" fmla="*/ 3422158 w 6268558"/>
              <a:gd name="connsiteY2063" fmla="*/ 3286363 h 5142621"/>
              <a:gd name="connsiteX2064" fmla="*/ 3423007 w 6268558"/>
              <a:gd name="connsiteY2064" fmla="*/ 3173070 h 5142621"/>
              <a:gd name="connsiteX2065" fmla="*/ 3352635 w 6268558"/>
              <a:gd name="connsiteY2065" fmla="*/ 2759373 h 5142621"/>
              <a:gd name="connsiteX2066" fmla="*/ 3207198 w 6268558"/>
              <a:gd name="connsiteY2066" fmla="*/ 2397795 h 5142621"/>
              <a:gd name="connsiteX2067" fmla="*/ 3170125 w 6268558"/>
              <a:gd name="connsiteY2067" fmla="*/ 2311645 h 5142621"/>
              <a:gd name="connsiteX2068" fmla="*/ 3136708 w 6268558"/>
              <a:gd name="connsiteY2068" fmla="*/ 2225661 h 5142621"/>
              <a:gd name="connsiteX2069" fmla="*/ 3112093 w 6268558"/>
              <a:gd name="connsiteY2069" fmla="*/ 2135667 h 5142621"/>
              <a:gd name="connsiteX2070" fmla="*/ 3109167 w 6268558"/>
              <a:gd name="connsiteY2070" fmla="*/ 2084374 h 5142621"/>
              <a:gd name="connsiteX2071" fmla="*/ 3113718 w 6268558"/>
              <a:gd name="connsiteY2071" fmla="*/ 2055060 h 5142621"/>
              <a:gd name="connsiteX2072" fmla="*/ 3125840 w 6268558"/>
              <a:gd name="connsiteY2072" fmla="*/ 2022491 h 5142621"/>
              <a:gd name="connsiteX2073" fmla="*/ 3147815 w 6268558"/>
              <a:gd name="connsiteY2073" fmla="*/ 1988296 h 5142621"/>
              <a:gd name="connsiteX2074" fmla="*/ 3178355 w 6268558"/>
              <a:gd name="connsiteY2074" fmla="*/ 1955775 h 5142621"/>
              <a:gd name="connsiteX2075" fmla="*/ 3214626 w 6268558"/>
              <a:gd name="connsiteY2075" fmla="*/ 1926366 h 5142621"/>
              <a:gd name="connsiteX2076" fmla="*/ 3255047 w 6268558"/>
              <a:gd name="connsiteY2076" fmla="*/ 1899859 h 5142621"/>
              <a:gd name="connsiteX2077" fmla="*/ 3346267 w 6268558"/>
              <a:gd name="connsiteY2077" fmla="*/ 1853739 h 5142621"/>
              <a:gd name="connsiteX2078" fmla="*/ 3451047 w 6268558"/>
              <a:gd name="connsiteY2078" fmla="*/ 1814921 h 5142621"/>
              <a:gd name="connsiteX2079" fmla="*/ 4029119 w 6268558"/>
              <a:gd name="connsiteY2079" fmla="*/ 1729550 h 5142621"/>
              <a:gd name="connsiteX2080" fmla="*/ 4181258 w 6268558"/>
              <a:gd name="connsiteY2080" fmla="*/ 1692361 h 5142621"/>
              <a:gd name="connsiteX2081" fmla="*/ 4907807 w 6268558"/>
              <a:gd name="connsiteY2081" fmla="*/ 1772889 h 5142621"/>
              <a:gd name="connsiteX2082" fmla="*/ 6247569 w 6268558"/>
              <a:gd name="connsiteY2082" fmla="*/ 2289783 h 5142621"/>
              <a:gd name="connsiteX2083" fmla="*/ 6224363 w 6268558"/>
              <a:gd name="connsiteY2083" fmla="*/ 2284123 h 5142621"/>
              <a:gd name="connsiteX2084" fmla="*/ 4895071 w 6268558"/>
              <a:gd name="connsiteY2084" fmla="*/ 1774280 h 5142621"/>
              <a:gd name="connsiteX2085" fmla="*/ 3981481 w 6268558"/>
              <a:gd name="connsiteY2085" fmla="*/ 1697776 h 5142621"/>
              <a:gd name="connsiteX2086" fmla="*/ 3404989 w 6268558"/>
              <a:gd name="connsiteY2086" fmla="*/ 1792793 h 5142621"/>
              <a:gd name="connsiteX2087" fmla="*/ 3301129 w 6268558"/>
              <a:gd name="connsiteY2087" fmla="*/ 1833286 h 5142621"/>
              <a:gd name="connsiteX2088" fmla="*/ 3211135 w 6268558"/>
              <a:gd name="connsiteY2088" fmla="*/ 1880732 h 5142621"/>
              <a:gd name="connsiteX2089" fmla="*/ 3171562 w 6268558"/>
              <a:gd name="connsiteY2089" fmla="*/ 1907617 h 5142621"/>
              <a:gd name="connsiteX2090" fmla="*/ 3136329 w 6268558"/>
              <a:gd name="connsiteY2090" fmla="*/ 1937025 h 5142621"/>
              <a:gd name="connsiteX2091" fmla="*/ 3106994 w 6268558"/>
              <a:gd name="connsiteY2091" fmla="*/ 1968981 h 5142621"/>
              <a:gd name="connsiteX2092" fmla="*/ 3085982 w 6268558"/>
              <a:gd name="connsiteY2092" fmla="*/ 2002091 h 5142621"/>
              <a:gd name="connsiteX2093" fmla="*/ 3074118 w 6268558"/>
              <a:gd name="connsiteY2093" fmla="*/ 2033811 h 5142621"/>
              <a:gd name="connsiteX2094" fmla="*/ 3069424 w 6268558"/>
              <a:gd name="connsiteY2094" fmla="*/ 2062795 h 5142621"/>
              <a:gd name="connsiteX2095" fmla="*/ 3071877 w 6268558"/>
              <a:gd name="connsiteY2095" fmla="*/ 2114135 h 5142621"/>
              <a:gd name="connsiteX2096" fmla="*/ 3095958 w 6268558"/>
              <a:gd name="connsiteY2096" fmla="*/ 2204860 h 5142621"/>
              <a:gd name="connsiteX2097" fmla="*/ 3129468 w 6268558"/>
              <a:gd name="connsiteY2097" fmla="*/ 2291410 h 5142621"/>
              <a:gd name="connsiteX2098" fmla="*/ 3167200 w 6268558"/>
              <a:gd name="connsiteY2098" fmla="*/ 2377772 h 5142621"/>
              <a:gd name="connsiteX2099" fmla="*/ 3320208 w 6268558"/>
              <a:gd name="connsiteY2099" fmla="*/ 2736143 h 5142621"/>
              <a:gd name="connsiteX2100" fmla="*/ 3403386 w 6268558"/>
              <a:gd name="connsiteY2100" fmla="*/ 3141727 h 5142621"/>
              <a:gd name="connsiteX2101" fmla="*/ 3406027 w 6268558"/>
              <a:gd name="connsiteY2101" fmla="*/ 3252662 h 5142621"/>
              <a:gd name="connsiteX2102" fmla="*/ 3404353 w 6268558"/>
              <a:gd name="connsiteY2102" fmla="*/ 3309521 h 5142621"/>
              <a:gd name="connsiteX2103" fmla="*/ 3400603 w 6268558"/>
              <a:gd name="connsiteY2103" fmla="*/ 3367442 h 5142621"/>
              <a:gd name="connsiteX2104" fmla="*/ 3386170 w 6268558"/>
              <a:gd name="connsiteY2104" fmla="*/ 3487410 h 5142621"/>
              <a:gd name="connsiteX2105" fmla="*/ 3373624 w 6268558"/>
              <a:gd name="connsiteY2105" fmla="*/ 3552240 h 5142621"/>
              <a:gd name="connsiteX2106" fmla="*/ 3353979 w 6268558"/>
              <a:gd name="connsiteY2106" fmla="*/ 3624523 h 5142621"/>
              <a:gd name="connsiteX2107" fmla="*/ 3339569 w 6268558"/>
              <a:gd name="connsiteY2107" fmla="*/ 3664803 h 5142621"/>
              <a:gd name="connsiteX2108" fmla="*/ 3321434 w 6268558"/>
              <a:gd name="connsiteY2108" fmla="*/ 3706545 h 5142621"/>
              <a:gd name="connsiteX2109" fmla="*/ 3300799 w 6268558"/>
              <a:gd name="connsiteY2109" fmla="*/ 3746589 h 5142621"/>
              <a:gd name="connsiteX2110" fmla="*/ 3279220 w 6268558"/>
              <a:gd name="connsiteY2110" fmla="*/ 3783190 h 5142621"/>
              <a:gd name="connsiteX2111" fmla="*/ 3235167 w 6268558"/>
              <a:gd name="connsiteY2111" fmla="*/ 3848091 h 5142621"/>
              <a:gd name="connsiteX2112" fmla="*/ 3223965 w 6268558"/>
              <a:gd name="connsiteY2112" fmla="*/ 3863138 h 5142621"/>
              <a:gd name="connsiteX2113" fmla="*/ 3218328 w 6268558"/>
              <a:gd name="connsiteY2113" fmla="*/ 3870519 h 5142621"/>
              <a:gd name="connsiteX2114" fmla="*/ 3212715 w 6268558"/>
              <a:gd name="connsiteY2114" fmla="*/ 3877665 h 5142621"/>
              <a:gd name="connsiteX2115" fmla="*/ 3207079 w 6268558"/>
              <a:gd name="connsiteY2115" fmla="*/ 3884740 h 5142621"/>
              <a:gd name="connsiteX2116" fmla="*/ 3201442 w 6268558"/>
              <a:gd name="connsiteY2116" fmla="*/ 3891697 h 5142621"/>
              <a:gd name="connsiteX2117" fmla="*/ 3190028 w 6268558"/>
              <a:gd name="connsiteY2117" fmla="*/ 3905540 h 5142621"/>
              <a:gd name="connsiteX2118" fmla="*/ 2977781 w 6268558"/>
              <a:gd name="connsiteY2118" fmla="*/ 4110361 h 5142621"/>
              <a:gd name="connsiteX2119" fmla="*/ 2673086 w 6268558"/>
              <a:gd name="connsiteY2119" fmla="*/ 4270420 h 5142621"/>
              <a:gd name="connsiteX2120" fmla="*/ 2164160 w 6268558"/>
              <a:gd name="connsiteY2120" fmla="*/ 4331241 h 5142621"/>
              <a:gd name="connsiteX2121" fmla="*/ 2673322 w 6268558"/>
              <a:gd name="connsiteY2121" fmla="*/ 4270066 h 5142621"/>
              <a:gd name="connsiteX2122" fmla="*/ 2978133 w 6268558"/>
              <a:gd name="connsiteY2122" fmla="*/ 4109582 h 5142621"/>
              <a:gd name="connsiteX2123" fmla="*/ 3190429 w 6268558"/>
              <a:gd name="connsiteY2123" fmla="*/ 3904290 h 5142621"/>
              <a:gd name="connsiteX2124" fmla="*/ 3201843 w 6268558"/>
              <a:gd name="connsiteY2124" fmla="*/ 3890424 h 5142621"/>
              <a:gd name="connsiteX2125" fmla="*/ 3207480 w 6268558"/>
              <a:gd name="connsiteY2125" fmla="*/ 3883466 h 5142621"/>
              <a:gd name="connsiteX2126" fmla="*/ 3213092 w 6268558"/>
              <a:gd name="connsiteY2126" fmla="*/ 3876391 h 5142621"/>
              <a:gd name="connsiteX2127" fmla="*/ 3218682 w 6268558"/>
              <a:gd name="connsiteY2127" fmla="*/ 3869269 h 5142621"/>
              <a:gd name="connsiteX2128" fmla="*/ 3224294 w 6268558"/>
              <a:gd name="connsiteY2128" fmla="*/ 3861888 h 5142621"/>
              <a:gd name="connsiteX2129" fmla="*/ 3235473 w 6268558"/>
              <a:gd name="connsiteY2129" fmla="*/ 3846865 h 5142621"/>
              <a:gd name="connsiteX2130" fmla="*/ 3279338 w 6268558"/>
              <a:gd name="connsiteY2130" fmla="*/ 3782129 h 5142621"/>
              <a:gd name="connsiteX2131" fmla="*/ 3300728 w 6268558"/>
              <a:gd name="connsiteY2131" fmla="*/ 3745787 h 5142621"/>
              <a:gd name="connsiteX2132" fmla="*/ 3321080 w 6268558"/>
              <a:gd name="connsiteY2132" fmla="*/ 3706262 h 5142621"/>
              <a:gd name="connsiteX2133" fmla="*/ 3353106 w 6268558"/>
              <a:gd name="connsiteY2133" fmla="*/ 3625442 h 5142621"/>
              <a:gd name="connsiteX2134" fmla="*/ 3372586 w 6268558"/>
              <a:gd name="connsiteY2134" fmla="*/ 3553749 h 5142621"/>
              <a:gd name="connsiteX2135" fmla="*/ 3385085 w 6268558"/>
              <a:gd name="connsiteY2135" fmla="*/ 3489202 h 5142621"/>
              <a:gd name="connsiteX2136" fmla="*/ 3399471 w 6268558"/>
              <a:gd name="connsiteY2136" fmla="*/ 3369565 h 5142621"/>
              <a:gd name="connsiteX2137" fmla="*/ 3403197 w 6268558"/>
              <a:gd name="connsiteY2137" fmla="*/ 3311786 h 5142621"/>
              <a:gd name="connsiteX2138" fmla="*/ 3404848 w 6268558"/>
              <a:gd name="connsiteY2138" fmla="*/ 3255044 h 5142621"/>
              <a:gd name="connsiteX2139" fmla="*/ 3402206 w 6268558"/>
              <a:gd name="connsiteY2139" fmla="*/ 3144345 h 5142621"/>
              <a:gd name="connsiteX2140" fmla="*/ 3318958 w 6268558"/>
              <a:gd name="connsiteY2140" fmla="*/ 2739586 h 5142621"/>
              <a:gd name="connsiteX2141" fmla="*/ 3165171 w 6268558"/>
              <a:gd name="connsiteY2141" fmla="*/ 2381946 h 5142621"/>
              <a:gd name="connsiteX2142" fmla="*/ 3126990 w 6268558"/>
              <a:gd name="connsiteY2142" fmla="*/ 2295750 h 5142621"/>
              <a:gd name="connsiteX2143" fmla="*/ 3092889 w 6268558"/>
              <a:gd name="connsiteY2143" fmla="*/ 2209317 h 5142621"/>
              <a:gd name="connsiteX2144" fmla="*/ 3067985 w 6268558"/>
              <a:gd name="connsiteY2144" fmla="*/ 2118404 h 5142621"/>
              <a:gd name="connsiteX2145" fmla="*/ 3065015 w 6268558"/>
              <a:gd name="connsiteY2145" fmla="*/ 2066356 h 5142621"/>
              <a:gd name="connsiteX2146" fmla="*/ 3069567 w 6268558"/>
              <a:gd name="connsiteY2146" fmla="*/ 2036546 h 5142621"/>
              <a:gd name="connsiteX2147" fmla="*/ 3081689 w 6268558"/>
              <a:gd name="connsiteY2147" fmla="*/ 2003341 h 5142621"/>
              <a:gd name="connsiteX2148" fmla="*/ 3103643 w 6268558"/>
              <a:gd name="connsiteY2148" fmla="*/ 1968415 h 5142621"/>
              <a:gd name="connsiteX2149" fmla="*/ 3134139 w 6268558"/>
              <a:gd name="connsiteY2149" fmla="*/ 1935091 h 5142621"/>
              <a:gd name="connsiteX2150" fmla="*/ 3170383 w 6268558"/>
              <a:gd name="connsiteY2150" fmla="*/ 1904881 h 5142621"/>
              <a:gd name="connsiteX2151" fmla="*/ 3210758 w 6268558"/>
              <a:gd name="connsiteY2151" fmla="*/ 1877572 h 5142621"/>
              <a:gd name="connsiteX2152" fmla="*/ 3301954 w 6268558"/>
              <a:gd name="connsiteY2152" fmla="*/ 1829748 h 5142621"/>
              <a:gd name="connsiteX2153" fmla="*/ 3406805 w 6268558"/>
              <a:gd name="connsiteY2153" fmla="*/ 1789138 h 5142621"/>
              <a:gd name="connsiteX2154" fmla="*/ 3987424 w 6268558"/>
              <a:gd name="connsiteY2154" fmla="*/ 1694546 h 5142621"/>
              <a:gd name="connsiteX2155" fmla="*/ 4181258 w 6268558"/>
              <a:gd name="connsiteY2155" fmla="*/ 1692361 h 5142621"/>
              <a:gd name="connsiteX2156" fmla="*/ 4141275 w 6268558"/>
              <a:gd name="connsiteY2156" fmla="*/ 1654812 h 5142621"/>
              <a:gd name="connsiteX2157" fmla="*/ 4876794 w 6268558"/>
              <a:gd name="connsiteY2157" fmla="*/ 1722280 h 5142621"/>
              <a:gd name="connsiteX2158" fmla="*/ 6259101 w 6268558"/>
              <a:gd name="connsiteY2158" fmla="*/ 2210498 h 5142621"/>
              <a:gd name="connsiteX2159" fmla="*/ 6235235 w 6268558"/>
              <a:gd name="connsiteY2159" fmla="*/ 2205357 h 5142621"/>
              <a:gd name="connsiteX2160" fmla="*/ 4863918 w 6268558"/>
              <a:gd name="connsiteY2160" fmla="*/ 1724002 h 5142621"/>
              <a:gd name="connsiteX2161" fmla="*/ 3940021 w 6268558"/>
              <a:gd name="connsiteY2161" fmla="*/ 1663487 h 5142621"/>
              <a:gd name="connsiteX2162" fmla="*/ 3361313 w 6268558"/>
              <a:gd name="connsiteY2162" fmla="*/ 1767253 h 5142621"/>
              <a:gd name="connsiteX2163" fmla="*/ 3257381 w 6268558"/>
              <a:gd name="connsiteY2163" fmla="*/ 1809467 h 5142621"/>
              <a:gd name="connsiteX2164" fmla="*/ 3167388 w 6268558"/>
              <a:gd name="connsiteY2164" fmla="*/ 1858497 h 5142621"/>
              <a:gd name="connsiteX2165" fmla="*/ 3127817 w 6268558"/>
              <a:gd name="connsiteY2165" fmla="*/ 1886134 h 5142621"/>
              <a:gd name="connsiteX2166" fmla="*/ 3092582 w 6268558"/>
              <a:gd name="connsiteY2166" fmla="*/ 1916297 h 5142621"/>
              <a:gd name="connsiteX2167" fmla="*/ 3063270 w 6268558"/>
              <a:gd name="connsiteY2167" fmla="*/ 1948983 h 5142621"/>
              <a:gd name="connsiteX2168" fmla="*/ 3042234 w 6268558"/>
              <a:gd name="connsiteY2168" fmla="*/ 1982778 h 5142621"/>
              <a:gd name="connsiteX2169" fmla="*/ 3030346 w 6268558"/>
              <a:gd name="connsiteY2169" fmla="*/ 2015111 h 5142621"/>
              <a:gd name="connsiteX2170" fmla="*/ 3025605 w 6268558"/>
              <a:gd name="connsiteY2170" fmla="*/ 2044590 h 5142621"/>
              <a:gd name="connsiteX2171" fmla="*/ 3028011 w 6268558"/>
              <a:gd name="connsiteY2171" fmla="*/ 2096756 h 5142621"/>
              <a:gd name="connsiteX2172" fmla="*/ 3052233 w 6268558"/>
              <a:gd name="connsiteY2172" fmla="*/ 2188589 h 5142621"/>
              <a:gd name="connsiteX2173" fmla="*/ 3086264 w 6268558"/>
              <a:gd name="connsiteY2173" fmla="*/ 2275823 h 5142621"/>
              <a:gd name="connsiteX2174" fmla="*/ 3124940 w 6268558"/>
              <a:gd name="connsiteY2174" fmla="*/ 2362444 h 5142621"/>
              <a:gd name="connsiteX2175" fmla="*/ 3285587 w 6268558"/>
              <a:gd name="connsiteY2175" fmla="*/ 2717702 h 5142621"/>
              <a:gd name="connsiteX2176" fmla="*/ 3381099 w 6268558"/>
              <a:gd name="connsiteY2176" fmla="*/ 3114891 h 5142621"/>
              <a:gd name="connsiteX2177" fmla="*/ 3387136 w 6268558"/>
              <a:gd name="connsiteY2177" fmla="*/ 3223303 h 5142621"/>
              <a:gd name="connsiteX2178" fmla="*/ 3387184 w 6268558"/>
              <a:gd name="connsiteY2178" fmla="*/ 3278888 h 5142621"/>
              <a:gd name="connsiteX2179" fmla="*/ 3385132 w 6268558"/>
              <a:gd name="connsiteY2179" fmla="*/ 3335512 h 5142621"/>
              <a:gd name="connsiteX2180" fmla="*/ 3374071 w 6268558"/>
              <a:gd name="connsiteY2180" fmla="*/ 3452980 h 5142621"/>
              <a:gd name="connsiteX2181" fmla="*/ 3363199 w 6268558"/>
              <a:gd name="connsiteY2181" fmla="*/ 3516654 h 5142621"/>
              <a:gd name="connsiteX2182" fmla="*/ 3345205 w 6268558"/>
              <a:gd name="connsiteY2182" fmla="*/ 3587970 h 5142621"/>
              <a:gd name="connsiteX2183" fmla="*/ 3331551 w 6268558"/>
              <a:gd name="connsiteY2183" fmla="*/ 3627944 h 5142621"/>
              <a:gd name="connsiteX2184" fmla="*/ 3314076 w 6268558"/>
              <a:gd name="connsiteY2184" fmla="*/ 3669568 h 5142621"/>
              <a:gd name="connsiteX2185" fmla="*/ 3293935 w 6268558"/>
              <a:gd name="connsiteY2185" fmla="*/ 3709659 h 5142621"/>
              <a:gd name="connsiteX2186" fmla="*/ 3272663 w 6268558"/>
              <a:gd name="connsiteY2186" fmla="*/ 3746449 h 5142621"/>
              <a:gd name="connsiteX2187" fmla="*/ 3228893 w 6268558"/>
              <a:gd name="connsiteY2187" fmla="*/ 3811775 h 5142621"/>
              <a:gd name="connsiteX2188" fmla="*/ 3217715 w 6268558"/>
              <a:gd name="connsiteY2188" fmla="*/ 3826915 h 5142621"/>
              <a:gd name="connsiteX2189" fmla="*/ 3212078 w 6268558"/>
              <a:gd name="connsiteY2189" fmla="*/ 3834344 h 5142621"/>
              <a:gd name="connsiteX2190" fmla="*/ 3206465 w 6268558"/>
              <a:gd name="connsiteY2190" fmla="*/ 3841537 h 5142621"/>
              <a:gd name="connsiteX2191" fmla="*/ 3200805 w 6268558"/>
              <a:gd name="connsiteY2191" fmla="*/ 3848659 h 5142621"/>
              <a:gd name="connsiteX2192" fmla="*/ 3195145 w 6268558"/>
              <a:gd name="connsiteY2192" fmla="*/ 3855663 h 5142621"/>
              <a:gd name="connsiteX2193" fmla="*/ 3183684 w 6268558"/>
              <a:gd name="connsiteY2193" fmla="*/ 3869577 h 5142621"/>
              <a:gd name="connsiteX2194" fmla="*/ 2969195 w 6268558"/>
              <a:gd name="connsiteY2194" fmla="*/ 4074303 h 5142621"/>
              <a:gd name="connsiteX2195" fmla="*/ 2656365 w 6268558"/>
              <a:gd name="connsiteY2195" fmla="*/ 4230141 h 5142621"/>
              <a:gd name="connsiteX2196" fmla="*/ 2122040 w 6268558"/>
              <a:gd name="connsiteY2196" fmla="*/ 4275279 h 5142621"/>
              <a:gd name="connsiteX2197" fmla="*/ 2656601 w 6268558"/>
              <a:gd name="connsiteY2197" fmla="*/ 4229811 h 5142621"/>
              <a:gd name="connsiteX2198" fmla="*/ 2969526 w 6268558"/>
              <a:gd name="connsiteY2198" fmla="*/ 4073572 h 5142621"/>
              <a:gd name="connsiteX2199" fmla="*/ 3184038 w 6268558"/>
              <a:gd name="connsiteY2199" fmla="*/ 3868375 h 5142621"/>
              <a:gd name="connsiteX2200" fmla="*/ 3195475 w 6268558"/>
              <a:gd name="connsiteY2200" fmla="*/ 3854413 h 5142621"/>
              <a:gd name="connsiteX2201" fmla="*/ 3201135 w 6268558"/>
              <a:gd name="connsiteY2201" fmla="*/ 3847409 h 5142621"/>
              <a:gd name="connsiteX2202" fmla="*/ 3206772 w 6268558"/>
              <a:gd name="connsiteY2202" fmla="*/ 3840287 h 5142621"/>
              <a:gd name="connsiteX2203" fmla="*/ 3212361 w 6268558"/>
              <a:gd name="connsiteY2203" fmla="*/ 3833094 h 5142621"/>
              <a:gd name="connsiteX2204" fmla="*/ 3217974 w 6268558"/>
              <a:gd name="connsiteY2204" fmla="*/ 3825642 h 5142621"/>
              <a:gd name="connsiteX2205" fmla="*/ 3229129 w 6268558"/>
              <a:gd name="connsiteY2205" fmla="*/ 3810501 h 5142621"/>
              <a:gd name="connsiteX2206" fmla="*/ 3272711 w 6268558"/>
              <a:gd name="connsiteY2206" fmla="*/ 3745341 h 5142621"/>
              <a:gd name="connsiteX2207" fmla="*/ 3293794 w 6268558"/>
              <a:gd name="connsiteY2207" fmla="*/ 3708834 h 5142621"/>
              <a:gd name="connsiteX2208" fmla="*/ 3313675 w 6268558"/>
              <a:gd name="connsiteY2208" fmla="*/ 3669238 h 5142621"/>
              <a:gd name="connsiteX2209" fmla="*/ 3344309 w 6268558"/>
              <a:gd name="connsiteY2209" fmla="*/ 3588866 h 5142621"/>
              <a:gd name="connsiteX2210" fmla="*/ 3362138 w 6268558"/>
              <a:gd name="connsiteY2210" fmla="*/ 3518117 h 5142621"/>
              <a:gd name="connsiteX2211" fmla="*/ 3372963 w 6268558"/>
              <a:gd name="connsiteY2211" fmla="*/ 3454725 h 5142621"/>
              <a:gd name="connsiteX2212" fmla="*/ 3383976 w 6268558"/>
              <a:gd name="connsiteY2212" fmla="*/ 3337587 h 5142621"/>
              <a:gd name="connsiteX2213" fmla="*/ 3386004 w 6268558"/>
              <a:gd name="connsiteY2213" fmla="*/ 3281082 h 5142621"/>
              <a:gd name="connsiteX2214" fmla="*/ 3385957 w 6268558"/>
              <a:gd name="connsiteY2214" fmla="*/ 3225614 h 5142621"/>
              <a:gd name="connsiteX2215" fmla="*/ 3379920 w 6268558"/>
              <a:gd name="connsiteY2215" fmla="*/ 3117438 h 5142621"/>
              <a:gd name="connsiteX2216" fmla="*/ 3284361 w 6268558"/>
              <a:gd name="connsiteY2216" fmla="*/ 2721098 h 5142621"/>
              <a:gd name="connsiteX2217" fmla="*/ 3122910 w 6268558"/>
              <a:gd name="connsiteY2217" fmla="*/ 2366595 h 5142621"/>
              <a:gd name="connsiteX2218" fmla="*/ 3083811 w 6268558"/>
              <a:gd name="connsiteY2218" fmla="*/ 2280139 h 5142621"/>
              <a:gd name="connsiteX2219" fmla="*/ 3049189 w 6268558"/>
              <a:gd name="connsiteY2219" fmla="*/ 2193046 h 5142621"/>
              <a:gd name="connsiteX2220" fmla="*/ 3024122 w 6268558"/>
              <a:gd name="connsiteY2220" fmla="*/ 2101024 h 5142621"/>
              <a:gd name="connsiteX2221" fmla="*/ 3021197 w 6268558"/>
              <a:gd name="connsiteY2221" fmla="*/ 2048174 h 5142621"/>
              <a:gd name="connsiteX2222" fmla="*/ 3025794 w 6268558"/>
              <a:gd name="connsiteY2222" fmla="*/ 2017823 h 5142621"/>
              <a:gd name="connsiteX2223" fmla="*/ 3037965 w 6268558"/>
              <a:gd name="connsiteY2223" fmla="*/ 1983981 h 5142621"/>
              <a:gd name="connsiteX2224" fmla="*/ 3059919 w 6268558"/>
              <a:gd name="connsiteY2224" fmla="*/ 1948323 h 5142621"/>
              <a:gd name="connsiteX2225" fmla="*/ 3090414 w 6268558"/>
              <a:gd name="connsiteY2225" fmla="*/ 1914222 h 5142621"/>
              <a:gd name="connsiteX2226" fmla="*/ 3126636 w 6268558"/>
              <a:gd name="connsiteY2226" fmla="*/ 1883233 h 5142621"/>
              <a:gd name="connsiteX2227" fmla="*/ 3167011 w 6268558"/>
              <a:gd name="connsiteY2227" fmla="*/ 1855124 h 5142621"/>
              <a:gd name="connsiteX2228" fmla="*/ 3258207 w 6268558"/>
              <a:gd name="connsiteY2228" fmla="*/ 1805694 h 5142621"/>
              <a:gd name="connsiteX2229" fmla="*/ 3363152 w 6268558"/>
              <a:gd name="connsiteY2229" fmla="*/ 1763385 h 5142621"/>
              <a:gd name="connsiteX2230" fmla="*/ 3946011 w 6268558"/>
              <a:gd name="connsiteY2230" fmla="*/ 1660020 h 5142621"/>
              <a:gd name="connsiteX2231" fmla="*/ 4141275 w 6268558"/>
              <a:gd name="connsiteY2231" fmla="*/ 1654812 h 5142621"/>
              <a:gd name="connsiteX2232" fmla="*/ 4101694 w 6268558"/>
              <a:gd name="connsiteY2232" fmla="*/ 1618100 h 5142621"/>
              <a:gd name="connsiteX2233" fmla="*/ 4845146 w 6268558"/>
              <a:gd name="connsiteY2233" fmla="*/ 1673112 h 5142621"/>
              <a:gd name="connsiteX2234" fmla="*/ 6266153 w 6268558"/>
              <a:gd name="connsiteY2234" fmla="*/ 2131965 h 5142621"/>
              <a:gd name="connsiteX2235" fmla="*/ 6241579 w 6268558"/>
              <a:gd name="connsiteY2235" fmla="*/ 2127084 h 5142621"/>
              <a:gd name="connsiteX2236" fmla="*/ 4832033 w 6268558"/>
              <a:gd name="connsiteY2236" fmla="*/ 1674880 h 5142621"/>
              <a:gd name="connsiteX2237" fmla="*/ 3899034 w 6268558"/>
              <a:gd name="connsiteY2237" fmla="*/ 1629601 h 5142621"/>
              <a:gd name="connsiteX2238" fmla="*/ 3318368 w 6268558"/>
              <a:gd name="connsiteY2238" fmla="*/ 1741693 h 5142621"/>
              <a:gd name="connsiteX2239" fmla="*/ 3214342 w 6268558"/>
              <a:gd name="connsiteY2239" fmla="*/ 1785534 h 5142621"/>
              <a:gd name="connsiteX2240" fmla="*/ 3124326 w 6268558"/>
              <a:gd name="connsiteY2240" fmla="*/ 1836096 h 5142621"/>
              <a:gd name="connsiteX2241" fmla="*/ 3084754 w 6268558"/>
              <a:gd name="connsiteY2241" fmla="*/ 1864484 h 5142621"/>
              <a:gd name="connsiteX2242" fmla="*/ 3049522 w 6268558"/>
              <a:gd name="connsiteY2242" fmla="*/ 1895402 h 5142621"/>
              <a:gd name="connsiteX2243" fmla="*/ 3020162 w 6268558"/>
              <a:gd name="connsiteY2243" fmla="*/ 1928819 h 5142621"/>
              <a:gd name="connsiteX2244" fmla="*/ 2999075 w 6268558"/>
              <a:gd name="connsiteY2244" fmla="*/ 1963322 h 5142621"/>
              <a:gd name="connsiteX2245" fmla="*/ 2987098 w 6268558"/>
              <a:gd name="connsiteY2245" fmla="*/ 1996291 h 5142621"/>
              <a:gd name="connsiteX2246" fmla="*/ 2982283 w 6268558"/>
              <a:gd name="connsiteY2246" fmla="*/ 2026312 h 5142621"/>
              <a:gd name="connsiteX2247" fmla="*/ 2984549 w 6268558"/>
              <a:gd name="connsiteY2247" fmla="*/ 2079351 h 5142621"/>
              <a:gd name="connsiteX2248" fmla="*/ 3008745 w 6268558"/>
              <a:gd name="connsiteY2248" fmla="*/ 2172481 h 5142621"/>
              <a:gd name="connsiteX2249" fmla="*/ 3043152 w 6268558"/>
              <a:gd name="connsiteY2249" fmla="*/ 2260565 h 5142621"/>
              <a:gd name="connsiteX2250" fmla="*/ 3082587 w 6268558"/>
              <a:gd name="connsiteY2250" fmla="*/ 2347657 h 5142621"/>
              <a:gd name="connsiteX2251" fmla="*/ 3250260 w 6268558"/>
              <a:gd name="connsiteY2251" fmla="*/ 2700627 h 5142621"/>
              <a:gd name="connsiteX2252" fmla="*/ 3357540 w 6268558"/>
              <a:gd name="connsiteY2252" fmla="*/ 3090010 h 5142621"/>
              <a:gd name="connsiteX2253" fmla="*/ 3366879 w 6268558"/>
              <a:gd name="connsiteY2253" fmla="*/ 3195969 h 5142621"/>
              <a:gd name="connsiteX2254" fmla="*/ 3368577 w 6268558"/>
              <a:gd name="connsiteY2254" fmla="*/ 3250305 h 5142621"/>
              <a:gd name="connsiteX2255" fmla="*/ 3368199 w 6268558"/>
              <a:gd name="connsiteY2255" fmla="*/ 3305678 h 5142621"/>
              <a:gd name="connsiteX2256" fmla="*/ 3360441 w 6268558"/>
              <a:gd name="connsiteY2256" fmla="*/ 3420670 h 5142621"/>
              <a:gd name="connsiteX2257" fmla="*/ 3351220 w 6268558"/>
              <a:gd name="connsiteY2257" fmla="*/ 3483189 h 5142621"/>
              <a:gd name="connsiteX2258" fmla="*/ 3334876 w 6268558"/>
              <a:gd name="connsiteY2258" fmla="*/ 3553515 h 5142621"/>
              <a:gd name="connsiteX2259" fmla="*/ 3322000 w 6268558"/>
              <a:gd name="connsiteY2259" fmla="*/ 3593111 h 5142621"/>
              <a:gd name="connsiteX2260" fmla="*/ 3305209 w 6268558"/>
              <a:gd name="connsiteY2260" fmla="*/ 3634547 h 5142621"/>
              <a:gd name="connsiteX2261" fmla="*/ 3285564 w 6268558"/>
              <a:gd name="connsiteY2261" fmla="*/ 3674614 h 5142621"/>
              <a:gd name="connsiteX2262" fmla="*/ 3264622 w 6268558"/>
              <a:gd name="connsiteY2262" fmla="*/ 3711475 h 5142621"/>
              <a:gd name="connsiteX2263" fmla="*/ 3221182 w 6268558"/>
              <a:gd name="connsiteY2263" fmla="*/ 3777083 h 5142621"/>
              <a:gd name="connsiteX2264" fmla="*/ 3210050 w 6268558"/>
              <a:gd name="connsiteY2264" fmla="*/ 3792295 h 5142621"/>
              <a:gd name="connsiteX2265" fmla="*/ 3204438 w 6268558"/>
              <a:gd name="connsiteY2265" fmla="*/ 3799771 h 5142621"/>
              <a:gd name="connsiteX2266" fmla="*/ 3198825 w 6268558"/>
              <a:gd name="connsiteY2266" fmla="*/ 3807011 h 5142621"/>
              <a:gd name="connsiteX2267" fmla="*/ 3193165 w 6268558"/>
              <a:gd name="connsiteY2267" fmla="*/ 3814180 h 5142621"/>
              <a:gd name="connsiteX2268" fmla="*/ 3187505 w 6268558"/>
              <a:gd name="connsiteY2268" fmla="*/ 3821208 h 5142621"/>
              <a:gd name="connsiteX2269" fmla="*/ 3176020 w 6268558"/>
              <a:gd name="connsiteY2269" fmla="*/ 3835193 h 5142621"/>
              <a:gd name="connsiteX2270" fmla="*/ 2959314 w 6268558"/>
              <a:gd name="connsiteY2270" fmla="*/ 4039211 h 5142621"/>
              <a:gd name="connsiteX2271" fmla="*/ 2638020 w 6268558"/>
              <a:gd name="connsiteY2271" fmla="*/ 4190073 h 5142621"/>
              <a:gd name="connsiteX2272" fmla="*/ 2077022 w 6268558"/>
              <a:gd name="connsiteY2272" fmla="*/ 4217712 h 5142621"/>
              <a:gd name="connsiteX2273" fmla="*/ 2638279 w 6268558"/>
              <a:gd name="connsiteY2273" fmla="*/ 4189743 h 5142621"/>
              <a:gd name="connsiteX2274" fmla="*/ 2959671 w 6268558"/>
              <a:gd name="connsiteY2274" fmla="*/ 4038480 h 5142621"/>
              <a:gd name="connsiteX2275" fmla="*/ 3176374 w 6268558"/>
              <a:gd name="connsiteY2275" fmla="*/ 3834037 h 5142621"/>
              <a:gd name="connsiteX2276" fmla="*/ 3187835 w 6268558"/>
              <a:gd name="connsiteY2276" fmla="*/ 3820029 h 5142621"/>
              <a:gd name="connsiteX2277" fmla="*/ 3193495 w 6268558"/>
              <a:gd name="connsiteY2277" fmla="*/ 3813001 h 5142621"/>
              <a:gd name="connsiteX2278" fmla="*/ 3199131 w 6268558"/>
              <a:gd name="connsiteY2278" fmla="*/ 3805855 h 5142621"/>
              <a:gd name="connsiteX2279" fmla="*/ 3204721 w 6268558"/>
              <a:gd name="connsiteY2279" fmla="*/ 3798639 h 5142621"/>
              <a:gd name="connsiteX2280" fmla="*/ 3210333 w 6268558"/>
              <a:gd name="connsiteY2280" fmla="*/ 3791163 h 5142621"/>
              <a:gd name="connsiteX2281" fmla="*/ 3221441 w 6268558"/>
              <a:gd name="connsiteY2281" fmla="*/ 3775952 h 5142621"/>
              <a:gd name="connsiteX2282" fmla="*/ 3264716 w 6268558"/>
              <a:gd name="connsiteY2282" fmla="*/ 3710508 h 5142621"/>
              <a:gd name="connsiteX2283" fmla="*/ 3285470 w 6268558"/>
              <a:gd name="connsiteY2283" fmla="*/ 3673907 h 5142621"/>
              <a:gd name="connsiteX2284" fmla="*/ 3304855 w 6268558"/>
              <a:gd name="connsiteY2284" fmla="*/ 3634334 h 5142621"/>
              <a:gd name="connsiteX2285" fmla="*/ 3334051 w 6268558"/>
              <a:gd name="connsiteY2285" fmla="*/ 3554505 h 5142621"/>
              <a:gd name="connsiteX2286" fmla="*/ 3350253 w 6268558"/>
              <a:gd name="connsiteY2286" fmla="*/ 3484770 h 5142621"/>
              <a:gd name="connsiteX2287" fmla="*/ 3359426 w 6268558"/>
              <a:gd name="connsiteY2287" fmla="*/ 3422533 h 5142621"/>
              <a:gd name="connsiteX2288" fmla="*/ 3367138 w 6268558"/>
              <a:gd name="connsiteY2288" fmla="*/ 3307872 h 5142621"/>
              <a:gd name="connsiteX2289" fmla="*/ 3367516 w 6268558"/>
              <a:gd name="connsiteY2289" fmla="*/ 3252640 h 5142621"/>
              <a:gd name="connsiteX2290" fmla="*/ 3365817 w 6268558"/>
              <a:gd name="connsiteY2290" fmla="*/ 3198446 h 5142621"/>
              <a:gd name="connsiteX2291" fmla="*/ 3356479 w 6268558"/>
              <a:gd name="connsiteY2291" fmla="*/ 3092722 h 5142621"/>
              <a:gd name="connsiteX2292" fmla="*/ 3249175 w 6268558"/>
              <a:gd name="connsiteY2292" fmla="*/ 2704212 h 5142621"/>
              <a:gd name="connsiteX2293" fmla="*/ 3080697 w 6268558"/>
              <a:gd name="connsiteY2293" fmla="*/ 2352020 h 5142621"/>
              <a:gd name="connsiteX2294" fmla="*/ 3040797 w 6268558"/>
              <a:gd name="connsiteY2294" fmla="*/ 2265116 h 5142621"/>
              <a:gd name="connsiteX2295" fmla="*/ 3005799 w 6268558"/>
              <a:gd name="connsiteY2295" fmla="*/ 2177174 h 5142621"/>
              <a:gd name="connsiteX2296" fmla="*/ 2980752 w 6268558"/>
              <a:gd name="connsiteY2296" fmla="*/ 2083855 h 5142621"/>
              <a:gd name="connsiteX2297" fmla="*/ 2977970 w 6268558"/>
              <a:gd name="connsiteY2297" fmla="*/ 2030109 h 5142621"/>
              <a:gd name="connsiteX2298" fmla="*/ 2982640 w 6268558"/>
              <a:gd name="connsiteY2298" fmla="*/ 1999215 h 5142621"/>
              <a:gd name="connsiteX2299" fmla="*/ 2994878 w 6268558"/>
              <a:gd name="connsiteY2299" fmla="*/ 1964713 h 5142621"/>
              <a:gd name="connsiteX2300" fmla="*/ 3016905 w 6268558"/>
              <a:gd name="connsiteY2300" fmla="*/ 1928300 h 5142621"/>
              <a:gd name="connsiteX2301" fmla="*/ 3047421 w 6268558"/>
              <a:gd name="connsiteY2301" fmla="*/ 1893445 h 5142621"/>
              <a:gd name="connsiteX2302" fmla="*/ 3083669 w 6268558"/>
              <a:gd name="connsiteY2302" fmla="*/ 1861702 h 5142621"/>
              <a:gd name="connsiteX2303" fmla="*/ 3124044 w 6268558"/>
              <a:gd name="connsiteY2303" fmla="*/ 1832841 h 5142621"/>
              <a:gd name="connsiteX2304" fmla="*/ 3215286 w 6268558"/>
              <a:gd name="connsiteY2304" fmla="*/ 1781855 h 5142621"/>
              <a:gd name="connsiteX2305" fmla="*/ 3320326 w 6268558"/>
              <a:gd name="connsiteY2305" fmla="*/ 1737896 h 5142621"/>
              <a:gd name="connsiteX2306" fmla="*/ 3905166 w 6268558"/>
              <a:gd name="connsiteY2306" fmla="*/ 1626181 h 5142621"/>
              <a:gd name="connsiteX2307" fmla="*/ 4101694 w 6268558"/>
              <a:gd name="connsiteY2307" fmla="*/ 1618100 h 5142621"/>
              <a:gd name="connsiteX2308" fmla="*/ 4284248 w 6268558"/>
              <a:gd name="connsiteY2308" fmla="*/ 1581268 h 5142621"/>
              <a:gd name="connsiteX2309" fmla="*/ 4812718 w 6268558"/>
              <a:gd name="connsiteY2309" fmla="*/ 1624792 h 5142621"/>
              <a:gd name="connsiteX2310" fmla="*/ 6268558 w 6268558"/>
              <a:gd name="connsiteY2310" fmla="*/ 2053905 h 5142621"/>
              <a:gd name="connsiteX2311" fmla="*/ 6243512 w 6268558"/>
              <a:gd name="connsiteY2311" fmla="*/ 2049495 h 5142621"/>
              <a:gd name="connsiteX2312" fmla="*/ 4799559 w 6268558"/>
              <a:gd name="connsiteY2312" fmla="*/ 1626796 h 5142621"/>
              <a:gd name="connsiteX2313" fmla="*/ 3858565 w 6268558"/>
              <a:gd name="connsiteY2313" fmla="*/ 1595997 h 5142621"/>
              <a:gd name="connsiteX2314" fmla="*/ 3276153 w 6268558"/>
              <a:gd name="connsiteY2314" fmla="*/ 1716012 h 5142621"/>
              <a:gd name="connsiteX2315" fmla="*/ 3172034 w 6268558"/>
              <a:gd name="connsiteY2315" fmla="*/ 1761409 h 5142621"/>
              <a:gd name="connsiteX2316" fmla="*/ 3081948 w 6268558"/>
              <a:gd name="connsiteY2316" fmla="*/ 1813457 h 5142621"/>
              <a:gd name="connsiteX2317" fmla="*/ 3042354 w 6268558"/>
              <a:gd name="connsiteY2317" fmla="*/ 1842559 h 5142621"/>
              <a:gd name="connsiteX2318" fmla="*/ 3007073 w 6268558"/>
              <a:gd name="connsiteY2318" fmla="*/ 1874177 h 5142621"/>
              <a:gd name="connsiteX2319" fmla="*/ 2977638 w 6268558"/>
              <a:gd name="connsiteY2319" fmla="*/ 1908326 h 5142621"/>
              <a:gd name="connsiteX2320" fmla="*/ 2956438 w 6268558"/>
              <a:gd name="connsiteY2320" fmla="*/ 1943535 h 5142621"/>
              <a:gd name="connsiteX2321" fmla="*/ 2944341 w 6268558"/>
              <a:gd name="connsiteY2321" fmla="*/ 1977141 h 5142621"/>
              <a:gd name="connsiteX2322" fmla="*/ 2939387 w 6268558"/>
              <a:gd name="connsiteY2322" fmla="*/ 2007729 h 5142621"/>
              <a:gd name="connsiteX2323" fmla="*/ 2941440 w 6268558"/>
              <a:gd name="connsiteY2323" fmla="*/ 2061734 h 5142621"/>
              <a:gd name="connsiteX2324" fmla="*/ 2965471 w 6268558"/>
              <a:gd name="connsiteY2324" fmla="*/ 2156327 h 5142621"/>
              <a:gd name="connsiteX2325" fmla="*/ 3000093 w 6268558"/>
              <a:gd name="connsiteY2325" fmla="*/ 2245471 h 5142621"/>
              <a:gd name="connsiteX2326" fmla="*/ 3040158 w 6268558"/>
              <a:gd name="connsiteY2326" fmla="*/ 2333225 h 5142621"/>
              <a:gd name="connsiteX2327" fmla="*/ 3214201 w 6268558"/>
              <a:gd name="connsiteY2327" fmla="*/ 2684733 h 5142621"/>
              <a:gd name="connsiteX2328" fmla="*/ 3332683 w 6268558"/>
              <a:gd name="connsiteY2328" fmla="*/ 3066875 h 5142621"/>
              <a:gd name="connsiteX2329" fmla="*/ 3345205 w 6268558"/>
              <a:gd name="connsiteY2329" fmla="*/ 3170500 h 5142621"/>
              <a:gd name="connsiteX2330" fmla="*/ 3348530 w 6268558"/>
              <a:gd name="connsiteY2330" fmla="*/ 3223609 h 5142621"/>
              <a:gd name="connsiteX2331" fmla="*/ 3349757 w 6268558"/>
              <a:gd name="connsiteY2331" fmla="*/ 3277756 h 5142621"/>
              <a:gd name="connsiteX2332" fmla="*/ 3345229 w 6268558"/>
              <a:gd name="connsiteY2332" fmla="*/ 3390271 h 5142621"/>
              <a:gd name="connsiteX2333" fmla="*/ 3337635 w 6268558"/>
              <a:gd name="connsiteY2333" fmla="*/ 3451611 h 5142621"/>
              <a:gd name="connsiteX2334" fmla="*/ 3322919 w 6268558"/>
              <a:gd name="connsiteY2334" fmla="*/ 3520899 h 5142621"/>
              <a:gd name="connsiteX2335" fmla="*/ 3310821 w 6268558"/>
              <a:gd name="connsiteY2335" fmla="*/ 3560118 h 5142621"/>
              <a:gd name="connsiteX2336" fmla="*/ 3294690 w 6268558"/>
              <a:gd name="connsiteY2336" fmla="*/ 3601294 h 5142621"/>
              <a:gd name="connsiteX2337" fmla="*/ 3275540 w 6268558"/>
              <a:gd name="connsiteY2337" fmla="*/ 3641291 h 5142621"/>
              <a:gd name="connsiteX2338" fmla="*/ 3254952 w 6268558"/>
              <a:gd name="connsiteY2338" fmla="*/ 3678176 h 5142621"/>
              <a:gd name="connsiteX2339" fmla="*/ 3211842 w 6268558"/>
              <a:gd name="connsiteY2339" fmla="*/ 3743902 h 5142621"/>
              <a:gd name="connsiteX2340" fmla="*/ 3200734 w 6268558"/>
              <a:gd name="connsiteY2340" fmla="*/ 3759137 h 5142621"/>
              <a:gd name="connsiteX2341" fmla="*/ 3195121 w 6268558"/>
              <a:gd name="connsiteY2341" fmla="*/ 3766613 h 5142621"/>
              <a:gd name="connsiteX2342" fmla="*/ 3189509 w 6268558"/>
              <a:gd name="connsiteY2342" fmla="*/ 3773853 h 5142621"/>
              <a:gd name="connsiteX2343" fmla="*/ 3183849 w 6268558"/>
              <a:gd name="connsiteY2343" fmla="*/ 3781022 h 5142621"/>
              <a:gd name="connsiteX2344" fmla="*/ 3178189 w 6268558"/>
              <a:gd name="connsiteY2344" fmla="*/ 3788050 h 5142621"/>
              <a:gd name="connsiteX2345" fmla="*/ 3166704 w 6268558"/>
              <a:gd name="connsiteY2345" fmla="*/ 3802035 h 5142621"/>
              <a:gd name="connsiteX2346" fmla="*/ 2947762 w 6268558"/>
              <a:gd name="connsiteY2346" fmla="*/ 4004709 h 5142621"/>
              <a:gd name="connsiteX2347" fmla="*/ 2617597 w 6268558"/>
              <a:gd name="connsiteY2347" fmla="*/ 4149816 h 5142621"/>
              <a:gd name="connsiteX2348" fmla="*/ 2028724 w 6268558"/>
              <a:gd name="connsiteY2348" fmla="*/ 4158094 h 5142621"/>
              <a:gd name="connsiteX2349" fmla="*/ 2617857 w 6268558"/>
              <a:gd name="connsiteY2349" fmla="*/ 4149486 h 5142621"/>
              <a:gd name="connsiteX2350" fmla="*/ 2948089 w 6268558"/>
              <a:gd name="connsiteY2350" fmla="*/ 4003978 h 5142621"/>
              <a:gd name="connsiteX2351" fmla="*/ 3167010 w 6268558"/>
              <a:gd name="connsiteY2351" fmla="*/ 3800879 h 5142621"/>
              <a:gd name="connsiteX2352" fmla="*/ 3178495 w 6268558"/>
              <a:gd name="connsiteY2352" fmla="*/ 3786871 h 5142621"/>
              <a:gd name="connsiteX2353" fmla="*/ 3184156 w 6268558"/>
              <a:gd name="connsiteY2353" fmla="*/ 3779819 h 5142621"/>
              <a:gd name="connsiteX2354" fmla="*/ 3189792 w 6268558"/>
              <a:gd name="connsiteY2354" fmla="*/ 3772650 h 5142621"/>
              <a:gd name="connsiteX2355" fmla="*/ 3195381 w 6268558"/>
              <a:gd name="connsiteY2355" fmla="*/ 3765410 h 5142621"/>
              <a:gd name="connsiteX2356" fmla="*/ 3200970 w 6268558"/>
              <a:gd name="connsiteY2356" fmla="*/ 3757934 h 5142621"/>
              <a:gd name="connsiteX2357" fmla="*/ 3212054 w 6268558"/>
              <a:gd name="connsiteY2357" fmla="*/ 3742699 h 5142621"/>
              <a:gd name="connsiteX2358" fmla="*/ 3254976 w 6268558"/>
              <a:gd name="connsiteY2358" fmla="*/ 3677138 h 5142621"/>
              <a:gd name="connsiteX2359" fmla="*/ 3275375 w 6268558"/>
              <a:gd name="connsiteY2359" fmla="*/ 3640537 h 5142621"/>
              <a:gd name="connsiteX2360" fmla="*/ 3294242 w 6268558"/>
              <a:gd name="connsiteY2360" fmla="*/ 3601058 h 5142621"/>
              <a:gd name="connsiteX2361" fmla="*/ 3321999 w 6268558"/>
              <a:gd name="connsiteY2361" fmla="*/ 3521866 h 5142621"/>
              <a:gd name="connsiteX2362" fmla="*/ 3336574 w 6268558"/>
              <a:gd name="connsiteY2362" fmla="*/ 3453168 h 5142621"/>
              <a:gd name="connsiteX2363" fmla="*/ 3344120 w 6268558"/>
              <a:gd name="connsiteY2363" fmla="*/ 3392111 h 5142621"/>
              <a:gd name="connsiteX2364" fmla="*/ 3348625 w 6268558"/>
              <a:gd name="connsiteY2364" fmla="*/ 3279926 h 5142621"/>
              <a:gd name="connsiteX2365" fmla="*/ 3347398 w 6268558"/>
              <a:gd name="connsiteY2365" fmla="*/ 3225920 h 5142621"/>
              <a:gd name="connsiteX2366" fmla="*/ 3344073 w 6268558"/>
              <a:gd name="connsiteY2366" fmla="*/ 3172929 h 5142621"/>
              <a:gd name="connsiteX2367" fmla="*/ 3331551 w 6268558"/>
              <a:gd name="connsiteY2367" fmla="*/ 3069540 h 5142621"/>
              <a:gd name="connsiteX2368" fmla="*/ 3213068 w 6268558"/>
              <a:gd name="connsiteY2368" fmla="*/ 2688270 h 5142621"/>
              <a:gd name="connsiteX2369" fmla="*/ 3038205 w 6268558"/>
              <a:gd name="connsiteY2369" fmla="*/ 2337587 h 5142621"/>
              <a:gd name="connsiteX2370" fmla="*/ 2997689 w 6268558"/>
              <a:gd name="connsiteY2370" fmla="*/ 2250023 h 5142621"/>
              <a:gd name="connsiteX2371" fmla="*/ 2962451 w 6268558"/>
              <a:gd name="connsiteY2371" fmla="*/ 2161020 h 5142621"/>
              <a:gd name="connsiteX2372" fmla="*/ 2937548 w 6268558"/>
              <a:gd name="connsiteY2372" fmla="*/ 2066239 h 5142621"/>
              <a:gd name="connsiteX2373" fmla="*/ 2934956 w 6268558"/>
              <a:gd name="connsiteY2373" fmla="*/ 2011526 h 5142621"/>
              <a:gd name="connsiteX2374" fmla="*/ 2939765 w 6268558"/>
              <a:gd name="connsiteY2374" fmla="*/ 1980042 h 5142621"/>
              <a:gd name="connsiteX2375" fmla="*/ 2952146 w 6268558"/>
              <a:gd name="connsiteY2375" fmla="*/ 1944880 h 5142621"/>
              <a:gd name="connsiteX2376" fmla="*/ 2974291 w 6268558"/>
              <a:gd name="connsiteY2376" fmla="*/ 1907736 h 5142621"/>
              <a:gd name="connsiteX2377" fmla="*/ 3004900 w 6268558"/>
              <a:gd name="connsiteY2377" fmla="*/ 1872125 h 5142621"/>
              <a:gd name="connsiteX2378" fmla="*/ 3041199 w 6268558"/>
              <a:gd name="connsiteY2378" fmla="*/ 1839658 h 5142621"/>
              <a:gd name="connsiteX2379" fmla="*/ 3081620 w 6268558"/>
              <a:gd name="connsiteY2379" fmla="*/ 1810061 h 5142621"/>
              <a:gd name="connsiteX2380" fmla="*/ 3172930 w 6268558"/>
              <a:gd name="connsiteY2380" fmla="*/ 1757612 h 5142621"/>
              <a:gd name="connsiteX2381" fmla="*/ 3278087 w 6268558"/>
              <a:gd name="connsiteY2381" fmla="*/ 1712097 h 5142621"/>
              <a:gd name="connsiteX2382" fmla="*/ 3864696 w 6268558"/>
              <a:gd name="connsiteY2382" fmla="*/ 1592434 h 5142621"/>
              <a:gd name="connsiteX2383" fmla="*/ 4284248 w 6268558"/>
              <a:gd name="connsiteY2383" fmla="*/ 1581268 h 5142621"/>
              <a:gd name="connsiteX2384" fmla="*/ 4246869 w 6268558"/>
              <a:gd name="connsiteY2384" fmla="*/ 1542168 h 5142621"/>
              <a:gd name="connsiteX2385" fmla="*/ 4780032 w 6268558"/>
              <a:gd name="connsiteY2385" fmla="*/ 1577454 h 5142621"/>
              <a:gd name="connsiteX2386" fmla="*/ 6266813 w 6268558"/>
              <a:gd name="connsiteY2386" fmla="*/ 1976741 h 5142621"/>
              <a:gd name="connsiteX2387" fmla="*/ 6241178 w 6268558"/>
              <a:gd name="connsiteY2387" fmla="*/ 1972755 h 5142621"/>
              <a:gd name="connsiteX2388" fmla="*/ 4766613 w 6268558"/>
              <a:gd name="connsiteY2388" fmla="*/ 1579624 h 5142621"/>
              <a:gd name="connsiteX2389" fmla="*/ 3818710 w 6268558"/>
              <a:gd name="connsiteY2389" fmla="*/ 1562550 h 5142621"/>
              <a:gd name="connsiteX2390" fmla="*/ 3234765 w 6268558"/>
              <a:gd name="connsiteY2390" fmla="*/ 1690064 h 5142621"/>
              <a:gd name="connsiteX2391" fmla="*/ 3130528 w 6268558"/>
              <a:gd name="connsiteY2391" fmla="*/ 1736924 h 5142621"/>
              <a:gd name="connsiteX2392" fmla="*/ 3040345 w 6268558"/>
              <a:gd name="connsiteY2392" fmla="*/ 1790364 h 5142621"/>
              <a:gd name="connsiteX2393" fmla="*/ 3000678 w 6268558"/>
              <a:gd name="connsiteY2393" fmla="*/ 1820149 h 5142621"/>
              <a:gd name="connsiteX2394" fmla="*/ 2965303 w 6268558"/>
              <a:gd name="connsiteY2394" fmla="*/ 1852458 h 5142621"/>
              <a:gd name="connsiteX2395" fmla="*/ 2935754 w 6268558"/>
              <a:gd name="connsiteY2395" fmla="*/ 1887313 h 5142621"/>
              <a:gd name="connsiteX2396" fmla="*/ 2914412 w 6268558"/>
              <a:gd name="connsiteY2396" fmla="*/ 1923207 h 5142621"/>
              <a:gd name="connsiteX2397" fmla="*/ 2902124 w 6268558"/>
              <a:gd name="connsiteY2397" fmla="*/ 1957473 h 5142621"/>
              <a:gd name="connsiteX2398" fmla="*/ 2897007 w 6268558"/>
              <a:gd name="connsiteY2398" fmla="*/ 1988650 h 5142621"/>
              <a:gd name="connsiteX2399" fmla="*/ 2898776 w 6268558"/>
              <a:gd name="connsiteY2399" fmla="*/ 2043670 h 5142621"/>
              <a:gd name="connsiteX2400" fmla="*/ 2922500 w 6268558"/>
              <a:gd name="connsiteY2400" fmla="*/ 2139866 h 5142621"/>
              <a:gd name="connsiteX2401" fmla="*/ 2957191 w 6268558"/>
              <a:gd name="connsiteY2401" fmla="*/ 2230237 h 5142621"/>
              <a:gd name="connsiteX2402" fmla="*/ 2997731 w 6268558"/>
              <a:gd name="connsiteY2402" fmla="*/ 2318863 h 5142621"/>
              <a:gd name="connsiteX2403" fmla="*/ 3177553 w 6268558"/>
              <a:gd name="connsiteY2403" fmla="*/ 2669710 h 5142621"/>
              <a:gd name="connsiteX2404" fmla="*/ 3306694 w 6268558"/>
              <a:gd name="connsiteY2404" fmla="*/ 3045273 h 5142621"/>
              <a:gd name="connsiteX2405" fmla="*/ 3322306 w 6268558"/>
              <a:gd name="connsiteY2405" fmla="*/ 3146634 h 5142621"/>
              <a:gd name="connsiteX2406" fmla="*/ 3327188 w 6268558"/>
              <a:gd name="connsiteY2406" fmla="*/ 3198564 h 5142621"/>
              <a:gd name="connsiteX2407" fmla="*/ 3329994 w 6268558"/>
              <a:gd name="connsiteY2407" fmla="*/ 3251508 h 5142621"/>
              <a:gd name="connsiteX2408" fmla="*/ 3328626 w 6268558"/>
              <a:gd name="connsiteY2408" fmla="*/ 3361618 h 5142621"/>
              <a:gd name="connsiteX2409" fmla="*/ 3322637 w 6268558"/>
              <a:gd name="connsiteY2409" fmla="*/ 3421779 h 5142621"/>
              <a:gd name="connsiteX2410" fmla="*/ 3309548 w 6268558"/>
              <a:gd name="connsiteY2410" fmla="*/ 3489982 h 5142621"/>
              <a:gd name="connsiteX2411" fmla="*/ 3298228 w 6268558"/>
              <a:gd name="connsiteY2411" fmla="*/ 3528753 h 5142621"/>
              <a:gd name="connsiteX2412" fmla="*/ 3282781 w 6268558"/>
              <a:gd name="connsiteY2412" fmla="*/ 3569646 h 5142621"/>
              <a:gd name="connsiteX2413" fmla="*/ 3264150 w 6268558"/>
              <a:gd name="connsiteY2413" fmla="*/ 3609478 h 5142621"/>
              <a:gd name="connsiteX2414" fmla="*/ 3243916 w 6268558"/>
              <a:gd name="connsiteY2414" fmla="*/ 3646291 h 5142621"/>
              <a:gd name="connsiteX2415" fmla="*/ 3201183 w 6268558"/>
              <a:gd name="connsiteY2415" fmla="*/ 3711971 h 5142621"/>
              <a:gd name="connsiteX2416" fmla="*/ 3190122 w 6268558"/>
              <a:gd name="connsiteY2416" fmla="*/ 3727205 h 5142621"/>
              <a:gd name="connsiteX2417" fmla="*/ 3184533 w 6268558"/>
              <a:gd name="connsiteY2417" fmla="*/ 3734681 h 5142621"/>
              <a:gd name="connsiteX2418" fmla="*/ 3178920 w 6268558"/>
              <a:gd name="connsiteY2418" fmla="*/ 3741921 h 5142621"/>
              <a:gd name="connsiteX2419" fmla="*/ 3173260 w 6268558"/>
              <a:gd name="connsiteY2419" fmla="*/ 3749091 h 5142621"/>
              <a:gd name="connsiteX2420" fmla="*/ 3167600 w 6268558"/>
              <a:gd name="connsiteY2420" fmla="*/ 3756118 h 5142621"/>
              <a:gd name="connsiteX2421" fmla="*/ 3156092 w 6268558"/>
              <a:gd name="connsiteY2421" fmla="*/ 3770080 h 5142621"/>
              <a:gd name="connsiteX2422" fmla="*/ 2934857 w 6268558"/>
              <a:gd name="connsiteY2422" fmla="*/ 3970820 h 5142621"/>
              <a:gd name="connsiteX2423" fmla="*/ 2595425 w 6268558"/>
              <a:gd name="connsiteY2423" fmla="*/ 4109277 h 5142621"/>
              <a:gd name="connsiteX2424" fmla="*/ 1977592 w 6268558"/>
              <a:gd name="connsiteY2424" fmla="*/ 4096424 h 5142621"/>
              <a:gd name="connsiteX2425" fmla="*/ 2595685 w 6268558"/>
              <a:gd name="connsiteY2425" fmla="*/ 4108947 h 5142621"/>
              <a:gd name="connsiteX2426" fmla="*/ 2935188 w 6268558"/>
              <a:gd name="connsiteY2426" fmla="*/ 3970112 h 5142621"/>
              <a:gd name="connsiteX2427" fmla="*/ 3156398 w 6268558"/>
              <a:gd name="connsiteY2427" fmla="*/ 3768948 h 5142621"/>
              <a:gd name="connsiteX2428" fmla="*/ 3167907 w 6268558"/>
              <a:gd name="connsiteY2428" fmla="*/ 3754963 h 5142621"/>
              <a:gd name="connsiteX2429" fmla="*/ 3173567 w 6268558"/>
              <a:gd name="connsiteY2429" fmla="*/ 3747911 h 5142621"/>
              <a:gd name="connsiteX2430" fmla="*/ 3179203 w 6268558"/>
              <a:gd name="connsiteY2430" fmla="*/ 3740766 h 5142621"/>
              <a:gd name="connsiteX2431" fmla="*/ 3184792 w 6268558"/>
              <a:gd name="connsiteY2431" fmla="*/ 3733549 h 5142621"/>
              <a:gd name="connsiteX2432" fmla="*/ 3190382 w 6268558"/>
              <a:gd name="connsiteY2432" fmla="*/ 3726073 h 5142621"/>
              <a:gd name="connsiteX2433" fmla="*/ 3201419 w 6268558"/>
              <a:gd name="connsiteY2433" fmla="*/ 3710862 h 5142621"/>
              <a:gd name="connsiteX2434" fmla="*/ 3243963 w 6268558"/>
              <a:gd name="connsiteY2434" fmla="*/ 3645348 h 5142621"/>
              <a:gd name="connsiteX2435" fmla="*/ 3264009 w 6268558"/>
              <a:gd name="connsiteY2435" fmla="*/ 3608818 h 5142621"/>
              <a:gd name="connsiteX2436" fmla="*/ 3282356 w 6268558"/>
              <a:gd name="connsiteY2436" fmla="*/ 3569504 h 5142621"/>
              <a:gd name="connsiteX2437" fmla="*/ 3308675 w 6268558"/>
              <a:gd name="connsiteY2437" fmla="*/ 3491043 h 5142621"/>
              <a:gd name="connsiteX2438" fmla="*/ 3321646 w 6268558"/>
              <a:gd name="connsiteY2438" fmla="*/ 3423406 h 5142621"/>
              <a:gd name="connsiteX2439" fmla="*/ 3327613 w 6268558"/>
              <a:gd name="connsiteY2439" fmla="*/ 3363529 h 5142621"/>
              <a:gd name="connsiteX2440" fmla="*/ 3328957 w 6268558"/>
              <a:gd name="connsiteY2440" fmla="*/ 3253749 h 5142621"/>
              <a:gd name="connsiteX2441" fmla="*/ 3326150 w 6268558"/>
              <a:gd name="connsiteY2441" fmla="*/ 3200922 h 5142621"/>
              <a:gd name="connsiteX2442" fmla="*/ 3321269 w 6268558"/>
              <a:gd name="connsiteY2442" fmla="*/ 3149110 h 5142621"/>
              <a:gd name="connsiteX2443" fmla="*/ 3305680 w 6268558"/>
              <a:gd name="connsiteY2443" fmla="*/ 3047985 h 5142621"/>
              <a:gd name="connsiteX2444" fmla="*/ 3176562 w 6268558"/>
              <a:gd name="connsiteY2444" fmla="*/ 2673318 h 5142621"/>
              <a:gd name="connsiteX2445" fmla="*/ 2995915 w 6268558"/>
              <a:gd name="connsiteY2445" fmla="*/ 2323320 h 5142621"/>
              <a:gd name="connsiteX2446" fmla="*/ 2954904 w 6268558"/>
              <a:gd name="connsiteY2446" fmla="*/ 2234906 h 5142621"/>
              <a:gd name="connsiteX2447" fmla="*/ 2919600 w 6268558"/>
              <a:gd name="connsiteY2447" fmla="*/ 2144677 h 5142621"/>
              <a:gd name="connsiteX2448" fmla="*/ 2895025 w 6268558"/>
              <a:gd name="connsiteY2448" fmla="*/ 2048292 h 5142621"/>
              <a:gd name="connsiteX2449" fmla="*/ 2892738 w 6268558"/>
              <a:gd name="connsiteY2449" fmla="*/ 1992565 h 5142621"/>
              <a:gd name="connsiteX2450" fmla="*/ 2897715 w 6268558"/>
              <a:gd name="connsiteY2450" fmla="*/ 1960492 h 5142621"/>
              <a:gd name="connsiteX2451" fmla="*/ 2910284 w 6268558"/>
              <a:gd name="connsiteY2451" fmla="*/ 1924646 h 5142621"/>
              <a:gd name="connsiteX2452" fmla="*/ 2932595 w 6268558"/>
              <a:gd name="connsiteY2452" fmla="*/ 1886771 h 5142621"/>
              <a:gd name="connsiteX2453" fmla="*/ 2963324 w 6268558"/>
              <a:gd name="connsiteY2453" fmla="*/ 1850430 h 5142621"/>
              <a:gd name="connsiteX2454" fmla="*/ 2999711 w 6268558"/>
              <a:gd name="connsiteY2454" fmla="*/ 1817249 h 5142621"/>
              <a:gd name="connsiteX2455" fmla="*/ 3040180 w 6268558"/>
              <a:gd name="connsiteY2455" fmla="*/ 1786968 h 5142621"/>
              <a:gd name="connsiteX2456" fmla="*/ 3131589 w 6268558"/>
              <a:gd name="connsiteY2456" fmla="*/ 1733104 h 5142621"/>
              <a:gd name="connsiteX2457" fmla="*/ 3236864 w 6268558"/>
              <a:gd name="connsiteY2457" fmla="*/ 1686102 h 5142621"/>
              <a:gd name="connsiteX2458" fmla="*/ 3825030 w 6268558"/>
              <a:gd name="connsiteY2458" fmla="*/ 1558918 h 5142621"/>
              <a:gd name="connsiteX2459" fmla="*/ 4246869 w 6268558"/>
              <a:gd name="connsiteY2459" fmla="*/ 1542168 h 5142621"/>
              <a:gd name="connsiteX2460" fmla="*/ 4209666 w 6268558"/>
              <a:gd name="connsiteY2460" fmla="*/ 1503411 h 5142621"/>
              <a:gd name="connsiteX2461" fmla="*/ 4746827 w 6268558"/>
              <a:gd name="connsiteY2461" fmla="*/ 1530930 h 5142621"/>
              <a:gd name="connsiteX2462" fmla="*/ 6260705 w 6268558"/>
              <a:gd name="connsiteY2462" fmla="*/ 1900520 h 5142621"/>
              <a:gd name="connsiteX2463" fmla="*/ 6234763 w 6268558"/>
              <a:gd name="connsiteY2463" fmla="*/ 1897030 h 5142621"/>
              <a:gd name="connsiteX2464" fmla="*/ 4733384 w 6268558"/>
              <a:gd name="connsiteY2464" fmla="*/ 1533312 h 5142621"/>
              <a:gd name="connsiteX2465" fmla="*/ 3779561 w 6268558"/>
              <a:gd name="connsiteY2465" fmla="*/ 1529208 h 5142621"/>
              <a:gd name="connsiteX2466" fmla="*/ 3194273 w 6268558"/>
              <a:gd name="connsiteY2466" fmla="*/ 1663821 h 5142621"/>
              <a:gd name="connsiteX2467" fmla="*/ 3089894 w 6268558"/>
              <a:gd name="connsiteY2467" fmla="*/ 1712072 h 5142621"/>
              <a:gd name="connsiteX2468" fmla="*/ 2999571 w 6268558"/>
              <a:gd name="connsiteY2468" fmla="*/ 1766809 h 5142621"/>
              <a:gd name="connsiteX2469" fmla="*/ 2959809 w 6268558"/>
              <a:gd name="connsiteY2469" fmla="*/ 1797255 h 5142621"/>
              <a:gd name="connsiteX2470" fmla="*/ 2924317 w 6268558"/>
              <a:gd name="connsiteY2470" fmla="*/ 1830224 h 5142621"/>
              <a:gd name="connsiteX2471" fmla="*/ 2894628 w 6268558"/>
              <a:gd name="connsiteY2471" fmla="*/ 1865735 h 5142621"/>
              <a:gd name="connsiteX2472" fmla="*/ 2873070 w 6268558"/>
              <a:gd name="connsiteY2472" fmla="*/ 1902336 h 5142621"/>
              <a:gd name="connsiteX2473" fmla="*/ 2860571 w 6268558"/>
              <a:gd name="connsiteY2473" fmla="*/ 1937263 h 5142621"/>
              <a:gd name="connsiteX2474" fmla="*/ 2855242 w 6268558"/>
              <a:gd name="connsiteY2474" fmla="*/ 1969053 h 5142621"/>
              <a:gd name="connsiteX2475" fmla="*/ 2856636 w 6268558"/>
              <a:gd name="connsiteY2475" fmla="*/ 2025134 h 5142621"/>
              <a:gd name="connsiteX2476" fmla="*/ 2879888 w 6268558"/>
              <a:gd name="connsiteY2476" fmla="*/ 2123122 h 5142621"/>
              <a:gd name="connsiteX2477" fmla="*/ 2914510 w 6268558"/>
              <a:gd name="connsiteY2477" fmla="*/ 2214908 h 5142621"/>
              <a:gd name="connsiteX2478" fmla="*/ 2955376 w 6268558"/>
              <a:gd name="connsiteY2478" fmla="*/ 2304571 h 5142621"/>
              <a:gd name="connsiteX2479" fmla="*/ 3140361 w 6268558"/>
              <a:gd name="connsiteY2479" fmla="*/ 2655561 h 5142621"/>
              <a:gd name="connsiteX2480" fmla="*/ 3279597 w 6268558"/>
              <a:gd name="connsiteY2480" fmla="*/ 3025157 h 5142621"/>
              <a:gd name="connsiteX2481" fmla="*/ 3298180 w 6268558"/>
              <a:gd name="connsiteY2481" fmla="*/ 3124371 h 5142621"/>
              <a:gd name="connsiteX2482" fmla="*/ 3304571 w 6268558"/>
              <a:gd name="connsiteY2482" fmla="*/ 3175169 h 5142621"/>
              <a:gd name="connsiteX2483" fmla="*/ 3308911 w 6268558"/>
              <a:gd name="connsiteY2483" fmla="*/ 3226958 h 5142621"/>
              <a:gd name="connsiteX2484" fmla="*/ 3310632 w 6268558"/>
              <a:gd name="connsiteY2484" fmla="*/ 3334686 h 5142621"/>
              <a:gd name="connsiteX2485" fmla="*/ 3306222 w 6268558"/>
              <a:gd name="connsiteY2485" fmla="*/ 3393668 h 5142621"/>
              <a:gd name="connsiteX2486" fmla="*/ 3294714 w 6268558"/>
              <a:gd name="connsiteY2486" fmla="*/ 3460762 h 5142621"/>
              <a:gd name="connsiteX2487" fmla="*/ 3284172 w 6268558"/>
              <a:gd name="connsiteY2487" fmla="*/ 3499061 h 5142621"/>
              <a:gd name="connsiteX2488" fmla="*/ 3269409 w 6268558"/>
              <a:gd name="connsiteY2488" fmla="*/ 3539601 h 5142621"/>
              <a:gd name="connsiteX2489" fmla="*/ 3251321 w 6268558"/>
              <a:gd name="connsiteY2489" fmla="*/ 3579221 h 5142621"/>
              <a:gd name="connsiteX2490" fmla="*/ 3231440 w 6268558"/>
              <a:gd name="connsiteY2490" fmla="*/ 3615916 h 5142621"/>
              <a:gd name="connsiteX2491" fmla="*/ 3189108 w 6268558"/>
              <a:gd name="connsiteY2491" fmla="*/ 3681431 h 5142621"/>
              <a:gd name="connsiteX2492" fmla="*/ 3178095 w 6268558"/>
              <a:gd name="connsiteY2492" fmla="*/ 3696618 h 5142621"/>
              <a:gd name="connsiteX2493" fmla="*/ 3172505 w 6268558"/>
              <a:gd name="connsiteY2493" fmla="*/ 3704070 h 5142621"/>
              <a:gd name="connsiteX2494" fmla="*/ 3166916 w 6268558"/>
              <a:gd name="connsiteY2494" fmla="*/ 3711287 h 5142621"/>
              <a:gd name="connsiteX2495" fmla="*/ 3161256 w 6268558"/>
              <a:gd name="connsiteY2495" fmla="*/ 3718433 h 5142621"/>
              <a:gd name="connsiteX2496" fmla="*/ 3155573 w 6268558"/>
              <a:gd name="connsiteY2496" fmla="*/ 3725437 h 5142621"/>
              <a:gd name="connsiteX2497" fmla="*/ 3144064 w 6268558"/>
              <a:gd name="connsiteY2497" fmla="*/ 3739351 h 5142621"/>
              <a:gd name="connsiteX2498" fmla="*/ 2920472 w 6268558"/>
              <a:gd name="connsiteY2498" fmla="*/ 3937568 h 5142621"/>
              <a:gd name="connsiteX2499" fmla="*/ 2571303 w 6268558"/>
              <a:gd name="connsiteY2499" fmla="*/ 4068714 h 5142621"/>
              <a:gd name="connsiteX2500" fmla="*/ 1923543 w 6268558"/>
              <a:gd name="connsiteY2500" fmla="*/ 4032608 h 5142621"/>
              <a:gd name="connsiteX2501" fmla="*/ 2571563 w 6268558"/>
              <a:gd name="connsiteY2501" fmla="*/ 4068408 h 5142621"/>
              <a:gd name="connsiteX2502" fmla="*/ 2920781 w 6268558"/>
              <a:gd name="connsiteY2502" fmla="*/ 3936860 h 5142621"/>
              <a:gd name="connsiteX2503" fmla="*/ 3144347 w 6268558"/>
              <a:gd name="connsiteY2503" fmla="*/ 3738219 h 5142621"/>
              <a:gd name="connsiteX2504" fmla="*/ 3155856 w 6268558"/>
              <a:gd name="connsiteY2504" fmla="*/ 3724281 h 5142621"/>
              <a:gd name="connsiteX2505" fmla="*/ 3161515 w 6268558"/>
              <a:gd name="connsiteY2505" fmla="*/ 3717253 h 5142621"/>
              <a:gd name="connsiteX2506" fmla="*/ 3167128 w 6268558"/>
              <a:gd name="connsiteY2506" fmla="*/ 3710131 h 5142621"/>
              <a:gd name="connsiteX2507" fmla="*/ 3172694 w 6268558"/>
              <a:gd name="connsiteY2507" fmla="*/ 3702938 h 5142621"/>
              <a:gd name="connsiteX2508" fmla="*/ 3178260 w 6268558"/>
              <a:gd name="connsiteY2508" fmla="*/ 3695486 h 5142621"/>
              <a:gd name="connsiteX2509" fmla="*/ 3189249 w 6268558"/>
              <a:gd name="connsiteY2509" fmla="*/ 3680322 h 5142621"/>
              <a:gd name="connsiteX2510" fmla="*/ 3231393 w 6268558"/>
              <a:gd name="connsiteY2510" fmla="*/ 3614997 h 5142621"/>
              <a:gd name="connsiteX2511" fmla="*/ 3251085 w 6268558"/>
              <a:gd name="connsiteY2511" fmla="*/ 3578584 h 5142621"/>
              <a:gd name="connsiteX2512" fmla="*/ 3268914 w 6268558"/>
              <a:gd name="connsiteY2512" fmla="*/ 3539483 h 5142621"/>
              <a:gd name="connsiteX2513" fmla="*/ 3293818 w 6268558"/>
              <a:gd name="connsiteY2513" fmla="*/ 3461824 h 5142621"/>
              <a:gd name="connsiteX2514" fmla="*/ 3305232 w 6268558"/>
              <a:gd name="connsiteY2514" fmla="*/ 3395295 h 5142621"/>
              <a:gd name="connsiteX2515" fmla="*/ 3309618 w 6268558"/>
              <a:gd name="connsiteY2515" fmla="*/ 3336596 h 5142621"/>
              <a:gd name="connsiteX2516" fmla="*/ 3307897 w 6268558"/>
              <a:gd name="connsiteY2516" fmla="*/ 3229175 h 5142621"/>
              <a:gd name="connsiteX2517" fmla="*/ 3303557 w 6268558"/>
              <a:gd name="connsiteY2517" fmla="*/ 3177528 h 5142621"/>
              <a:gd name="connsiteX2518" fmla="*/ 3297166 w 6268558"/>
              <a:gd name="connsiteY2518" fmla="*/ 3126847 h 5142621"/>
              <a:gd name="connsiteX2519" fmla="*/ 3278606 w 6268558"/>
              <a:gd name="connsiteY2519" fmla="*/ 3027869 h 5142621"/>
              <a:gd name="connsiteX2520" fmla="*/ 3139394 w 6268558"/>
              <a:gd name="connsiteY2520" fmla="*/ 2659169 h 5142621"/>
              <a:gd name="connsiteX2521" fmla="*/ 2953563 w 6268558"/>
              <a:gd name="connsiteY2521" fmla="*/ 2309052 h 5142621"/>
              <a:gd name="connsiteX2522" fmla="*/ 2912218 w 6268558"/>
              <a:gd name="connsiteY2522" fmla="*/ 2219577 h 5142621"/>
              <a:gd name="connsiteX2523" fmla="*/ 2876962 w 6268558"/>
              <a:gd name="connsiteY2523" fmla="*/ 2127957 h 5142621"/>
              <a:gd name="connsiteX2524" fmla="*/ 2852838 w 6268558"/>
              <a:gd name="connsiteY2524" fmla="*/ 2029780 h 5142621"/>
              <a:gd name="connsiteX2525" fmla="*/ 2850930 w 6268558"/>
              <a:gd name="connsiteY2525" fmla="*/ 1972968 h 5142621"/>
              <a:gd name="connsiteX2526" fmla="*/ 2856140 w 6268558"/>
              <a:gd name="connsiteY2526" fmla="*/ 1940258 h 5142621"/>
              <a:gd name="connsiteX2527" fmla="*/ 2868921 w 6268558"/>
              <a:gd name="connsiteY2527" fmla="*/ 1903727 h 5142621"/>
              <a:gd name="connsiteX2528" fmla="*/ 2891446 w 6268558"/>
              <a:gd name="connsiteY2528" fmla="*/ 1865145 h 5142621"/>
              <a:gd name="connsiteX2529" fmla="*/ 2922337 w 6268558"/>
              <a:gd name="connsiteY2529" fmla="*/ 1828102 h 5142621"/>
              <a:gd name="connsiteX2530" fmla="*/ 2958842 w 6268558"/>
              <a:gd name="connsiteY2530" fmla="*/ 1794236 h 5142621"/>
              <a:gd name="connsiteX2531" fmla="*/ 2999408 w 6268558"/>
              <a:gd name="connsiteY2531" fmla="*/ 1763295 h 5142621"/>
              <a:gd name="connsiteX2532" fmla="*/ 3090956 w 6268558"/>
              <a:gd name="connsiteY2532" fmla="*/ 1708111 h 5142621"/>
              <a:gd name="connsiteX2533" fmla="*/ 3196372 w 6268558"/>
              <a:gd name="connsiteY2533" fmla="*/ 1659718 h 5142621"/>
              <a:gd name="connsiteX2534" fmla="*/ 3785881 w 6268558"/>
              <a:gd name="connsiteY2534" fmla="*/ 1525435 h 5142621"/>
              <a:gd name="connsiteX2535" fmla="*/ 4209666 w 6268558"/>
              <a:gd name="connsiteY2535" fmla="*/ 1503411 h 5142621"/>
              <a:gd name="connsiteX2536" fmla="*/ 4172930 w 6268558"/>
              <a:gd name="connsiteY2536" fmla="*/ 1464866 h 5142621"/>
              <a:gd name="connsiteX2537" fmla="*/ 4713457 w 6268558"/>
              <a:gd name="connsiteY2537" fmla="*/ 1485059 h 5142621"/>
              <a:gd name="connsiteX2538" fmla="*/ 6250658 w 6268558"/>
              <a:gd name="connsiteY2538" fmla="*/ 1825389 h 5142621"/>
              <a:gd name="connsiteX2539" fmla="*/ 6224434 w 6268558"/>
              <a:gd name="connsiteY2539" fmla="*/ 1822393 h 5142621"/>
              <a:gd name="connsiteX2540" fmla="*/ 4699944 w 6268558"/>
              <a:gd name="connsiteY2540" fmla="*/ 1487630 h 5142621"/>
              <a:gd name="connsiteX2541" fmla="*/ 3741144 w 6268558"/>
              <a:gd name="connsiteY2541" fmla="*/ 1495719 h 5142621"/>
              <a:gd name="connsiteX2542" fmla="*/ 3154677 w 6268558"/>
              <a:gd name="connsiteY2542" fmla="*/ 1637006 h 5142621"/>
              <a:gd name="connsiteX2543" fmla="*/ 3050132 w 6268558"/>
              <a:gd name="connsiteY2543" fmla="*/ 1686578 h 5142621"/>
              <a:gd name="connsiteX2544" fmla="*/ 2959620 w 6268558"/>
              <a:gd name="connsiteY2544" fmla="*/ 1742564 h 5142621"/>
              <a:gd name="connsiteX2545" fmla="*/ 2919745 w 6268558"/>
              <a:gd name="connsiteY2545" fmla="*/ 1773623 h 5142621"/>
              <a:gd name="connsiteX2546" fmla="*/ 2884083 w 6268558"/>
              <a:gd name="connsiteY2546" fmla="*/ 1807229 h 5142621"/>
              <a:gd name="connsiteX2547" fmla="*/ 2854181 w 6268558"/>
              <a:gd name="connsiteY2547" fmla="*/ 1843406 h 5142621"/>
              <a:gd name="connsiteX2548" fmla="*/ 2832366 w 6268558"/>
              <a:gd name="connsiteY2548" fmla="*/ 1880663 h 5142621"/>
              <a:gd name="connsiteX2549" fmla="*/ 2819585 w 6268558"/>
              <a:gd name="connsiteY2549" fmla="*/ 1916250 h 5142621"/>
              <a:gd name="connsiteX2550" fmla="*/ 2813973 w 6268558"/>
              <a:gd name="connsiteY2550" fmla="*/ 1948677 h 5142621"/>
              <a:gd name="connsiteX2551" fmla="*/ 2814890 w 6268558"/>
              <a:gd name="connsiteY2551" fmla="*/ 2005890 h 5142621"/>
              <a:gd name="connsiteX2552" fmla="*/ 2837508 w 6268558"/>
              <a:gd name="connsiteY2552" fmla="*/ 2105788 h 5142621"/>
              <a:gd name="connsiteX2553" fmla="*/ 2871890 w 6268558"/>
              <a:gd name="connsiteY2553" fmla="*/ 2199154 h 5142621"/>
              <a:gd name="connsiteX2554" fmla="*/ 2912927 w 6268558"/>
              <a:gd name="connsiteY2554" fmla="*/ 2290067 h 5142621"/>
              <a:gd name="connsiteX2555" fmla="*/ 3102511 w 6268558"/>
              <a:gd name="connsiteY2555" fmla="*/ 2642023 h 5142621"/>
              <a:gd name="connsiteX2556" fmla="*/ 3251321 w 6268558"/>
              <a:gd name="connsiteY2556" fmla="*/ 3006361 h 5142621"/>
              <a:gd name="connsiteX2557" fmla="*/ 3272758 w 6268558"/>
              <a:gd name="connsiteY2557" fmla="*/ 3103547 h 5142621"/>
              <a:gd name="connsiteX2558" fmla="*/ 3280611 w 6268558"/>
              <a:gd name="connsiteY2558" fmla="*/ 3153260 h 5142621"/>
              <a:gd name="connsiteX2559" fmla="*/ 3286436 w 6268558"/>
              <a:gd name="connsiteY2559" fmla="*/ 3203941 h 5142621"/>
              <a:gd name="connsiteX2560" fmla="*/ 3291153 w 6268558"/>
              <a:gd name="connsiteY2560" fmla="*/ 3309358 h 5142621"/>
              <a:gd name="connsiteX2561" fmla="*/ 3288276 w 6268558"/>
              <a:gd name="connsiteY2561" fmla="*/ 3367184 h 5142621"/>
              <a:gd name="connsiteX2562" fmla="*/ 3278347 w 6268558"/>
              <a:gd name="connsiteY2562" fmla="*/ 3433170 h 5142621"/>
              <a:gd name="connsiteX2563" fmla="*/ 3268560 w 6268558"/>
              <a:gd name="connsiteY2563" fmla="*/ 3470997 h 5142621"/>
              <a:gd name="connsiteX2564" fmla="*/ 3254481 w 6268558"/>
              <a:gd name="connsiteY2564" fmla="*/ 3511136 h 5142621"/>
              <a:gd name="connsiteX2565" fmla="*/ 3236911 w 6268558"/>
              <a:gd name="connsiteY2565" fmla="*/ 3550472 h 5142621"/>
              <a:gd name="connsiteX2566" fmla="*/ 3217408 w 6268558"/>
              <a:gd name="connsiteY2566" fmla="*/ 3586979 h 5142621"/>
              <a:gd name="connsiteX2567" fmla="*/ 3175453 w 6268558"/>
              <a:gd name="connsiteY2567" fmla="*/ 3652187 h 5142621"/>
              <a:gd name="connsiteX2568" fmla="*/ 3164464 w 6268558"/>
              <a:gd name="connsiteY2568" fmla="*/ 3667280 h 5142621"/>
              <a:gd name="connsiteX2569" fmla="*/ 3158898 w 6268558"/>
              <a:gd name="connsiteY2569" fmla="*/ 3674685 h 5142621"/>
              <a:gd name="connsiteX2570" fmla="*/ 3153309 w 6268558"/>
              <a:gd name="connsiteY2570" fmla="*/ 3681855 h 5142621"/>
              <a:gd name="connsiteX2571" fmla="*/ 3147672 w 6268558"/>
              <a:gd name="connsiteY2571" fmla="*/ 3688953 h 5142621"/>
              <a:gd name="connsiteX2572" fmla="*/ 3141989 w 6268558"/>
              <a:gd name="connsiteY2572" fmla="*/ 3695910 h 5142621"/>
              <a:gd name="connsiteX2573" fmla="*/ 3130460 w 6268558"/>
              <a:gd name="connsiteY2573" fmla="*/ 3709730 h 5142621"/>
              <a:gd name="connsiteX2574" fmla="*/ 2904342 w 6268558"/>
              <a:gd name="connsiteY2574" fmla="*/ 3904881 h 5142621"/>
              <a:gd name="connsiteX2575" fmla="*/ 2544984 w 6268558"/>
              <a:gd name="connsiteY2575" fmla="*/ 4027962 h 5142621"/>
              <a:gd name="connsiteX2576" fmla="*/ 1866518 w 6268558"/>
              <a:gd name="connsiteY2576" fmla="*/ 3966575 h 5142621"/>
              <a:gd name="connsiteX2577" fmla="*/ 2545267 w 6268558"/>
              <a:gd name="connsiteY2577" fmla="*/ 4027679 h 5142621"/>
              <a:gd name="connsiteX2578" fmla="*/ 2904648 w 6268558"/>
              <a:gd name="connsiteY2578" fmla="*/ 3904221 h 5142621"/>
              <a:gd name="connsiteX2579" fmla="*/ 3130693 w 6268558"/>
              <a:gd name="connsiteY2579" fmla="*/ 3708645 h 5142621"/>
              <a:gd name="connsiteX2580" fmla="*/ 3142225 w 6268558"/>
              <a:gd name="connsiteY2580" fmla="*/ 3694802 h 5142621"/>
              <a:gd name="connsiteX2581" fmla="*/ 3147885 w 6268558"/>
              <a:gd name="connsiteY2581" fmla="*/ 3687821 h 5142621"/>
              <a:gd name="connsiteX2582" fmla="*/ 3153498 w 6268558"/>
              <a:gd name="connsiteY2582" fmla="*/ 3680746 h 5142621"/>
              <a:gd name="connsiteX2583" fmla="*/ 3159063 w 6268558"/>
              <a:gd name="connsiteY2583" fmla="*/ 3673577 h 5142621"/>
              <a:gd name="connsiteX2584" fmla="*/ 3164605 w 6268558"/>
              <a:gd name="connsiteY2584" fmla="*/ 3666172 h 5142621"/>
              <a:gd name="connsiteX2585" fmla="*/ 3175548 w 6268558"/>
              <a:gd name="connsiteY2585" fmla="*/ 3651079 h 5142621"/>
              <a:gd name="connsiteX2586" fmla="*/ 3217314 w 6268558"/>
              <a:gd name="connsiteY2586" fmla="*/ 3586060 h 5142621"/>
              <a:gd name="connsiteX2587" fmla="*/ 3236628 w 6268558"/>
              <a:gd name="connsiteY2587" fmla="*/ 3549836 h 5142621"/>
              <a:gd name="connsiteX2588" fmla="*/ 3253939 w 6268558"/>
              <a:gd name="connsiteY2588" fmla="*/ 3511018 h 5142621"/>
              <a:gd name="connsiteX2589" fmla="*/ 3277427 w 6268558"/>
              <a:gd name="connsiteY2589" fmla="*/ 3434231 h 5142621"/>
              <a:gd name="connsiteX2590" fmla="*/ 3287285 w 6268558"/>
              <a:gd name="connsiteY2590" fmla="*/ 3368787 h 5142621"/>
              <a:gd name="connsiteX2591" fmla="*/ 3290162 w 6268558"/>
              <a:gd name="connsiteY2591" fmla="*/ 3311244 h 5142621"/>
              <a:gd name="connsiteX2592" fmla="*/ 3285446 w 6268558"/>
              <a:gd name="connsiteY2592" fmla="*/ 3206134 h 5142621"/>
              <a:gd name="connsiteX2593" fmla="*/ 3279644 w 6268558"/>
              <a:gd name="connsiteY2593" fmla="*/ 3155595 h 5142621"/>
              <a:gd name="connsiteX2594" fmla="*/ 3271791 w 6268558"/>
              <a:gd name="connsiteY2594" fmla="*/ 3106000 h 5142621"/>
              <a:gd name="connsiteX2595" fmla="*/ 3250377 w 6268558"/>
              <a:gd name="connsiteY2595" fmla="*/ 3009049 h 5142621"/>
              <a:gd name="connsiteX2596" fmla="*/ 3101591 w 6268558"/>
              <a:gd name="connsiteY2596" fmla="*/ 2645631 h 5142621"/>
              <a:gd name="connsiteX2597" fmla="*/ 2911133 w 6268558"/>
              <a:gd name="connsiteY2597" fmla="*/ 2294595 h 5142621"/>
              <a:gd name="connsiteX2598" fmla="*/ 2869605 w 6268558"/>
              <a:gd name="connsiteY2598" fmla="*/ 2203894 h 5142621"/>
              <a:gd name="connsiteX2599" fmla="*/ 2834582 w 6268558"/>
              <a:gd name="connsiteY2599" fmla="*/ 2110693 h 5142621"/>
              <a:gd name="connsiteX2600" fmla="*/ 2811073 w 6268558"/>
              <a:gd name="connsiteY2600" fmla="*/ 2010606 h 5142621"/>
              <a:gd name="connsiteX2601" fmla="*/ 2809636 w 6268558"/>
              <a:gd name="connsiteY2601" fmla="*/ 1952639 h 5142621"/>
              <a:gd name="connsiteX2602" fmla="*/ 2815102 w 6268558"/>
              <a:gd name="connsiteY2602" fmla="*/ 1919292 h 5142621"/>
              <a:gd name="connsiteX2603" fmla="*/ 2828191 w 6268558"/>
              <a:gd name="connsiteY2603" fmla="*/ 1882078 h 5142621"/>
              <a:gd name="connsiteX2604" fmla="*/ 2850973 w 6268558"/>
              <a:gd name="connsiteY2604" fmla="*/ 1842769 h 5142621"/>
              <a:gd name="connsiteX2605" fmla="*/ 2882078 w 6268558"/>
              <a:gd name="connsiteY2605" fmla="*/ 1805036 h 5142621"/>
              <a:gd name="connsiteX2606" fmla="*/ 2918753 w 6268558"/>
              <a:gd name="connsiteY2606" fmla="*/ 1770534 h 5142621"/>
              <a:gd name="connsiteX2607" fmla="*/ 2959457 w 6268558"/>
              <a:gd name="connsiteY2607" fmla="*/ 1738957 h 5142621"/>
              <a:gd name="connsiteX2608" fmla="*/ 3051217 w 6268558"/>
              <a:gd name="connsiteY2608" fmla="*/ 1682521 h 5142621"/>
              <a:gd name="connsiteX2609" fmla="*/ 3156799 w 6268558"/>
              <a:gd name="connsiteY2609" fmla="*/ 1632808 h 5142621"/>
              <a:gd name="connsiteX2610" fmla="*/ 3747512 w 6268558"/>
              <a:gd name="connsiteY2610" fmla="*/ 1491828 h 5142621"/>
              <a:gd name="connsiteX2611" fmla="*/ 4172930 w 6268558"/>
              <a:gd name="connsiteY2611" fmla="*/ 1464866 h 5142621"/>
              <a:gd name="connsiteX2612" fmla="*/ 4197774 w 6268558"/>
              <a:gd name="connsiteY2612" fmla="*/ 1425308 h 5142621"/>
              <a:gd name="connsiteX2613" fmla="*/ 4392098 w 6268558"/>
              <a:gd name="connsiteY2613" fmla="*/ 1426316 h 5142621"/>
              <a:gd name="connsiteX2614" fmla="*/ 4680110 w 6268558"/>
              <a:gd name="connsiteY2614" fmla="*/ 1439830 h 5142621"/>
              <a:gd name="connsiteX2615" fmla="*/ 6236956 w 6268558"/>
              <a:gd name="connsiteY2615" fmla="*/ 1751507 h 5142621"/>
              <a:gd name="connsiteX2616" fmla="*/ 6210401 w 6268558"/>
              <a:gd name="connsiteY2616" fmla="*/ 1749007 h 5142621"/>
              <a:gd name="connsiteX2617" fmla="*/ 4666432 w 6268558"/>
              <a:gd name="connsiteY2617" fmla="*/ 1442589 h 5142621"/>
              <a:gd name="connsiteX2618" fmla="*/ 3703599 w 6268558"/>
              <a:gd name="connsiteY2618" fmla="*/ 1462116 h 5142621"/>
              <a:gd name="connsiteX2619" fmla="*/ 3116122 w 6268558"/>
              <a:gd name="connsiteY2619" fmla="*/ 1609701 h 5142621"/>
              <a:gd name="connsiteX2620" fmla="*/ 3011389 w 6268558"/>
              <a:gd name="connsiteY2620" fmla="*/ 1660499 h 5142621"/>
              <a:gd name="connsiteX2621" fmla="*/ 2920643 w 6268558"/>
              <a:gd name="connsiteY2621" fmla="*/ 1717618 h 5142621"/>
              <a:gd name="connsiteX2622" fmla="*/ 2880598 w 6268558"/>
              <a:gd name="connsiteY2622" fmla="*/ 1749243 h 5142621"/>
              <a:gd name="connsiteX2623" fmla="*/ 2844753 w 6268558"/>
              <a:gd name="connsiteY2623" fmla="*/ 1783439 h 5142621"/>
              <a:gd name="connsiteX2624" fmla="*/ 2814589 w 6268558"/>
              <a:gd name="connsiteY2624" fmla="*/ 1820252 h 5142621"/>
              <a:gd name="connsiteX2625" fmla="*/ 2792466 w 6268558"/>
              <a:gd name="connsiteY2625" fmla="*/ 1858174 h 5142621"/>
              <a:gd name="connsiteX2626" fmla="*/ 2779357 w 6268558"/>
              <a:gd name="connsiteY2626" fmla="*/ 1894412 h 5142621"/>
              <a:gd name="connsiteX2627" fmla="*/ 2773437 w 6268558"/>
              <a:gd name="connsiteY2627" fmla="*/ 1927476 h 5142621"/>
              <a:gd name="connsiteX2628" fmla="*/ 2773815 w 6268558"/>
              <a:gd name="connsiteY2628" fmla="*/ 1985868 h 5142621"/>
              <a:gd name="connsiteX2629" fmla="*/ 2795649 w 6268558"/>
              <a:gd name="connsiteY2629" fmla="*/ 2087842 h 5142621"/>
              <a:gd name="connsiteX2630" fmla="*/ 2829655 w 6268558"/>
              <a:gd name="connsiteY2630" fmla="*/ 2182953 h 5142621"/>
              <a:gd name="connsiteX2631" fmla="*/ 2870743 w 6268558"/>
              <a:gd name="connsiteY2631" fmla="*/ 2275281 h 5142621"/>
              <a:gd name="connsiteX2632" fmla="*/ 3064333 w 6268558"/>
              <a:gd name="connsiteY2632" fmla="*/ 2628982 h 5142621"/>
              <a:gd name="connsiteX2633" fmla="*/ 3222220 w 6268558"/>
              <a:gd name="connsiteY2633" fmla="*/ 2988744 h 5142621"/>
              <a:gd name="connsiteX2634" fmla="*/ 3246416 w 6268558"/>
              <a:gd name="connsiteY2634" fmla="*/ 3084044 h 5142621"/>
              <a:gd name="connsiteX2635" fmla="*/ 3255683 w 6268558"/>
              <a:gd name="connsiteY2635" fmla="*/ 3132744 h 5142621"/>
              <a:gd name="connsiteX2636" fmla="*/ 3262947 w 6268558"/>
              <a:gd name="connsiteY2636" fmla="*/ 3182339 h 5142621"/>
              <a:gd name="connsiteX2637" fmla="*/ 3270589 w 6268558"/>
              <a:gd name="connsiteY2637" fmla="*/ 3285539 h 5142621"/>
              <a:gd name="connsiteX2638" fmla="*/ 3269197 w 6268558"/>
              <a:gd name="connsiteY2638" fmla="*/ 3342210 h 5142621"/>
              <a:gd name="connsiteX2639" fmla="*/ 3260801 w 6268558"/>
              <a:gd name="connsiteY2639" fmla="*/ 3407087 h 5142621"/>
              <a:gd name="connsiteX2640" fmla="*/ 3251769 w 6268558"/>
              <a:gd name="connsiteY2640" fmla="*/ 3444396 h 5142621"/>
              <a:gd name="connsiteX2641" fmla="*/ 3238374 w 6268558"/>
              <a:gd name="connsiteY2641" fmla="*/ 3484110 h 5142621"/>
              <a:gd name="connsiteX2642" fmla="*/ 3221323 w 6268558"/>
              <a:gd name="connsiteY2642" fmla="*/ 3523117 h 5142621"/>
              <a:gd name="connsiteX2643" fmla="*/ 3202198 w 6268558"/>
              <a:gd name="connsiteY2643" fmla="*/ 3559364 h 5142621"/>
              <a:gd name="connsiteX2644" fmla="*/ 3160644 w 6268558"/>
              <a:gd name="connsiteY2644" fmla="*/ 3624123 h 5142621"/>
              <a:gd name="connsiteX2645" fmla="*/ 3149701 w 6268558"/>
              <a:gd name="connsiteY2645" fmla="*/ 3639099 h 5142621"/>
              <a:gd name="connsiteX2646" fmla="*/ 3144159 w 6268558"/>
              <a:gd name="connsiteY2646" fmla="*/ 3646457 h 5142621"/>
              <a:gd name="connsiteX2647" fmla="*/ 3138570 w 6268558"/>
              <a:gd name="connsiteY2647" fmla="*/ 3653579 h 5142621"/>
              <a:gd name="connsiteX2648" fmla="*/ 3132936 w 6268558"/>
              <a:gd name="connsiteY2648" fmla="*/ 3660630 h 5142621"/>
              <a:gd name="connsiteX2649" fmla="*/ 3127252 w 6268558"/>
              <a:gd name="connsiteY2649" fmla="*/ 3667540 h 5142621"/>
              <a:gd name="connsiteX2650" fmla="*/ 3115697 w 6268558"/>
              <a:gd name="connsiteY2650" fmla="*/ 3681242 h 5142621"/>
              <a:gd name="connsiteX2651" fmla="*/ 2886920 w 6268558"/>
              <a:gd name="connsiteY2651" fmla="*/ 3872785 h 5142621"/>
              <a:gd name="connsiteX2652" fmla="*/ 2516875 w 6268558"/>
              <a:gd name="connsiteY2652" fmla="*/ 3986975 h 5142621"/>
              <a:gd name="connsiteX2653" fmla="*/ 1807091 w 6268558"/>
              <a:gd name="connsiteY2653" fmla="*/ 3898255 h 5142621"/>
              <a:gd name="connsiteX2654" fmla="*/ 2517135 w 6268558"/>
              <a:gd name="connsiteY2654" fmla="*/ 3986692 h 5142621"/>
              <a:gd name="connsiteX2655" fmla="*/ 2887202 w 6268558"/>
              <a:gd name="connsiteY2655" fmla="*/ 3872125 h 5142621"/>
              <a:gd name="connsiteX2656" fmla="*/ 3115910 w 6268558"/>
              <a:gd name="connsiteY2656" fmla="*/ 3680181 h 5142621"/>
              <a:gd name="connsiteX2657" fmla="*/ 3127440 w 6268558"/>
              <a:gd name="connsiteY2657" fmla="*/ 3666455 h 5142621"/>
              <a:gd name="connsiteX2658" fmla="*/ 3133123 w 6268558"/>
              <a:gd name="connsiteY2658" fmla="*/ 3659546 h 5142621"/>
              <a:gd name="connsiteX2659" fmla="*/ 3138735 w 6268558"/>
              <a:gd name="connsiteY2659" fmla="*/ 3652518 h 5142621"/>
              <a:gd name="connsiteX2660" fmla="*/ 3144301 w 6268558"/>
              <a:gd name="connsiteY2660" fmla="*/ 3645419 h 5142621"/>
              <a:gd name="connsiteX2661" fmla="*/ 3149843 w 6268558"/>
              <a:gd name="connsiteY2661" fmla="*/ 3638061 h 5142621"/>
              <a:gd name="connsiteX2662" fmla="*/ 3160762 w 6268558"/>
              <a:gd name="connsiteY2662" fmla="*/ 3623086 h 5142621"/>
              <a:gd name="connsiteX2663" fmla="*/ 3202127 w 6268558"/>
              <a:gd name="connsiteY2663" fmla="*/ 3558491 h 5142621"/>
              <a:gd name="connsiteX2664" fmla="*/ 3221088 w 6268558"/>
              <a:gd name="connsiteY2664" fmla="*/ 3522527 h 5142621"/>
              <a:gd name="connsiteX2665" fmla="*/ 3237879 w 6268558"/>
              <a:gd name="connsiteY2665" fmla="*/ 3484039 h 5142621"/>
              <a:gd name="connsiteX2666" fmla="*/ 3259953 w 6268558"/>
              <a:gd name="connsiteY2666" fmla="*/ 3408196 h 5142621"/>
              <a:gd name="connsiteX2667" fmla="*/ 3268278 w 6268558"/>
              <a:gd name="connsiteY2667" fmla="*/ 3343884 h 5142621"/>
              <a:gd name="connsiteX2668" fmla="*/ 3269645 w 6268558"/>
              <a:gd name="connsiteY2668" fmla="*/ 3287473 h 5142621"/>
              <a:gd name="connsiteX2669" fmla="*/ 3262028 w 6268558"/>
              <a:gd name="connsiteY2669" fmla="*/ 3184603 h 5142621"/>
              <a:gd name="connsiteX2670" fmla="*/ 3254788 w 6268558"/>
              <a:gd name="connsiteY2670" fmla="*/ 3135125 h 5142621"/>
              <a:gd name="connsiteX2671" fmla="*/ 3245520 w 6268558"/>
              <a:gd name="connsiteY2671" fmla="*/ 3086544 h 5142621"/>
              <a:gd name="connsiteX2672" fmla="*/ 3221347 w 6268558"/>
              <a:gd name="connsiteY2672" fmla="*/ 2991480 h 5142621"/>
              <a:gd name="connsiteX2673" fmla="*/ 3063510 w 6268558"/>
              <a:gd name="connsiteY2673" fmla="*/ 2632638 h 5142621"/>
              <a:gd name="connsiteX2674" fmla="*/ 2868992 w 6268558"/>
              <a:gd name="connsiteY2674" fmla="*/ 2279856 h 5142621"/>
              <a:gd name="connsiteX2675" fmla="*/ 2827416 w 6268558"/>
              <a:gd name="connsiteY2675" fmla="*/ 2187740 h 5142621"/>
              <a:gd name="connsiteX2676" fmla="*/ 2792749 w 6268558"/>
              <a:gd name="connsiteY2676" fmla="*/ 2092794 h 5142621"/>
              <a:gd name="connsiteX2677" fmla="*/ 2770017 w 6268558"/>
              <a:gd name="connsiteY2677" fmla="*/ 1990632 h 5142621"/>
              <a:gd name="connsiteX2678" fmla="*/ 2769121 w 6268558"/>
              <a:gd name="connsiteY2678" fmla="*/ 1931461 h 5142621"/>
              <a:gd name="connsiteX2679" fmla="*/ 2774923 w 6268558"/>
              <a:gd name="connsiteY2679" fmla="*/ 1897454 h 5142621"/>
              <a:gd name="connsiteX2680" fmla="*/ 2788343 w 6268558"/>
              <a:gd name="connsiteY2680" fmla="*/ 1859533 h 5142621"/>
              <a:gd name="connsiteX2681" fmla="*/ 2811450 w 6268558"/>
              <a:gd name="connsiteY2681" fmla="*/ 1819544 h 5142621"/>
              <a:gd name="connsiteX2682" fmla="*/ 2842839 w 6268558"/>
              <a:gd name="connsiteY2682" fmla="*/ 1781175 h 5142621"/>
              <a:gd name="connsiteX2683" fmla="*/ 2879726 w 6268558"/>
              <a:gd name="connsiteY2683" fmla="*/ 1746059 h 5142621"/>
              <a:gd name="connsiteX2684" fmla="*/ 2920593 w 6268558"/>
              <a:gd name="connsiteY2684" fmla="*/ 1713915 h 5142621"/>
              <a:gd name="connsiteX2685" fmla="*/ 3012591 w 6268558"/>
              <a:gd name="connsiteY2685" fmla="*/ 1656325 h 5142621"/>
              <a:gd name="connsiteX2686" fmla="*/ 3118363 w 6268558"/>
              <a:gd name="connsiteY2686" fmla="*/ 1605385 h 5142621"/>
              <a:gd name="connsiteX2687" fmla="*/ 3710108 w 6268558"/>
              <a:gd name="connsiteY2687" fmla="*/ 1458107 h 5142621"/>
              <a:gd name="connsiteX2688" fmla="*/ 4197774 w 6268558"/>
              <a:gd name="connsiteY2688" fmla="*/ 1425308 h 5142621"/>
              <a:gd name="connsiteX2689" fmla="*/ 4357357 w 6268558"/>
              <a:gd name="connsiteY2689" fmla="*/ 1385141 h 5142621"/>
              <a:gd name="connsiteX2690" fmla="*/ 4646646 w 6268558"/>
              <a:gd name="connsiteY2690" fmla="*/ 1395087 h 5142621"/>
              <a:gd name="connsiteX2691" fmla="*/ 6219576 w 6268558"/>
              <a:gd name="connsiteY2691" fmla="*/ 1678982 h 5142621"/>
              <a:gd name="connsiteX2692" fmla="*/ 6192880 w 6268558"/>
              <a:gd name="connsiteY2692" fmla="*/ 1676907 h 5142621"/>
              <a:gd name="connsiteX2693" fmla="*/ 4632944 w 6268558"/>
              <a:gd name="connsiteY2693" fmla="*/ 1397964 h 5142621"/>
              <a:gd name="connsiteX2694" fmla="*/ 3666928 w 6268558"/>
              <a:gd name="connsiteY2694" fmla="*/ 1428198 h 5142621"/>
              <a:gd name="connsiteX2695" fmla="*/ 3078575 w 6268558"/>
              <a:gd name="connsiteY2695" fmla="*/ 1581630 h 5142621"/>
              <a:gd name="connsiteX2696" fmla="*/ 2973632 w 6268558"/>
              <a:gd name="connsiteY2696" fmla="*/ 1633538 h 5142621"/>
              <a:gd name="connsiteX2697" fmla="*/ 2882600 w 6268558"/>
              <a:gd name="connsiteY2697" fmla="*/ 1691717 h 5142621"/>
              <a:gd name="connsiteX2698" fmla="*/ 2842367 w 6268558"/>
              <a:gd name="connsiteY2698" fmla="*/ 1723862 h 5142621"/>
              <a:gd name="connsiteX2699" fmla="*/ 2806282 w 6268558"/>
              <a:gd name="connsiteY2699" fmla="*/ 1758600 h 5142621"/>
              <a:gd name="connsiteX2700" fmla="*/ 2775815 w 6268558"/>
              <a:gd name="connsiteY2700" fmla="*/ 1796003 h 5142621"/>
              <a:gd name="connsiteX2701" fmla="*/ 2753341 w 6268558"/>
              <a:gd name="connsiteY2701" fmla="*/ 1834584 h 5142621"/>
              <a:gd name="connsiteX2702" fmla="*/ 2739851 w 6268558"/>
              <a:gd name="connsiteY2702" fmla="*/ 1871489 h 5142621"/>
              <a:gd name="connsiteX2703" fmla="*/ 2733554 w 6268558"/>
              <a:gd name="connsiteY2703" fmla="*/ 1905189 h 5142621"/>
              <a:gd name="connsiteX2704" fmla="*/ 2733271 w 6268558"/>
              <a:gd name="connsiteY2704" fmla="*/ 1964808 h 5142621"/>
              <a:gd name="connsiteX2705" fmla="*/ 2754166 w 6268558"/>
              <a:gd name="connsiteY2705" fmla="*/ 2068975 h 5142621"/>
              <a:gd name="connsiteX2706" fmla="*/ 2787651 w 6268558"/>
              <a:gd name="connsiteY2706" fmla="*/ 2165996 h 5142621"/>
              <a:gd name="connsiteX2707" fmla="*/ 2828619 w 6268558"/>
              <a:gd name="connsiteY2707" fmla="*/ 2259928 h 5142621"/>
              <a:gd name="connsiteX2708" fmla="*/ 3025680 w 6268558"/>
              <a:gd name="connsiteY2708" fmla="*/ 2616200 h 5142621"/>
              <a:gd name="connsiteX2709" fmla="*/ 3192127 w 6268558"/>
              <a:gd name="connsiteY2709" fmla="*/ 2972094 h 5142621"/>
              <a:gd name="connsiteX2710" fmla="*/ 3218965 w 6268558"/>
              <a:gd name="connsiteY2710" fmla="*/ 3065625 h 5142621"/>
              <a:gd name="connsiteX2711" fmla="*/ 3229601 w 6268558"/>
              <a:gd name="connsiteY2711" fmla="*/ 3113358 h 5142621"/>
              <a:gd name="connsiteX2712" fmla="*/ 3238232 w 6268558"/>
              <a:gd name="connsiteY2712" fmla="*/ 3161939 h 5142621"/>
              <a:gd name="connsiteX2713" fmla="*/ 3248703 w 6268558"/>
              <a:gd name="connsiteY2713" fmla="*/ 3262969 h 5142621"/>
              <a:gd name="connsiteX2714" fmla="*/ 3248774 w 6268558"/>
              <a:gd name="connsiteY2714" fmla="*/ 3318532 h 5142621"/>
              <a:gd name="connsiteX2715" fmla="*/ 3241864 w 6268558"/>
              <a:gd name="connsiteY2715" fmla="*/ 3382277 h 5142621"/>
              <a:gd name="connsiteX2716" fmla="*/ 3233586 w 6268558"/>
              <a:gd name="connsiteY2716" fmla="*/ 3419043 h 5142621"/>
              <a:gd name="connsiteX2717" fmla="*/ 3220851 w 6268558"/>
              <a:gd name="connsiteY2717" fmla="*/ 3458286 h 5142621"/>
              <a:gd name="connsiteX2718" fmla="*/ 3204319 w 6268558"/>
              <a:gd name="connsiteY2718" fmla="*/ 3496915 h 5142621"/>
              <a:gd name="connsiteX2719" fmla="*/ 3185547 w 6268558"/>
              <a:gd name="connsiteY2719" fmla="*/ 3532832 h 5142621"/>
              <a:gd name="connsiteX2720" fmla="*/ 3144347 w 6268558"/>
              <a:gd name="connsiteY2720" fmla="*/ 3597026 h 5142621"/>
              <a:gd name="connsiteX2721" fmla="*/ 3133454 w 6268558"/>
              <a:gd name="connsiteY2721" fmla="*/ 3611860 h 5142621"/>
              <a:gd name="connsiteX2722" fmla="*/ 3127911 w 6268558"/>
              <a:gd name="connsiteY2722" fmla="*/ 3619147 h 5142621"/>
              <a:gd name="connsiteX2723" fmla="*/ 3122324 w 6268558"/>
              <a:gd name="connsiteY2723" fmla="*/ 3626198 h 5142621"/>
              <a:gd name="connsiteX2724" fmla="*/ 3116687 w 6268558"/>
              <a:gd name="connsiteY2724" fmla="*/ 3633179 h 5142621"/>
              <a:gd name="connsiteX2725" fmla="*/ 3111001 w 6268558"/>
              <a:gd name="connsiteY2725" fmla="*/ 3640018 h 5142621"/>
              <a:gd name="connsiteX2726" fmla="*/ 3099423 w 6268558"/>
              <a:gd name="connsiteY2726" fmla="*/ 3653555 h 5142621"/>
              <a:gd name="connsiteX2727" fmla="*/ 2867787 w 6268558"/>
              <a:gd name="connsiteY2727" fmla="*/ 3840971 h 5142621"/>
              <a:gd name="connsiteX2728" fmla="*/ 2486567 w 6268558"/>
              <a:gd name="connsiteY2728" fmla="*/ 3945468 h 5142621"/>
              <a:gd name="connsiteX2729" fmla="*/ 1745087 w 6268558"/>
              <a:gd name="connsiteY2729" fmla="*/ 3827387 h 5142621"/>
              <a:gd name="connsiteX2730" fmla="*/ 2486850 w 6268558"/>
              <a:gd name="connsiteY2730" fmla="*/ 3945209 h 5142621"/>
              <a:gd name="connsiteX2731" fmla="*/ 2868094 w 6268558"/>
              <a:gd name="connsiteY2731" fmla="*/ 3840358 h 5142621"/>
              <a:gd name="connsiteX2732" fmla="*/ 3099657 w 6268558"/>
              <a:gd name="connsiteY2732" fmla="*/ 3652564 h 5142621"/>
              <a:gd name="connsiteX2733" fmla="*/ 3111213 w 6268558"/>
              <a:gd name="connsiteY2733" fmla="*/ 3639004 h 5142621"/>
              <a:gd name="connsiteX2734" fmla="*/ 3116900 w 6268558"/>
              <a:gd name="connsiteY2734" fmla="*/ 3632165 h 5142621"/>
              <a:gd name="connsiteX2735" fmla="*/ 3122512 w 6268558"/>
              <a:gd name="connsiteY2735" fmla="*/ 3625208 h 5142621"/>
              <a:gd name="connsiteX2736" fmla="*/ 3128075 w 6268558"/>
              <a:gd name="connsiteY2736" fmla="*/ 3618180 h 5142621"/>
              <a:gd name="connsiteX2737" fmla="*/ 3133593 w 6268558"/>
              <a:gd name="connsiteY2737" fmla="*/ 3610893 h 5142621"/>
              <a:gd name="connsiteX2738" fmla="*/ 3144465 w 6268558"/>
              <a:gd name="connsiteY2738" fmla="*/ 3596059 h 5142621"/>
              <a:gd name="connsiteX2739" fmla="*/ 3185453 w 6268558"/>
              <a:gd name="connsiteY2739" fmla="*/ 3532030 h 5142621"/>
              <a:gd name="connsiteX2740" fmla="*/ 3204060 w 6268558"/>
              <a:gd name="connsiteY2740" fmla="*/ 3496396 h 5142621"/>
              <a:gd name="connsiteX2741" fmla="*/ 3220356 w 6268558"/>
              <a:gd name="connsiteY2741" fmla="*/ 3458286 h 5142621"/>
              <a:gd name="connsiteX2742" fmla="*/ 3241062 w 6268558"/>
              <a:gd name="connsiteY2742" fmla="*/ 3383433 h 5142621"/>
              <a:gd name="connsiteX2743" fmla="*/ 3247901 w 6268558"/>
              <a:gd name="connsiteY2743" fmla="*/ 3320230 h 5142621"/>
              <a:gd name="connsiteX2744" fmla="*/ 3247831 w 6268558"/>
              <a:gd name="connsiteY2744" fmla="*/ 3264950 h 5142621"/>
              <a:gd name="connsiteX2745" fmla="*/ 3237383 w 6268558"/>
              <a:gd name="connsiteY2745" fmla="*/ 3164227 h 5142621"/>
              <a:gd name="connsiteX2746" fmla="*/ 3228752 w 6268558"/>
              <a:gd name="connsiteY2746" fmla="*/ 3115763 h 5142621"/>
              <a:gd name="connsiteX2747" fmla="*/ 3218116 w 6268558"/>
              <a:gd name="connsiteY2747" fmla="*/ 3068149 h 5142621"/>
              <a:gd name="connsiteX2748" fmla="*/ 3191301 w 6268558"/>
              <a:gd name="connsiteY2748" fmla="*/ 2974853 h 5142621"/>
              <a:gd name="connsiteX2749" fmla="*/ 3024902 w 6268558"/>
              <a:gd name="connsiteY2749" fmla="*/ 2619902 h 5142621"/>
              <a:gd name="connsiteX2750" fmla="*/ 2826893 w 6268558"/>
              <a:gd name="connsiteY2750" fmla="*/ 2264598 h 5142621"/>
              <a:gd name="connsiteX2751" fmla="*/ 2785411 w 6268558"/>
              <a:gd name="connsiteY2751" fmla="*/ 2170901 h 5142621"/>
              <a:gd name="connsiteX2752" fmla="*/ 2751242 w 6268558"/>
              <a:gd name="connsiteY2752" fmla="*/ 2074069 h 5142621"/>
              <a:gd name="connsiteX2753" fmla="*/ 2729451 w 6268558"/>
              <a:gd name="connsiteY2753" fmla="*/ 1969713 h 5142621"/>
              <a:gd name="connsiteX2754" fmla="*/ 2729215 w 6268558"/>
              <a:gd name="connsiteY2754" fmla="*/ 1909316 h 5142621"/>
              <a:gd name="connsiteX2755" fmla="*/ 2735394 w 6268558"/>
              <a:gd name="connsiteY2755" fmla="*/ 1874649 h 5142621"/>
              <a:gd name="connsiteX2756" fmla="*/ 2749213 w 6268558"/>
              <a:gd name="connsiteY2756" fmla="*/ 1836047 h 5142621"/>
              <a:gd name="connsiteX2757" fmla="*/ 2772702 w 6268558"/>
              <a:gd name="connsiteY2757" fmla="*/ 1795365 h 5142621"/>
              <a:gd name="connsiteX2758" fmla="*/ 2804395 w 6268558"/>
              <a:gd name="connsiteY2758" fmla="*/ 1756383 h 5142621"/>
              <a:gd name="connsiteX2759" fmla="*/ 2841515 w 6268558"/>
              <a:gd name="connsiteY2759" fmla="*/ 1720701 h 5142621"/>
              <a:gd name="connsiteX2760" fmla="*/ 2882574 w 6268558"/>
              <a:gd name="connsiteY2760" fmla="*/ 1688014 h 5142621"/>
              <a:gd name="connsiteX2761" fmla="*/ 2974856 w 6268558"/>
              <a:gd name="connsiteY2761" fmla="*/ 1629363 h 5142621"/>
              <a:gd name="connsiteX2762" fmla="*/ 3080842 w 6268558"/>
              <a:gd name="connsiteY2762" fmla="*/ 1577291 h 5142621"/>
              <a:gd name="connsiteX2763" fmla="*/ 3673461 w 6268558"/>
              <a:gd name="connsiteY2763" fmla="*/ 1424118 h 5142621"/>
              <a:gd name="connsiteX2764" fmla="*/ 4357357 w 6268558"/>
              <a:gd name="connsiteY2764" fmla="*/ 1385141 h 5142621"/>
              <a:gd name="connsiteX2765" fmla="*/ 4323146 w 6268558"/>
              <a:gd name="connsiteY2765" fmla="*/ 1343962 h 5142621"/>
              <a:gd name="connsiteX2766" fmla="*/ 4613370 w 6268558"/>
              <a:gd name="connsiteY2766" fmla="*/ 1350585 h 5142621"/>
              <a:gd name="connsiteX2767" fmla="*/ 6198941 w 6268558"/>
              <a:gd name="connsiteY2767" fmla="*/ 1607713 h 5142621"/>
              <a:gd name="connsiteX2768" fmla="*/ 6172056 w 6268558"/>
              <a:gd name="connsiteY2768" fmla="*/ 1606204 h 5142621"/>
              <a:gd name="connsiteX2769" fmla="*/ 4599503 w 6268558"/>
              <a:gd name="connsiteY2769" fmla="*/ 1353722 h 5142621"/>
              <a:gd name="connsiteX2770" fmla="*/ 3631152 w 6268558"/>
              <a:gd name="connsiteY2770" fmla="*/ 1393908 h 5142621"/>
              <a:gd name="connsiteX2771" fmla="*/ 3042045 w 6268558"/>
              <a:gd name="connsiteY2771" fmla="*/ 1552811 h 5142621"/>
              <a:gd name="connsiteX2772" fmla="*/ 2936864 w 6268558"/>
              <a:gd name="connsiteY2772" fmla="*/ 1605756 h 5142621"/>
              <a:gd name="connsiteX2773" fmla="*/ 2845479 w 6268558"/>
              <a:gd name="connsiteY2773" fmla="*/ 1664902 h 5142621"/>
              <a:gd name="connsiteX2774" fmla="*/ 2805009 w 6268558"/>
              <a:gd name="connsiteY2774" fmla="*/ 1697542 h 5142621"/>
              <a:gd name="connsiteX2775" fmla="*/ 2768645 w 6268558"/>
              <a:gd name="connsiteY2775" fmla="*/ 1732775 h 5142621"/>
              <a:gd name="connsiteX2776" fmla="*/ 2737822 w 6268558"/>
              <a:gd name="connsiteY2776" fmla="*/ 1770744 h 5142621"/>
              <a:gd name="connsiteX2777" fmla="*/ 2714946 w 6268558"/>
              <a:gd name="connsiteY2777" fmla="*/ 1809939 h 5142621"/>
              <a:gd name="connsiteX2778" fmla="*/ 2701032 w 6268558"/>
              <a:gd name="connsiteY2778" fmla="*/ 1847507 h 5142621"/>
              <a:gd name="connsiteX2779" fmla="*/ 2694335 w 6268558"/>
              <a:gd name="connsiteY2779" fmla="*/ 1881866 h 5142621"/>
              <a:gd name="connsiteX2780" fmla="*/ 2693321 w 6268558"/>
              <a:gd name="connsiteY2780" fmla="*/ 1942758 h 5142621"/>
              <a:gd name="connsiteX2781" fmla="*/ 2713107 w 6268558"/>
              <a:gd name="connsiteY2781" fmla="*/ 2049236 h 5142621"/>
              <a:gd name="connsiteX2782" fmla="*/ 2745911 w 6268558"/>
              <a:gd name="connsiteY2782" fmla="*/ 2148309 h 5142621"/>
              <a:gd name="connsiteX2783" fmla="*/ 2786614 w 6268558"/>
              <a:gd name="connsiteY2783" fmla="*/ 2243986 h 5142621"/>
              <a:gd name="connsiteX2784" fmla="*/ 2986601 w 6268558"/>
              <a:gd name="connsiteY2784" fmla="*/ 2603607 h 5142621"/>
              <a:gd name="connsiteX2785" fmla="*/ 3161115 w 6268558"/>
              <a:gd name="connsiteY2785" fmla="*/ 2956388 h 5142621"/>
              <a:gd name="connsiteX2786" fmla="*/ 3190500 w 6268558"/>
              <a:gd name="connsiteY2786" fmla="*/ 3048292 h 5142621"/>
              <a:gd name="connsiteX2787" fmla="*/ 3202457 w 6268558"/>
              <a:gd name="connsiteY2787" fmla="*/ 3095105 h 5142621"/>
              <a:gd name="connsiteX2788" fmla="*/ 3212432 w 6268558"/>
              <a:gd name="connsiteY2788" fmla="*/ 3142719 h 5142621"/>
              <a:gd name="connsiteX2789" fmla="*/ 3225663 w 6268558"/>
              <a:gd name="connsiteY2789" fmla="*/ 3241698 h 5142621"/>
              <a:gd name="connsiteX2790" fmla="*/ 3227172 w 6268558"/>
              <a:gd name="connsiteY2790" fmla="*/ 3296175 h 5142621"/>
              <a:gd name="connsiteX2791" fmla="*/ 3221724 w 6268558"/>
              <a:gd name="connsiteY2791" fmla="*/ 3358812 h 5142621"/>
              <a:gd name="connsiteX2792" fmla="*/ 3214154 w 6268558"/>
              <a:gd name="connsiteY2792" fmla="*/ 3395036 h 5142621"/>
              <a:gd name="connsiteX2793" fmla="*/ 3202056 w 6268558"/>
              <a:gd name="connsiteY2793" fmla="*/ 3433783 h 5142621"/>
              <a:gd name="connsiteX2794" fmla="*/ 3186043 w 6268558"/>
              <a:gd name="connsiteY2794" fmla="*/ 3471965 h 5142621"/>
              <a:gd name="connsiteX2795" fmla="*/ 3167624 w 6268558"/>
              <a:gd name="connsiteY2795" fmla="*/ 3507528 h 5142621"/>
              <a:gd name="connsiteX2796" fmla="*/ 3126780 w 6268558"/>
              <a:gd name="connsiteY2796" fmla="*/ 3571061 h 5142621"/>
              <a:gd name="connsiteX2797" fmla="*/ 3115908 w 6268558"/>
              <a:gd name="connsiteY2797" fmla="*/ 3585730 h 5142621"/>
              <a:gd name="connsiteX2798" fmla="*/ 3110390 w 6268558"/>
              <a:gd name="connsiteY2798" fmla="*/ 3592923 h 5142621"/>
              <a:gd name="connsiteX2799" fmla="*/ 3104799 w 6268558"/>
              <a:gd name="connsiteY2799" fmla="*/ 3599880 h 5142621"/>
              <a:gd name="connsiteX2800" fmla="*/ 3099141 w 6268558"/>
              <a:gd name="connsiteY2800" fmla="*/ 3606766 h 5142621"/>
              <a:gd name="connsiteX2801" fmla="*/ 3093433 w 6268558"/>
              <a:gd name="connsiteY2801" fmla="*/ 3613511 h 5142621"/>
              <a:gd name="connsiteX2802" fmla="*/ 3081829 w 6268558"/>
              <a:gd name="connsiteY2802" fmla="*/ 3626859 h 5142621"/>
              <a:gd name="connsiteX2803" fmla="*/ 2847106 w 6268558"/>
              <a:gd name="connsiteY2803" fmla="*/ 3809606 h 5142621"/>
              <a:gd name="connsiteX2804" fmla="*/ 2454187 w 6268558"/>
              <a:gd name="connsiteY2804" fmla="*/ 3903537 h 5142621"/>
              <a:gd name="connsiteX2805" fmla="*/ 1680822 w 6268558"/>
              <a:gd name="connsiteY2805" fmla="*/ 3754091 h 5142621"/>
              <a:gd name="connsiteX2806" fmla="*/ 2454470 w 6268558"/>
              <a:gd name="connsiteY2806" fmla="*/ 3903278 h 5142621"/>
              <a:gd name="connsiteX2807" fmla="*/ 2847388 w 6268558"/>
              <a:gd name="connsiteY2807" fmla="*/ 3808969 h 5142621"/>
              <a:gd name="connsiteX2808" fmla="*/ 3082017 w 6268558"/>
              <a:gd name="connsiteY2808" fmla="*/ 3625845 h 5142621"/>
              <a:gd name="connsiteX2809" fmla="*/ 3093622 w 6268558"/>
              <a:gd name="connsiteY2809" fmla="*/ 3612474 h 5142621"/>
              <a:gd name="connsiteX2810" fmla="*/ 3099304 w 6268558"/>
              <a:gd name="connsiteY2810" fmla="*/ 3605729 h 5142621"/>
              <a:gd name="connsiteX2811" fmla="*/ 3104916 w 6268558"/>
              <a:gd name="connsiteY2811" fmla="*/ 3598866 h 5142621"/>
              <a:gd name="connsiteX2812" fmla="*/ 3110484 w 6268558"/>
              <a:gd name="connsiteY2812" fmla="*/ 3591909 h 5142621"/>
              <a:gd name="connsiteX2813" fmla="*/ 3116002 w 6268558"/>
              <a:gd name="connsiteY2813" fmla="*/ 3584716 h 5142621"/>
              <a:gd name="connsiteX2814" fmla="*/ 3126850 w 6268558"/>
              <a:gd name="connsiteY2814" fmla="*/ 3570047 h 5142621"/>
              <a:gd name="connsiteX2815" fmla="*/ 3167483 w 6268558"/>
              <a:gd name="connsiteY2815" fmla="*/ 3506703 h 5142621"/>
              <a:gd name="connsiteX2816" fmla="*/ 3185736 w 6268558"/>
              <a:gd name="connsiteY2816" fmla="*/ 3471422 h 5142621"/>
              <a:gd name="connsiteX2817" fmla="*/ 3201537 w 6268558"/>
              <a:gd name="connsiteY2817" fmla="*/ 3433736 h 5142621"/>
              <a:gd name="connsiteX2818" fmla="*/ 3220875 w 6268558"/>
              <a:gd name="connsiteY2818" fmla="*/ 3359921 h 5142621"/>
              <a:gd name="connsiteX2819" fmla="*/ 3226276 w 6268558"/>
              <a:gd name="connsiteY2819" fmla="*/ 3297826 h 5142621"/>
              <a:gd name="connsiteX2820" fmla="*/ 3224790 w 6268558"/>
              <a:gd name="connsiteY2820" fmla="*/ 3243632 h 5142621"/>
              <a:gd name="connsiteX2821" fmla="*/ 3211607 w 6268558"/>
              <a:gd name="connsiteY2821" fmla="*/ 3144960 h 5142621"/>
              <a:gd name="connsiteX2822" fmla="*/ 3201655 w 6268558"/>
              <a:gd name="connsiteY2822" fmla="*/ 3097463 h 5142621"/>
              <a:gd name="connsiteX2823" fmla="*/ 3189722 w 6268558"/>
              <a:gd name="connsiteY2823" fmla="*/ 3050768 h 5142621"/>
              <a:gd name="connsiteX2824" fmla="*/ 3160384 w 6268558"/>
              <a:gd name="connsiteY2824" fmla="*/ 2959100 h 5142621"/>
              <a:gd name="connsiteX2825" fmla="*/ 2985917 w 6268558"/>
              <a:gd name="connsiteY2825" fmla="*/ 2607286 h 5142621"/>
              <a:gd name="connsiteX2826" fmla="*/ 2784963 w 6268558"/>
              <a:gd name="connsiteY2826" fmla="*/ 2248656 h 5142621"/>
              <a:gd name="connsiteX2827" fmla="*/ 2743742 w 6268558"/>
              <a:gd name="connsiteY2827" fmla="*/ 2153191 h 5142621"/>
              <a:gd name="connsiteX2828" fmla="*/ 2710253 w 6268558"/>
              <a:gd name="connsiteY2828" fmla="*/ 2054307 h 5142621"/>
              <a:gd name="connsiteX2829" fmla="*/ 2689547 w 6268558"/>
              <a:gd name="connsiteY2829" fmla="*/ 1947640 h 5142621"/>
              <a:gd name="connsiteX2830" fmla="*/ 2690043 w 6268558"/>
              <a:gd name="connsiteY2830" fmla="*/ 1885946 h 5142621"/>
              <a:gd name="connsiteX2831" fmla="*/ 2696646 w 6268558"/>
              <a:gd name="connsiteY2831" fmla="*/ 1850597 h 5142621"/>
              <a:gd name="connsiteX2832" fmla="*/ 2710937 w 6268558"/>
              <a:gd name="connsiteY2832" fmla="*/ 1811307 h 5142621"/>
              <a:gd name="connsiteX2833" fmla="*/ 2734874 w 6268558"/>
              <a:gd name="connsiteY2833" fmla="*/ 1769966 h 5142621"/>
              <a:gd name="connsiteX2834" fmla="*/ 2766947 w 6268558"/>
              <a:gd name="connsiteY2834" fmla="*/ 1730393 h 5142621"/>
              <a:gd name="connsiteX2835" fmla="*/ 2804374 w 6268558"/>
              <a:gd name="connsiteY2835" fmla="*/ 1694193 h 5142621"/>
              <a:gd name="connsiteX2836" fmla="*/ 2845668 w 6268558"/>
              <a:gd name="connsiteY2836" fmla="*/ 1661011 h 5142621"/>
              <a:gd name="connsiteX2837" fmla="*/ 2938301 w 6268558"/>
              <a:gd name="connsiteY2837" fmla="*/ 1601369 h 5142621"/>
              <a:gd name="connsiteX2838" fmla="*/ 3044520 w 6268558"/>
              <a:gd name="connsiteY2838" fmla="*/ 1548260 h 5142621"/>
              <a:gd name="connsiteX2839" fmla="*/ 3637897 w 6268558"/>
              <a:gd name="connsiteY2839" fmla="*/ 1389639 h 5142621"/>
              <a:gd name="connsiteX2840" fmla="*/ 4323146 w 6268558"/>
              <a:gd name="connsiteY2840" fmla="*/ 1343962 h 5142621"/>
              <a:gd name="connsiteX2841" fmla="*/ 4289416 w 6268558"/>
              <a:gd name="connsiteY2841" fmla="*/ 1302883 h 5142621"/>
              <a:gd name="connsiteX2842" fmla="*/ 4580283 w 6268558"/>
              <a:gd name="connsiteY2842" fmla="*/ 1306419 h 5142621"/>
              <a:gd name="connsiteX2843" fmla="*/ 6175216 w 6268558"/>
              <a:gd name="connsiteY2843" fmla="*/ 1537936 h 5142621"/>
              <a:gd name="connsiteX2844" fmla="*/ 6148143 w 6268558"/>
              <a:gd name="connsiteY2844" fmla="*/ 1536898 h 5142621"/>
              <a:gd name="connsiteX2845" fmla="*/ 4566204 w 6268558"/>
              <a:gd name="connsiteY2845" fmla="*/ 1309720 h 5142621"/>
              <a:gd name="connsiteX2846" fmla="*/ 3596367 w 6268558"/>
              <a:gd name="connsiteY2846" fmla="*/ 1359175 h 5142621"/>
              <a:gd name="connsiteX2847" fmla="*/ 3006672 w 6268558"/>
              <a:gd name="connsiteY2847" fmla="*/ 1523102 h 5142621"/>
              <a:gd name="connsiteX2848" fmla="*/ 2901207 w 6268558"/>
              <a:gd name="connsiteY2848" fmla="*/ 1576990 h 5142621"/>
              <a:gd name="connsiteX2849" fmla="*/ 2809448 w 6268558"/>
              <a:gd name="connsiteY2849" fmla="*/ 1637010 h 5142621"/>
              <a:gd name="connsiteX2850" fmla="*/ 2768721 w 6268558"/>
              <a:gd name="connsiteY2850" fmla="*/ 1670074 h 5142621"/>
              <a:gd name="connsiteX2851" fmla="*/ 2732025 w 6268558"/>
              <a:gd name="connsiteY2851" fmla="*/ 1705779 h 5142621"/>
              <a:gd name="connsiteX2852" fmla="*/ 2700801 w 6268558"/>
              <a:gd name="connsiteY2852" fmla="*/ 1744267 h 5142621"/>
              <a:gd name="connsiteX2853" fmla="*/ 2677453 w 6268558"/>
              <a:gd name="connsiteY2853" fmla="*/ 1784051 h 5142621"/>
              <a:gd name="connsiteX2854" fmla="*/ 2663044 w 6268558"/>
              <a:gd name="connsiteY2854" fmla="*/ 1822280 h 5142621"/>
              <a:gd name="connsiteX2855" fmla="*/ 2655874 w 6268558"/>
              <a:gd name="connsiteY2855" fmla="*/ 1857324 h 5142621"/>
              <a:gd name="connsiteX2856" fmla="*/ 2654035 w 6268558"/>
              <a:gd name="connsiteY2856" fmla="*/ 1919504 h 5142621"/>
              <a:gd name="connsiteX2857" fmla="*/ 2672548 w 6268558"/>
              <a:gd name="connsiteY2857" fmla="*/ 2028412 h 5142621"/>
              <a:gd name="connsiteX2858" fmla="*/ 2704527 w 6268558"/>
              <a:gd name="connsiteY2858" fmla="*/ 2129678 h 5142621"/>
              <a:gd name="connsiteX2859" fmla="*/ 2744807 w 6268558"/>
              <a:gd name="connsiteY2859" fmla="*/ 2227289 h 5142621"/>
              <a:gd name="connsiteX2860" fmla="*/ 2947149 w 6268558"/>
              <a:gd name="connsiteY2860" fmla="*/ 2591037 h 5142621"/>
              <a:gd name="connsiteX2861" fmla="*/ 3129256 w 6268558"/>
              <a:gd name="connsiteY2861" fmla="*/ 2941436 h 5142621"/>
              <a:gd name="connsiteX2862" fmla="*/ 3161092 w 6268558"/>
              <a:gd name="connsiteY2862" fmla="*/ 3031878 h 5142621"/>
              <a:gd name="connsiteX2863" fmla="*/ 3174322 w 6268558"/>
              <a:gd name="connsiteY2863" fmla="*/ 3077865 h 5142621"/>
              <a:gd name="connsiteX2864" fmla="*/ 3185595 w 6268558"/>
              <a:gd name="connsiteY2864" fmla="*/ 3124583 h 5142621"/>
              <a:gd name="connsiteX2865" fmla="*/ 3201491 w 6268558"/>
              <a:gd name="connsiteY2865" fmla="*/ 3221605 h 5142621"/>
              <a:gd name="connsiteX2866" fmla="*/ 3204368 w 6268558"/>
              <a:gd name="connsiteY2866" fmla="*/ 3275021 h 5142621"/>
              <a:gd name="connsiteX2867" fmla="*/ 3200358 w 6268558"/>
              <a:gd name="connsiteY2867" fmla="*/ 3336549 h 5142621"/>
              <a:gd name="connsiteX2868" fmla="*/ 3193495 w 6268558"/>
              <a:gd name="connsiteY2868" fmla="*/ 3372207 h 5142621"/>
              <a:gd name="connsiteX2869" fmla="*/ 3182034 w 6268558"/>
              <a:gd name="connsiteY2869" fmla="*/ 3410412 h 5142621"/>
              <a:gd name="connsiteX2870" fmla="*/ 3166492 w 6268558"/>
              <a:gd name="connsiteY2870" fmla="*/ 3448145 h 5142621"/>
              <a:gd name="connsiteX2871" fmla="*/ 3148404 w 6268558"/>
              <a:gd name="connsiteY2871" fmla="*/ 3483284 h 5142621"/>
              <a:gd name="connsiteX2872" fmla="*/ 3107892 w 6268558"/>
              <a:gd name="connsiteY2872" fmla="*/ 3546016 h 5142621"/>
              <a:gd name="connsiteX2873" fmla="*/ 3097045 w 6268558"/>
              <a:gd name="connsiteY2873" fmla="*/ 3560472 h 5142621"/>
              <a:gd name="connsiteX2874" fmla="*/ 3091527 w 6268558"/>
              <a:gd name="connsiteY2874" fmla="*/ 3567547 h 5142621"/>
              <a:gd name="connsiteX2875" fmla="*/ 3085935 w 6268558"/>
              <a:gd name="connsiteY2875" fmla="*/ 3574410 h 5142621"/>
              <a:gd name="connsiteX2876" fmla="*/ 3080277 w 6268558"/>
              <a:gd name="connsiteY2876" fmla="*/ 3581178 h 5142621"/>
              <a:gd name="connsiteX2877" fmla="*/ 3074571 w 6268558"/>
              <a:gd name="connsiteY2877" fmla="*/ 3587805 h 5142621"/>
              <a:gd name="connsiteX2878" fmla="*/ 3062919 w 6268558"/>
              <a:gd name="connsiteY2878" fmla="*/ 3600941 h 5142621"/>
              <a:gd name="connsiteX2879" fmla="*/ 2824872 w 6268558"/>
              <a:gd name="connsiteY2879" fmla="*/ 3778522 h 5142621"/>
              <a:gd name="connsiteX2880" fmla="*/ 2419783 w 6268558"/>
              <a:gd name="connsiteY2880" fmla="*/ 3861040 h 5142621"/>
              <a:gd name="connsiteX2881" fmla="*/ 1614629 w 6268558"/>
              <a:gd name="connsiteY2881" fmla="*/ 3678294 h 5142621"/>
              <a:gd name="connsiteX2882" fmla="*/ 2420066 w 6268558"/>
              <a:gd name="connsiteY2882" fmla="*/ 3860804 h 5142621"/>
              <a:gd name="connsiteX2883" fmla="*/ 2825154 w 6268558"/>
              <a:gd name="connsiteY2883" fmla="*/ 3777909 h 5142621"/>
              <a:gd name="connsiteX2884" fmla="*/ 3063108 w 6268558"/>
              <a:gd name="connsiteY2884" fmla="*/ 3599950 h 5142621"/>
              <a:gd name="connsiteX2885" fmla="*/ 3074734 w 6268558"/>
              <a:gd name="connsiteY2885" fmla="*/ 3586791 h 5142621"/>
              <a:gd name="connsiteX2886" fmla="*/ 3080440 w 6268558"/>
              <a:gd name="connsiteY2886" fmla="*/ 3580140 h 5142621"/>
              <a:gd name="connsiteX2887" fmla="*/ 3086077 w 6268558"/>
              <a:gd name="connsiteY2887" fmla="*/ 3573372 h 5142621"/>
              <a:gd name="connsiteX2888" fmla="*/ 3091647 w 6268558"/>
              <a:gd name="connsiteY2888" fmla="*/ 3566533 h 5142621"/>
              <a:gd name="connsiteX2889" fmla="*/ 3097165 w 6268558"/>
              <a:gd name="connsiteY2889" fmla="*/ 3559458 h 5142621"/>
              <a:gd name="connsiteX2890" fmla="*/ 3107986 w 6268558"/>
              <a:gd name="connsiteY2890" fmla="*/ 3545001 h 5142621"/>
              <a:gd name="connsiteX2891" fmla="*/ 3148286 w 6268558"/>
              <a:gd name="connsiteY2891" fmla="*/ 3482435 h 5142621"/>
              <a:gd name="connsiteX2892" fmla="*/ 3166210 w 6268558"/>
              <a:gd name="connsiteY2892" fmla="*/ 3447579 h 5142621"/>
              <a:gd name="connsiteX2893" fmla="*/ 3181515 w 6268558"/>
              <a:gd name="connsiteY2893" fmla="*/ 3410365 h 5142621"/>
              <a:gd name="connsiteX2894" fmla="*/ 3199556 w 6268558"/>
              <a:gd name="connsiteY2894" fmla="*/ 3337634 h 5142621"/>
              <a:gd name="connsiteX2895" fmla="*/ 3203542 w 6268558"/>
              <a:gd name="connsiteY2895" fmla="*/ 3276648 h 5142621"/>
              <a:gd name="connsiteX2896" fmla="*/ 3200664 w 6268558"/>
              <a:gd name="connsiteY2896" fmla="*/ 3223491 h 5142621"/>
              <a:gd name="connsiteX2897" fmla="*/ 3184816 w 6268558"/>
              <a:gd name="connsiteY2897" fmla="*/ 3126777 h 5142621"/>
              <a:gd name="connsiteX2898" fmla="*/ 3173567 w 6268558"/>
              <a:gd name="connsiteY2898" fmla="*/ 3080176 h 5142621"/>
              <a:gd name="connsiteX2899" fmla="*/ 3160362 w 6268558"/>
              <a:gd name="connsiteY2899" fmla="*/ 3034307 h 5142621"/>
              <a:gd name="connsiteX2900" fmla="*/ 3128596 w 6268558"/>
              <a:gd name="connsiteY2900" fmla="*/ 2944101 h 5142621"/>
              <a:gd name="connsiteX2901" fmla="*/ 2946539 w 6268558"/>
              <a:gd name="connsiteY2901" fmla="*/ 2594668 h 5142621"/>
              <a:gd name="connsiteX2902" fmla="*/ 2743204 w 6268558"/>
              <a:gd name="connsiteY2902" fmla="*/ 2231911 h 5142621"/>
              <a:gd name="connsiteX2903" fmla="*/ 2702382 w 6268558"/>
              <a:gd name="connsiteY2903" fmla="*/ 2134536 h 5142621"/>
              <a:gd name="connsiteX2904" fmla="*/ 2669718 w 6268558"/>
              <a:gd name="connsiteY2904" fmla="*/ 2033459 h 5142621"/>
              <a:gd name="connsiteX2905" fmla="*/ 2650285 w 6268558"/>
              <a:gd name="connsiteY2905" fmla="*/ 1924339 h 5142621"/>
              <a:gd name="connsiteX2906" fmla="*/ 2651629 w 6268558"/>
              <a:gd name="connsiteY2906" fmla="*/ 1861325 h 5142621"/>
              <a:gd name="connsiteX2907" fmla="*/ 2658728 w 6268558"/>
              <a:gd name="connsiteY2907" fmla="*/ 1825298 h 5142621"/>
              <a:gd name="connsiteX2908" fmla="*/ 2673538 w 6268558"/>
              <a:gd name="connsiteY2908" fmla="*/ 1785325 h 5142621"/>
              <a:gd name="connsiteX2909" fmla="*/ 2697970 w 6268558"/>
              <a:gd name="connsiteY2909" fmla="*/ 1743370 h 5142621"/>
              <a:gd name="connsiteX2910" fmla="*/ 2730468 w 6268558"/>
              <a:gd name="connsiteY2910" fmla="*/ 1703255 h 5142621"/>
              <a:gd name="connsiteX2911" fmla="*/ 2768248 w 6268558"/>
              <a:gd name="connsiteY2911" fmla="*/ 1666583 h 5142621"/>
              <a:gd name="connsiteX2912" fmla="*/ 2809824 w 6268558"/>
              <a:gd name="connsiteY2912" fmla="*/ 1632977 h 5142621"/>
              <a:gd name="connsiteX2913" fmla="*/ 2902858 w 6268558"/>
              <a:gd name="connsiteY2913" fmla="*/ 1572485 h 5142621"/>
              <a:gd name="connsiteX2914" fmla="*/ 3009360 w 6268558"/>
              <a:gd name="connsiteY2914" fmla="*/ 1518456 h 5142621"/>
              <a:gd name="connsiteX2915" fmla="*/ 3603324 w 6268558"/>
              <a:gd name="connsiteY2915" fmla="*/ 1354788 h 5142621"/>
              <a:gd name="connsiteX2916" fmla="*/ 4289416 w 6268558"/>
              <a:gd name="connsiteY2916" fmla="*/ 1302883 h 5142621"/>
              <a:gd name="connsiteX2917" fmla="*/ 4397046 w 6268558"/>
              <a:gd name="connsiteY2917" fmla="*/ 1260519 h 5142621"/>
              <a:gd name="connsiteX2918" fmla="*/ 4547101 w 6268558"/>
              <a:gd name="connsiteY2918" fmla="*/ 1262360 h 5142621"/>
              <a:gd name="connsiteX2919" fmla="*/ 6148261 w 6268558"/>
              <a:gd name="connsiteY2919" fmla="*/ 1469563 h 5142621"/>
              <a:gd name="connsiteX2920" fmla="*/ 6121352 w 6268558"/>
              <a:gd name="connsiteY2920" fmla="*/ 1469020 h 5142621"/>
              <a:gd name="connsiteX2921" fmla="*/ 4533093 w 6268558"/>
              <a:gd name="connsiteY2921" fmla="*/ 1265851 h 5142621"/>
              <a:gd name="connsiteX2922" fmla="*/ 3562573 w 6268558"/>
              <a:gd name="connsiteY2922" fmla="*/ 1323889 h 5142621"/>
              <a:gd name="connsiteX2923" fmla="*/ 2972426 w 6268558"/>
              <a:gd name="connsiteY2923" fmla="*/ 1492415 h 5142621"/>
              <a:gd name="connsiteX2924" fmla="*/ 2866655 w 6268558"/>
              <a:gd name="connsiteY2924" fmla="*/ 1547104 h 5142621"/>
              <a:gd name="connsiteX2925" fmla="*/ 2774447 w 6268558"/>
              <a:gd name="connsiteY2925" fmla="*/ 1607878 h 5142621"/>
              <a:gd name="connsiteX2926" fmla="*/ 2733412 w 6268558"/>
              <a:gd name="connsiteY2926" fmla="*/ 1641319 h 5142621"/>
              <a:gd name="connsiteX2927" fmla="*/ 2696339 w 6268558"/>
              <a:gd name="connsiteY2927" fmla="*/ 1677426 h 5142621"/>
              <a:gd name="connsiteX2928" fmla="*/ 2664667 w 6268558"/>
              <a:gd name="connsiteY2928" fmla="*/ 1716385 h 5142621"/>
              <a:gd name="connsiteX2929" fmla="*/ 2640777 w 6268558"/>
              <a:gd name="connsiteY2929" fmla="*/ 1756760 h 5142621"/>
              <a:gd name="connsiteX2930" fmla="*/ 2625802 w 6268558"/>
              <a:gd name="connsiteY2930" fmla="*/ 1795625 h 5142621"/>
              <a:gd name="connsiteX2931" fmla="*/ 2618090 w 6268558"/>
              <a:gd name="connsiteY2931" fmla="*/ 1831330 h 5142621"/>
              <a:gd name="connsiteX2932" fmla="*/ 2615307 w 6268558"/>
              <a:gd name="connsiteY2932" fmla="*/ 1894860 h 5142621"/>
              <a:gd name="connsiteX2933" fmla="*/ 2632358 w 6268558"/>
              <a:gd name="connsiteY2933" fmla="*/ 2006315 h 5142621"/>
              <a:gd name="connsiteX2934" fmla="*/ 2663323 w 6268558"/>
              <a:gd name="connsiteY2934" fmla="*/ 2109916 h 5142621"/>
              <a:gd name="connsiteX2935" fmla="*/ 2703037 w 6268558"/>
              <a:gd name="connsiteY2935" fmla="*/ 2209602 h 5142621"/>
              <a:gd name="connsiteX2936" fmla="*/ 2907195 w 6268558"/>
              <a:gd name="connsiteY2936" fmla="*/ 2578255 h 5142621"/>
              <a:gd name="connsiteX2937" fmla="*/ 3096429 w 6268558"/>
              <a:gd name="connsiteY2937" fmla="*/ 2927051 h 5142621"/>
              <a:gd name="connsiteX2938" fmla="*/ 3130599 w 6268558"/>
              <a:gd name="connsiteY2938" fmla="*/ 3016172 h 5142621"/>
              <a:gd name="connsiteX2939" fmla="*/ 3145055 w 6268558"/>
              <a:gd name="connsiteY2939" fmla="*/ 3061381 h 5142621"/>
              <a:gd name="connsiteX2940" fmla="*/ 3157578 w 6268558"/>
              <a:gd name="connsiteY2940" fmla="*/ 3107274 h 5142621"/>
              <a:gd name="connsiteX2941" fmla="*/ 3176044 w 6268558"/>
              <a:gd name="connsiteY2941" fmla="*/ 3202455 h 5142621"/>
              <a:gd name="connsiteX2942" fmla="*/ 3180265 w 6268558"/>
              <a:gd name="connsiteY2942" fmla="*/ 3254858 h 5142621"/>
              <a:gd name="connsiteX2943" fmla="*/ 3177647 w 6268558"/>
              <a:gd name="connsiteY2943" fmla="*/ 3315278 h 5142621"/>
              <a:gd name="connsiteX2944" fmla="*/ 3171469 w 6268558"/>
              <a:gd name="connsiteY2944" fmla="*/ 3350370 h 5142621"/>
              <a:gd name="connsiteX2945" fmla="*/ 3160620 w 6268558"/>
              <a:gd name="connsiteY2945" fmla="*/ 3388032 h 5142621"/>
              <a:gd name="connsiteX2946" fmla="*/ 3145551 w 6268558"/>
              <a:gd name="connsiteY2946" fmla="*/ 3425246 h 5142621"/>
              <a:gd name="connsiteX2947" fmla="*/ 3127792 w 6268558"/>
              <a:gd name="connsiteY2947" fmla="*/ 3459914 h 5142621"/>
              <a:gd name="connsiteX2948" fmla="*/ 3087559 w 6268558"/>
              <a:gd name="connsiteY2948" fmla="*/ 3521749 h 5142621"/>
              <a:gd name="connsiteX2949" fmla="*/ 3076736 w 6268558"/>
              <a:gd name="connsiteY2949" fmla="*/ 3535993 h 5142621"/>
              <a:gd name="connsiteX2950" fmla="*/ 3071218 w 6268558"/>
              <a:gd name="connsiteY2950" fmla="*/ 3542950 h 5142621"/>
              <a:gd name="connsiteX2951" fmla="*/ 3065630 w 6268558"/>
              <a:gd name="connsiteY2951" fmla="*/ 3549695 h 5142621"/>
              <a:gd name="connsiteX2952" fmla="*/ 3059943 w 6268558"/>
              <a:gd name="connsiteY2952" fmla="*/ 3556345 h 5142621"/>
              <a:gd name="connsiteX2953" fmla="*/ 3054213 w 6268558"/>
              <a:gd name="connsiteY2953" fmla="*/ 3562854 h 5142621"/>
              <a:gd name="connsiteX2954" fmla="*/ 3042516 w 6268558"/>
              <a:gd name="connsiteY2954" fmla="*/ 3575754 h 5142621"/>
              <a:gd name="connsiteX2955" fmla="*/ 2800835 w 6268558"/>
              <a:gd name="connsiteY2955" fmla="*/ 3747652 h 5142621"/>
              <a:gd name="connsiteX2956" fmla="*/ 2383060 w 6268558"/>
              <a:gd name="connsiteY2956" fmla="*/ 3817883 h 5142621"/>
              <a:gd name="connsiteX2957" fmla="*/ 1546445 w 6268558"/>
              <a:gd name="connsiteY2957" fmla="*/ 3599998 h 5142621"/>
              <a:gd name="connsiteX2958" fmla="*/ 2383366 w 6268558"/>
              <a:gd name="connsiteY2958" fmla="*/ 3817648 h 5142621"/>
              <a:gd name="connsiteX2959" fmla="*/ 2801118 w 6268558"/>
              <a:gd name="connsiteY2959" fmla="*/ 3747063 h 5142621"/>
              <a:gd name="connsiteX2960" fmla="*/ 3042660 w 6268558"/>
              <a:gd name="connsiteY2960" fmla="*/ 3574787 h 5142621"/>
              <a:gd name="connsiteX2961" fmla="*/ 3054331 w 6268558"/>
              <a:gd name="connsiteY2961" fmla="*/ 3561887 h 5142621"/>
              <a:gd name="connsiteX2962" fmla="*/ 3060062 w 6268558"/>
              <a:gd name="connsiteY2962" fmla="*/ 3555355 h 5142621"/>
              <a:gd name="connsiteX2963" fmla="*/ 3065700 w 6268558"/>
              <a:gd name="connsiteY2963" fmla="*/ 3548704 h 5142621"/>
              <a:gd name="connsiteX2964" fmla="*/ 3071264 w 6268558"/>
              <a:gd name="connsiteY2964" fmla="*/ 3541983 h 5142621"/>
              <a:gd name="connsiteX2965" fmla="*/ 3076782 w 6268558"/>
              <a:gd name="connsiteY2965" fmla="*/ 3535026 h 5142621"/>
              <a:gd name="connsiteX2966" fmla="*/ 3087583 w 6268558"/>
              <a:gd name="connsiteY2966" fmla="*/ 3520806 h 5142621"/>
              <a:gd name="connsiteX2967" fmla="*/ 3127604 w 6268558"/>
              <a:gd name="connsiteY2967" fmla="*/ 3459135 h 5142621"/>
              <a:gd name="connsiteX2968" fmla="*/ 3145197 w 6268558"/>
              <a:gd name="connsiteY2968" fmla="*/ 3424727 h 5142621"/>
              <a:gd name="connsiteX2969" fmla="*/ 3160054 w 6268558"/>
              <a:gd name="connsiteY2969" fmla="*/ 3388008 h 5142621"/>
              <a:gd name="connsiteX2970" fmla="*/ 3176822 w 6268558"/>
              <a:gd name="connsiteY2970" fmla="*/ 3316386 h 5142621"/>
              <a:gd name="connsiteX2971" fmla="*/ 3179416 w 6268558"/>
              <a:gd name="connsiteY2971" fmla="*/ 3256485 h 5142621"/>
              <a:gd name="connsiteX2972" fmla="*/ 3175218 w 6268558"/>
              <a:gd name="connsiteY2972" fmla="*/ 3204342 h 5142621"/>
              <a:gd name="connsiteX2973" fmla="*/ 3156800 w 6268558"/>
              <a:gd name="connsiteY2973" fmla="*/ 3109467 h 5142621"/>
              <a:gd name="connsiteX2974" fmla="*/ 3144301 w 6268558"/>
              <a:gd name="connsiteY2974" fmla="*/ 3063715 h 5142621"/>
              <a:gd name="connsiteX2975" fmla="*/ 3129870 w 6268558"/>
              <a:gd name="connsiteY2975" fmla="*/ 3018624 h 5142621"/>
              <a:gd name="connsiteX2976" fmla="*/ 3095769 w 6268558"/>
              <a:gd name="connsiteY2976" fmla="*/ 2929739 h 5142621"/>
              <a:gd name="connsiteX2977" fmla="*/ 2906561 w 6268558"/>
              <a:gd name="connsiteY2977" fmla="*/ 2581910 h 5142621"/>
              <a:gd name="connsiteX2978" fmla="*/ 2701386 w 6268558"/>
              <a:gd name="connsiteY2978" fmla="*/ 2214271 h 5142621"/>
              <a:gd name="connsiteX2979" fmla="*/ 2661130 w 6268558"/>
              <a:gd name="connsiteY2979" fmla="*/ 2114821 h 5142621"/>
              <a:gd name="connsiteX2980" fmla="*/ 2629457 w 6268558"/>
              <a:gd name="connsiteY2980" fmla="*/ 2011409 h 5142621"/>
              <a:gd name="connsiteX2981" fmla="*/ 2611487 w 6268558"/>
              <a:gd name="connsiteY2981" fmla="*/ 1899742 h 5142621"/>
              <a:gd name="connsiteX2982" fmla="*/ 2613774 w 6268558"/>
              <a:gd name="connsiteY2982" fmla="*/ 1835386 h 5142621"/>
              <a:gd name="connsiteX2983" fmla="*/ 2621416 w 6268558"/>
              <a:gd name="connsiteY2983" fmla="*/ 1798667 h 5142621"/>
              <a:gd name="connsiteX2984" fmla="*/ 2636792 w 6268558"/>
              <a:gd name="connsiteY2984" fmla="*/ 1758034 h 5142621"/>
              <a:gd name="connsiteX2985" fmla="*/ 2661790 w 6268558"/>
              <a:gd name="connsiteY2985" fmla="*/ 1715466 h 5142621"/>
              <a:gd name="connsiteX2986" fmla="*/ 2694783 w 6268558"/>
              <a:gd name="connsiteY2986" fmla="*/ 1674855 h 5142621"/>
              <a:gd name="connsiteX2987" fmla="*/ 2732940 w 6268558"/>
              <a:gd name="connsiteY2987" fmla="*/ 1637759 h 5142621"/>
              <a:gd name="connsiteX2988" fmla="*/ 2774824 w 6268558"/>
              <a:gd name="connsiteY2988" fmla="*/ 1603752 h 5142621"/>
              <a:gd name="connsiteX2989" fmla="*/ 2868331 w 6268558"/>
              <a:gd name="connsiteY2989" fmla="*/ 1542482 h 5142621"/>
              <a:gd name="connsiteX2990" fmla="*/ 2975138 w 6268558"/>
              <a:gd name="connsiteY2990" fmla="*/ 1487627 h 5142621"/>
              <a:gd name="connsiteX2991" fmla="*/ 3569530 w 6268558"/>
              <a:gd name="connsiteY2991" fmla="*/ 1319361 h 5142621"/>
              <a:gd name="connsiteX2992" fmla="*/ 4397046 w 6268558"/>
              <a:gd name="connsiteY2992" fmla="*/ 1260519 h 5142621"/>
              <a:gd name="connsiteX2993" fmla="*/ 4364195 w 6268558"/>
              <a:gd name="connsiteY2993" fmla="*/ 1218053 h 5142621"/>
              <a:gd name="connsiteX2994" fmla="*/ 4514273 w 6268558"/>
              <a:gd name="connsiteY2994" fmla="*/ 1218498 h 5142621"/>
              <a:gd name="connsiteX2995" fmla="*/ 6118687 w 6268558"/>
              <a:gd name="connsiteY2995" fmla="*/ 1402778 h 5142621"/>
              <a:gd name="connsiteX2996" fmla="*/ 6091896 w 6268558"/>
              <a:gd name="connsiteY2996" fmla="*/ 1402542 h 5142621"/>
              <a:gd name="connsiteX2997" fmla="*/ 4500241 w 6268558"/>
              <a:gd name="connsiteY2997" fmla="*/ 1222012 h 5142621"/>
              <a:gd name="connsiteX2998" fmla="*/ 3529862 w 6268558"/>
              <a:gd name="connsiteY2998" fmla="*/ 1287951 h 5142621"/>
              <a:gd name="connsiteX2999" fmla="*/ 2939413 w 6268558"/>
              <a:gd name="connsiteY2999" fmla="*/ 1460628 h 5142621"/>
              <a:gd name="connsiteX3000" fmla="*/ 2833310 w 6268558"/>
              <a:gd name="connsiteY3000" fmla="*/ 1516049 h 5142621"/>
              <a:gd name="connsiteX3001" fmla="*/ 2740584 w 6268558"/>
              <a:gd name="connsiteY3001" fmla="*/ 1577460 h 5142621"/>
              <a:gd name="connsiteX3002" fmla="*/ 2699219 w 6268558"/>
              <a:gd name="connsiteY3002" fmla="*/ 1611231 h 5142621"/>
              <a:gd name="connsiteX3003" fmla="*/ 2661722 w 6268558"/>
              <a:gd name="connsiteY3003" fmla="*/ 1647714 h 5142621"/>
              <a:gd name="connsiteX3004" fmla="*/ 2629530 w 6268558"/>
              <a:gd name="connsiteY3004" fmla="*/ 1687098 h 5142621"/>
              <a:gd name="connsiteX3005" fmla="*/ 2605051 w 6268558"/>
              <a:gd name="connsiteY3005" fmla="*/ 1728016 h 5142621"/>
              <a:gd name="connsiteX3006" fmla="*/ 2589463 w 6268558"/>
              <a:gd name="connsiteY3006" fmla="*/ 1767518 h 5142621"/>
              <a:gd name="connsiteX3007" fmla="*/ 2581161 w 6268558"/>
              <a:gd name="connsiteY3007" fmla="*/ 1803883 h 5142621"/>
              <a:gd name="connsiteX3008" fmla="*/ 2577342 w 6268558"/>
              <a:gd name="connsiteY3008" fmla="*/ 1868777 h 5142621"/>
              <a:gd name="connsiteX3009" fmla="*/ 2592741 w 6268558"/>
              <a:gd name="connsiteY3009" fmla="*/ 1982872 h 5142621"/>
              <a:gd name="connsiteX3010" fmla="*/ 2622527 w 6268558"/>
              <a:gd name="connsiteY3010" fmla="*/ 2088926 h 5142621"/>
              <a:gd name="connsiteX3011" fmla="*/ 2661509 w 6268558"/>
              <a:gd name="connsiteY3011" fmla="*/ 2190853 h 5142621"/>
              <a:gd name="connsiteX3012" fmla="*/ 2866893 w 6268558"/>
              <a:gd name="connsiteY3012" fmla="*/ 2565165 h 5142621"/>
              <a:gd name="connsiteX3013" fmla="*/ 3062800 w 6268558"/>
              <a:gd name="connsiteY3013" fmla="*/ 2913136 h 5142621"/>
              <a:gd name="connsiteX3014" fmla="*/ 3099211 w 6268558"/>
              <a:gd name="connsiteY3014" fmla="*/ 3001101 h 5142621"/>
              <a:gd name="connsiteX3015" fmla="*/ 3114847 w 6268558"/>
              <a:gd name="connsiteY3015" fmla="*/ 3045626 h 5142621"/>
              <a:gd name="connsiteX3016" fmla="*/ 3128572 w 6268558"/>
              <a:gd name="connsiteY3016" fmla="*/ 3090741 h 5142621"/>
              <a:gd name="connsiteX3017" fmla="*/ 3149535 w 6268558"/>
              <a:gd name="connsiteY3017" fmla="*/ 3184201 h 5142621"/>
              <a:gd name="connsiteX3018" fmla="*/ 3155054 w 6268558"/>
              <a:gd name="connsiteY3018" fmla="*/ 3235613 h 5142621"/>
              <a:gd name="connsiteX3019" fmla="*/ 3153781 w 6268558"/>
              <a:gd name="connsiteY3019" fmla="*/ 3294972 h 5142621"/>
              <a:gd name="connsiteX3020" fmla="*/ 3148262 w 6268558"/>
              <a:gd name="connsiteY3020" fmla="*/ 3329498 h 5142621"/>
              <a:gd name="connsiteX3021" fmla="*/ 3138003 w 6268558"/>
              <a:gd name="connsiteY3021" fmla="*/ 3366571 h 5142621"/>
              <a:gd name="connsiteX3022" fmla="*/ 3123385 w 6268558"/>
              <a:gd name="connsiteY3022" fmla="*/ 3403242 h 5142621"/>
              <a:gd name="connsiteX3023" fmla="*/ 3105909 w 6268558"/>
              <a:gd name="connsiteY3023" fmla="*/ 3437414 h 5142621"/>
              <a:gd name="connsiteX3024" fmla="*/ 3065939 w 6268558"/>
              <a:gd name="connsiteY3024" fmla="*/ 3498259 h 5142621"/>
              <a:gd name="connsiteX3025" fmla="*/ 3055110 w 6268558"/>
              <a:gd name="connsiteY3025" fmla="*/ 3512244 h 5142621"/>
              <a:gd name="connsiteX3026" fmla="*/ 3049568 w 6268558"/>
              <a:gd name="connsiteY3026" fmla="*/ 3519083 h 5142621"/>
              <a:gd name="connsiteX3027" fmla="*/ 3043955 w 6268558"/>
              <a:gd name="connsiteY3027" fmla="*/ 3525710 h 5142621"/>
              <a:gd name="connsiteX3028" fmla="*/ 3038273 w 6268558"/>
              <a:gd name="connsiteY3028" fmla="*/ 3532243 h 5142621"/>
              <a:gd name="connsiteX3029" fmla="*/ 3032518 w 6268558"/>
              <a:gd name="connsiteY3029" fmla="*/ 3538634 h 5142621"/>
              <a:gd name="connsiteX3030" fmla="*/ 3020752 w 6268558"/>
              <a:gd name="connsiteY3030" fmla="*/ 3551251 h 5142621"/>
              <a:gd name="connsiteX3031" fmla="*/ 2775158 w 6268558"/>
              <a:gd name="connsiteY3031" fmla="*/ 3716994 h 5142621"/>
              <a:gd name="connsiteX3032" fmla="*/ 2344244 w 6268558"/>
              <a:gd name="connsiteY3032" fmla="*/ 3774018 h 5142621"/>
              <a:gd name="connsiteX3033" fmla="*/ 1476760 w 6268558"/>
              <a:gd name="connsiteY3033" fmla="*/ 3519272 h 5142621"/>
              <a:gd name="connsiteX3034" fmla="*/ 2344551 w 6268558"/>
              <a:gd name="connsiteY3034" fmla="*/ 3773805 h 5142621"/>
              <a:gd name="connsiteX3035" fmla="*/ 2775417 w 6268558"/>
              <a:gd name="connsiteY3035" fmla="*/ 3716428 h 5142621"/>
              <a:gd name="connsiteX3036" fmla="*/ 3020867 w 6268558"/>
              <a:gd name="connsiteY3036" fmla="*/ 3550331 h 5142621"/>
              <a:gd name="connsiteX3037" fmla="*/ 3032612 w 6268558"/>
              <a:gd name="connsiteY3037" fmla="*/ 3537690 h 5142621"/>
              <a:gd name="connsiteX3038" fmla="*/ 3038367 w 6268558"/>
              <a:gd name="connsiteY3038" fmla="*/ 3531299 h 5142621"/>
              <a:gd name="connsiteX3039" fmla="*/ 3044026 w 6268558"/>
              <a:gd name="connsiteY3039" fmla="*/ 3524790 h 5142621"/>
              <a:gd name="connsiteX3040" fmla="*/ 3049617 w 6268558"/>
              <a:gd name="connsiteY3040" fmla="*/ 3518187 h 5142621"/>
              <a:gd name="connsiteX3041" fmla="*/ 3055134 w 6268558"/>
              <a:gd name="connsiteY3041" fmla="*/ 3511348 h 5142621"/>
              <a:gd name="connsiteX3042" fmla="*/ 3065939 w 6268558"/>
              <a:gd name="connsiteY3042" fmla="*/ 3497387 h 5142621"/>
              <a:gd name="connsiteX3043" fmla="*/ 3105720 w 6268558"/>
              <a:gd name="connsiteY3043" fmla="*/ 3436707 h 5142621"/>
              <a:gd name="connsiteX3044" fmla="*/ 3123030 w 6268558"/>
              <a:gd name="connsiteY3044" fmla="*/ 3402818 h 5142621"/>
              <a:gd name="connsiteX3045" fmla="*/ 3137437 w 6268558"/>
              <a:gd name="connsiteY3045" fmla="*/ 3366641 h 5142621"/>
              <a:gd name="connsiteX3046" fmla="*/ 3152955 w 6268558"/>
              <a:gd name="connsiteY3046" fmla="*/ 3296151 h 5142621"/>
              <a:gd name="connsiteX3047" fmla="*/ 3154229 w 6268558"/>
              <a:gd name="connsiteY3047" fmla="*/ 3237311 h 5142621"/>
              <a:gd name="connsiteX3048" fmla="*/ 3148734 w 6268558"/>
              <a:gd name="connsiteY3048" fmla="*/ 3186159 h 5142621"/>
              <a:gd name="connsiteX3049" fmla="*/ 3127842 w 6268558"/>
              <a:gd name="connsiteY3049" fmla="*/ 3093005 h 5142621"/>
              <a:gd name="connsiteX3050" fmla="*/ 3114139 w 6268558"/>
              <a:gd name="connsiteY3050" fmla="*/ 3048008 h 5142621"/>
              <a:gd name="connsiteX3051" fmla="*/ 3098551 w 6268558"/>
              <a:gd name="connsiteY3051" fmla="*/ 3003601 h 5142621"/>
              <a:gd name="connsiteX3052" fmla="*/ 3062209 w 6268558"/>
              <a:gd name="connsiteY3052" fmla="*/ 2915872 h 5142621"/>
              <a:gd name="connsiteX3053" fmla="*/ 2866329 w 6268558"/>
              <a:gd name="connsiteY3053" fmla="*/ 2568892 h 5142621"/>
              <a:gd name="connsiteX3054" fmla="*/ 2659858 w 6268558"/>
              <a:gd name="connsiteY3054" fmla="*/ 2195616 h 5142621"/>
              <a:gd name="connsiteX3055" fmla="*/ 2620309 w 6268558"/>
              <a:gd name="connsiteY3055" fmla="*/ 2093926 h 5142621"/>
              <a:gd name="connsiteX3056" fmla="*/ 2589793 w 6268558"/>
              <a:gd name="connsiteY3056" fmla="*/ 1988037 h 5142621"/>
              <a:gd name="connsiteX3057" fmla="*/ 2573473 w 6268558"/>
              <a:gd name="connsiteY3057" fmla="*/ 1873729 h 5142621"/>
              <a:gd name="connsiteX3058" fmla="*/ 2576822 w 6268558"/>
              <a:gd name="connsiteY3058" fmla="*/ 1808010 h 5142621"/>
              <a:gd name="connsiteX3059" fmla="*/ 2585076 w 6268558"/>
              <a:gd name="connsiteY3059" fmla="*/ 1770607 h 5142621"/>
              <a:gd name="connsiteX3060" fmla="*/ 2601113 w 6268558"/>
              <a:gd name="connsiteY3060" fmla="*/ 1729312 h 5142621"/>
              <a:gd name="connsiteX3061" fmla="*/ 2626748 w 6268558"/>
              <a:gd name="connsiteY3061" fmla="*/ 1686179 h 5142621"/>
              <a:gd name="connsiteX3062" fmla="*/ 2660259 w 6268558"/>
              <a:gd name="connsiteY3062" fmla="*/ 1645120 h 5142621"/>
              <a:gd name="connsiteX3063" fmla="*/ 2698842 w 6268558"/>
              <a:gd name="connsiteY3063" fmla="*/ 1607670 h 5142621"/>
              <a:gd name="connsiteX3064" fmla="*/ 2741080 w 6268558"/>
              <a:gd name="connsiteY3064" fmla="*/ 1573357 h 5142621"/>
              <a:gd name="connsiteX3065" fmla="*/ 2835079 w 6268558"/>
              <a:gd name="connsiteY3065" fmla="*/ 1511451 h 5142621"/>
              <a:gd name="connsiteX3066" fmla="*/ 2942219 w 6268558"/>
              <a:gd name="connsiteY3066" fmla="*/ 1455865 h 5142621"/>
              <a:gd name="connsiteX3067" fmla="*/ 3536890 w 6268558"/>
              <a:gd name="connsiteY3067" fmla="*/ 1283447 h 5142621"/>
              <a:gd name="connsiteX3068" fmla="*/ 4364195 w 6268558"/>
              <a:gd name="connsiteY3068" fmla="*/ 1218053 h 5142621"/>
              <a:gd name="connsiteX3069" fmla="*/ 4481657 w 6268558"/>
              <a:gd name="connsiteY3069" fmla="*/ 1174396 h 5142621"/>
              <a:gd name="connsiteX3070" fmla="*/ 6086543 w 6268558"/>
              <a:gd name="connsiteY3070" fmla="*/ 1337192 h 5142621"/>
              <a:gd name="connsiteX3071" fmla="*/ 6059918 w 6268558"/>
              <a:gd name="connsiteY3071" fmla="*/ 1337475 h 5142621"/>
              <a:gd name="connsiteX3072" fmla="*/ 4467649 w 6268558"/>
              <a:gd name="connsiteY3072" fmla="*/ 1178169 h 5142621"/>
              <a:gd name="connsiteX3073" fmla="*/ 3498237 w 6268558"/>
              <a:gd name="connsiteY3073" fmla="*/ 1251372 h 5142621"/>
              <a:gd name="connsiteX3074" fmla="*/ 2907644 w 6268558"/>
              <a:gd name="connsiteY3074" fmla="*/ 1427728 h 5142621"/>
              <a:gd name="connsiteX3075" fmla="*/ 2801192 w 6268558"/>
              <a:gd name="connsiteY3075" fmla="*/ 1483738 h 5142621"/>
              <a:gd name="connsiteX3076" fmla="*/ 2707897 w 6268558"/>
              <a:gd name="connsiteY3076" fmla="*/ 1545668 h 5142621"/>
              <a:gd name="connsiteX3077" fmla="*/ 2666154 w 6268558"/>
              <a:gd name="connsiteY3077" fmla="*/ 1579699 h 5142621"/>
              <a:gd name="connsiteX3078" fmla="*/ 2628185 w 6268558"/>
              <a:gd name="connsiteY3078" fmla="*/ 1616466 h 5142621"/>
              <a:gd name="connsiteX3079" fmla="*/ 2595428 w 6268558"/>
              <a:gd name="connsiteY3079" fmla="*/ 1656250 h 5142621"/>
              <a:gd name="connsiteX3080" fmla="*/ 2570289 w 6268558"/>
              <a:gd name="connsiteY3080" fmla="*/ 1697663 h 5142621"/>
              <a:gd name="connsiteX3081" fmla="*/ 2554016 w 6268558"/>
              <a:gd name="connsiteY3081" fmla="*/ 1737778 h 5142621"/>
              <a:gd name="connsiteX3082" fmla="*/ 2545078 w 6268558"/>
              <a:gd name="connsiteY3082" fmla="*/ 1774827 h 5142621"/>
              <a:gd name="connsiteX3083" fmla="*/ 2540102 w 6268558"/>
              <a:gd name="connsiteY3083" fmla="*/ 1841096 h 5142621"/>
              <a:gd name="connsiteX3084" fmla="*/ 2553639 w 6268558"/>
              <a:gd name="connsiteY3084" fmla="*/ 1957921 h 5142621"/>
              <a:gd name="connsiteX3085" fmla="*/ 2582080 w 6268558"/>
              <a:gd name="connsiteY3085" fmla="*/ 2066569 h 5142621"/>
              <a:gd name="connsiteX3086" fmla="*/ 2620167 w 6268558"/>
              <a:gd name="connsiteY3086" fmla="*/ 2170878 h 5142621"/>
              <a:gd name="connsiteX3087" fmla="*/ 2826234 w 6268558"/>
              <a:gd name="connsiteY3087" fmla="*/ 2551605 h 5142621"/>
              <a:gd name="connsiteX3088" fmla="*/ 3028366 w 6268558"/>
              <a:gd name="connsiteY3088" fmla="*/ 2899552 h 5142621"/>
              <a:gd name="connsiteX3089" fmla="*/ 3066925 w 6268558"/>
              <a:gd name="connsiteY3089" fmla="*/ 2986527 h 5142621"/>
              <a:gd name="connsiteX3090" fmla="*/ 3083692 w 6268558"/>
              <a:gd name="connsiteY3090" fmla="*/ 3030439 h 5142621"/>
              <a:gd name="connsiteX3091" fmla="*/ 3098597 w 6268558"/>
              <a:gd name="connsiteY3091" fmla="*/ 3074869 h 5142621"/>
              <a:gd name="connsiteX3092" fmla="*/ 3121968 w 6268558"/>
              <a:gd name="connsiteY3092" fmla="*/ 3166726 h 5142621"/>
              <a:gd name="connsiteX3093" fmla="*/ 3128760 w 6268558"/>
              <a:gd name="connsiteY3093" fmla="*/ 3217218 h 5142621"/>
              <a:gd name="connsiteX3094" fmla="*/ 3128783 w 6268558"/>
              <a:gd name="connsiteY3094" fmla="*/ 3275539 h 5142621"/>
              <a:gd name="connsiteX3095" fmla="*/ 3123902 w 6268558"/>
              <a:gd name="connsiteY3095" fmla="*/ 3309499 h 5142621"/>
              <a:gd name="connsiteX3096" fmla="*/ 3114209 w 6268558"/>
              <a:gd name="connsiteY3096" fmla="*/ 3345982 h 5142621"/>
              <a:gd name="connsiteX3097" fmla="*/ 3100013 w 6268558"/>
              <a:gd name="connsiteY3097" fmla="*/ 3382088 h 5142621"/>
              <a:gd name="connsiteX3098" fmla="*/ 3082820 w 6268558"/>
              <a:gd name="connsiteY3098" fmla="*/ 3415694 h 5142621"/>
              <a:gd name="connsiteX3099" fmla="*/ 3043038 w 6268558"/>
              <a:gd name="connsiteY3099" fmla="*/ 3475454 h 5142621"/>
              <a:gd name="connsiteX3100" fmla="*/ 3032186 w 6268558"/>
              <a:gd name="connsiteY3100" fmla="*/ 3489156 h 5142621"/>
              <a:gd name="connsiteX3101" fmla="*/ 3026647 w 6268558"/>
              <a:gd name="connsiteY3101" fmla="*/ 3495854 h 5142621"/>
              <a:gd name="connsiteX3102" fmla="*/ 3021009 w 6268558"/>
              <a:gd name="connsiteY3102" fmla="*/ 3502339 h 5142621"/>
              <a:gd name="connsiteX3103" fmla="*/ 3015278 w 6268558"/>
              <a:gd name="connsiteY3103" fmla="*/ 3508730 h 5142621"/>
              <a:gd name="connsiteX3104" fmla="*/ 3009503 w 6268558"/>
              <a:gd name="connsiteY3104" fmla="*/ 3514979 h 5142621"/>
              <a:gd name="connsiteX3105" fmla="*/ 2997663 w 6268558"/>
              <a:gd name="connsiteY3105" fmla="*/ 3527290 h 5142621"/>
              <a:gd name="connsiteX3106" fmla="*/ 2747847 w 6268558"/>
              <a:gd name="connsiteY3106" fmla="*/ 3686359 h 5142621"/>
              <a:gd name="connsiteX3107" fmla="*/ 2303350 w 6268558"/>
              <a:gd name="connsiteY3107" fmla="*/ 3729233 h 5142621"/>
              <a:gd name="connsiteX3108" fmla="*/ 1405867 w 6268558"/>
              <a:gd name="connsiteY3108" fmla="*/ 3436070 h 5142621"/>
              <a:gd name="connsiteX3109" fmla="*/ 2303657 w 6268558"/>
              <a:gd name="connsiteY3109" fmla="*/ 3729021 h 5142621"/>
              <a:gd name="connsiteX3110" fmla="*/ 2748107 w 6268558"/>
              <a:gd name="connsiteY3110" fmla="*/ 3685793 h 5142621"/>
              <a:gd name="connsiteX3111" fmla="*/ 2997783 w 6268558"/>
              <a:gd name="connsiteY3111" fmla="*/ 3526347 h 5142621"/>
              <a:gd name="connsiteX3112" fmla="*/ 3009597 w 6268558"/>
              <a:gd name="connsiteY3112" fmla="*/ 3514013 h 5142621"/>
              <a:gd name="connsiteX3113" fmla="*/ 3015372 w 6268558"/>
              <a:gd name="connsiteY3113" fmla="*/ 3507763 h 5142621"/>
              <a:gd name="connsiteX3114" fmla="*/ 3021055 w 6268558"/>
              <a:gd name="connsiteY3114" fmla="*/ 3501396 h 5142621"/>
              <a:gd name="connsiteX3115" fmla="*/ 3026668 w 6268558"/>
              <a:gd name="connsiteY3115" fmla="*/ 3494934 h 5142621"/>
              <a:gd name="connsiteX3116" fmla="*/ 3032210 w 6268558"/>
              <a:gd name="connsiteY3116" fmla="*/ 3488236 h 5142621"/>
              <a:gd name="connsiteX3117" fmla="*/ 3043012 w 6268558"/>
              <a:gd name="connsiteY3117" fmla="*/ 3474535 h 5142621"/>
              <a:gd name="connsiteX3118" fmla="*/ 3082587 w 6268558"/>
              <a:gd name="connsiteY3118" fmla="*/ 3414940 h 5142621"/>
              <a:gd name="connsiteX3119" fmla="*/ 3099611 w 6268558"/>
              <a:gd name="connsiteY3119" fmla="*/ 3381593 h 5142621"/>
              <a:gd name="connsiteX3120" fmla="*/ 3113598 w 6268558"/>
              <a:gd name="connsiteY3120" fmla="*/ 3345982 h 5142621"/>
              <a:gd name="connsiteX3121" fmla="*/ 3127936 w 6268558"/>
              <a:gd name="connsiteY3121" fmla="*/ 3276648 h 5142621"/>
              <a:gd name="connsiteX3122" fmla="*/ 3127911 w 6268558"/>
              <a:gd name="connsiteY3122" fmla="*/ 3218845 h 5142621"/>
              <a:gd name="connsiteX3123" fmla="*/ 3121144 w 6268558"/>
              <a:gd name="connsiteY3123" fmla="*/ 3168613 h 5142621"/>
              <a:gd name="connsiteX3124" fmla="*/ 3097842 w 6268558"/>
              <a:gd name="connsiteY3124" fmla="*/ 3077063 h 5142621"/>
              <a:gd name="connsiteX3125" fmla="*/ 3082963 w 6268558"/>
              <a:gd name="connsiteY3125" fmla="*/ 3032750 h 5142621"/>
              <a:gd name="connsiteX3126" fmla="*/ 3066241 w 6268558"/>
              <a:gd name="connsiteY3126" fmla="*/ 2988956 h 5142621"/>
              <a:gd name="connsiteX3127" fmla="*/ 3027753 w 6268558"/>
              <a:gd name="connsiteY3127" fmla="*/ 2902217 h 5142621"/>
              <a:gd name="connsiteX3128" fmla="*/ 2825625 w 6268558"/>
              <a:gd name="connsiteY3128" fmla="*/ 2555260 h 5142621"/>
              <a:gd name="connsiteX3129" fmla="*/ 2618446 w 6268558"/>
              <a:gd name="connsiteY3129" fmla="*/ 2175594 h 5142621"/>
              <a:gd name="connsiteX3130" fmla="*/ 2579793 w 6268558"/>
              <a:gd name="connsiteY3130" fmla="*/ 2071521 h 5142621"/>
              <a:gd name="connsiteX3131" fmla="*/ 2550620 w 6268558"/>
              <a:gd name="connsiteY3131" fmla="*/ 1963039 h 5142621"/>
              <a:gd name="connsiteX3132" fmla="*/ 2536140 w 6268558"/>
              <a:gd name="connsiteY3132" fmla="*/ 1845978 h 5142621"/>
              <a:gd name="connsiteX3133" fmla="*/ 2540668 w 6268558"/>
              <a:gd name="connsiteY3133" fmla="*/ 1778836 h 5142621"/>
              <a:gd name="connsiteX3134" fmla="*/ 2549582 w 6268558"/>
              <a:gd name="connsiteY3134" fmla="*/ 1740749 h 5142621"/>
              <a:gd name="connsiteX3135" fmla="*/ 2566326 w 6268558"/>
              <a:gd name="connsiteY3135" fmla="*/ 1698818 h 5142621"/>
              <a:gd name="connsiteX3136" fmla="*/ 2592645 w 6268558"/>
              <a:gd name="connsiteY3136" fmla="*/ 1655166 h 5142621"/>
              <a:gd name="connsiteX3137" fmla="*/ 2626770 w 6268558"/>
              <a:gd name="connsiteY3137" fmla="*/ 1613705 h 5142621"/>
              <a:gd name="connsiteX3138" fmla="*/ 2665848 w 6268558"/>
              <a:gd name="connsiteY3138" fmla="*/ 1575949 h 5142621"/>
              <a:gd name="connsiteX3139" fmla="*/ 2708463 w 6268558"/>
              <a:gd name="connsiteY3139" fmla="*/ 1541352 h 5142621"/>
              <a:gd name="connsiteX3140" fmla="*/ 2803031 w 6268558"/>
              <a:gd name="connsiteY3140" fmla="*/ 1478927 h 5142621"/>
              <a:gd name="connsiteX3141" fmla="*/ 2910523 w 6268558"/>
              <a:gd name="connsiteY3141" fmla="*/ 1422752 h 5142621"/>
              <a:gd name="connsiteX3142" fmla="*/ 3505312 w 6268558"/>
              <a:gd name="connsiteY3142" fmla="*/ 1246632 h 5142621"/>
              <a:gd name="connsiteX3143" fmla="*/ 4481657 w 6268558"/>
              <a:gd name="connsiteY3143" fmla="*/ 1174396 h 5142621"/>
              <a:gd name="connsiteX3144" fmla="*/ 4449277 w 6268558"/>
              <a:gd name="connsiteY3144" fmla="*/ 1130201 h 5142621"/>
              <a:gd name="connsiteX3145" fmla="*/ 6051946 w 6268558"/>
              <a:gd name="connsiteY3145" fmla="*/ 1273022 h 5142621"/>
              <a:gd name="connsiteX3146" fmla="*/ 6025604 w 6268558"/>
              <a:gd name="connsiteY3146" fmla="*/ 1273729 h 5142621"/>
              <a:gd name="connsiteX3147" fmla="*/ 4435340 w 6268558"/>
              <a:gd name="connsiteY3147" fmla="*/ 1134163 h 5142621"/>
              <a:gd name="connsiteX3148" fmla="*/ 3467720 w 6268558"/>
              <a:gd name="connsiteY3148" fmla="*/ 1213993 h 5142621"/>
              <a:gd name="connsiteX3149" fmla="*/ 2877176 w 6268558"/>
              <a:gd name="connsiteY3149" fmla="*/ 1393556 h 5142621"/>
              <a:gd name="connsiteX3150" fmla="*/ 2770345 w 6268558"/>
              <a:gd name="connsiteY3150" fmla="*/ 1450014 h 5142621"/>
              <a:gd name="connsiteX3151" fmla="*/ 2676459 w 6268558"/>
              <a:gd name="connsiteY3151" fmla="*/ 1512321 h 5142621"/>
              <a:gd name="connsiteX3152" fmla="*/ 2634292 w 6268558"/>
              <a:gd name="connsiteY3152" fmla="*/ 1546564 h 5142621"/>
              <a:gd name="connsiteX3153" fmla="*/ 2595829 w 6268558"/>
              <a:gd name="connsiteY3153" fmla="*/ 1583589 h 5142621"/>
              <a:gd name="connsiteX3154" fmla="*/ 2562434 w 6268558"/>
              <a:gd name="connsiteY3154" fmla="*/ 1623705 h 5142621"/>
              <a:gd name="connsiteX3155" fmla="*/ 2536587 w 6268558"/>
              <a:gd name="connsiteY3155" fmla="*/ 1665565 h 5142621"/>
              <a:gd name="connsiteX3156" fmla="*/ 2519583 w 6268558"/>
              <a:gd name="connsiteY3156" fmla="*/ 1706270 h 5142621"/>
              <a:gd name="connsiteX3157" fmla="*/ 2509938 w 6268558"/>
              <a:gd name="connsiteY3157" fmla="*/ 1743980 h 5142621"/>
              <a:gd name="connsiteX3158" fmla="*/ 2503688 w 6268558"/>
              <a:gd name="connsiteY3158" fmla="*/ 1811640 h 5142621"/>
              <a:gd name="connsiteX3159" fmla="*/ 2515173 w 6268558"/>
              <a:gd name="connsiteY3159" fmla="*/ 1931273 h 5142621"/>
              <a:gd name="connsiteX3160" fmla="*/ 2542058 w 6268558"/>
              <a:gd name="connsiteY3160" fmla="*/ 2042633 h 5142621"/>
              <a:gd name="connsiteX3161" fmla="*/ 2579037 w 6268558"/>
              <a:gd name="connsiteY3161" fmla="*/ 2149465 h 5142621"/>
              <a:gd name="connsiteX3162" fmla="*/ 2785177 w 6268558"/>
              <a:gd name="connsiteY3162" fmla="*/ 2537338 h 5142621"/>
              <a:gd name="connsiteX3163" fmla="*/ 2993112 w 6268558"/>
              <a:gd name="connsiteY3163" fmla="*/ 2886063 h 5142621"/>
              <a:gd name="connsiteX3164" fmla="*/ 3033722 w 6268558"/>
              <a:gd name="connsiteY3164" fmla="*/ 2972236 h 5142621"/>
              <a:gd name="connsiteX3165" fmla="*/ 3051570 w 6268558"/>
              <a:gd name="connsiteY3165" fmla="*/ 3015606 h 5142621"/>
              <a:gd name="connsiteX3166" fmla="*/ 3067584 w 6268558"/>
              <a:gd name="connsiteY3166" fmla="*/ 3059423 h 5142621"/>
              <a:gd name="connsiteX3167" fmla="*/ 3093289 w 6268558"/>
              <a:gd name="connsiteY3167" fmla="*/ 3149818 h 5142621"/>
              <a:gd name="connsiteX3168" fmla="*/ 3101308 w 6268558"/>
              <a:gd name="connsiteY3168" fmla="*/ 3199437 h 5142621"/>
              <a:gd name="connsiteX3169" fmla="*/ 3102581 w 6268558"/>
              <a:gd name="connsiteY3169" fmla="*/ 3256744 h 5142621"/>
              <a:gd name="connsiteX3170" fmla="*/ 3098313 w 6268558"/>
              <a:gd name="connsiteY3170" fmla="*/ 3290114 h 5142621"/>
              <a:gd name="connsiteX3171" fmla="*/ 3089140 w 6268558"/>
              <a:gd name="connsiteY3171" fmla="*/ 3325984 h 5142621"/>
              <a:gd name="connsiteX3172" fmla="*/ 3075343 w 6268558"/>
              <a:gd name="connsiteY3172" fmla="*/ 3361477 h 5142621"/>
              <a:gd name="connsiteX3173" fmla="*/ 3058386 w 6268558"/>
              <a:gd name="connsiteY3173" fmla="*/ 3394494 h 5142621"/>
              <a:gd name="connsiteX3174" fmla="*/ 3018719 w 6268558"/>
              <a:gd name="connsiteY3174" fmla="*/ 3453074 h 5142621"/>
              <a:gd name="connsiteX3175" fmla="*/ 3007847 w 6268558"/>
              <a:gd name="connsiteY3175" fmla="*/ 3466470 h 5142621"/>
              <a:gd name="connsiteX3176" fmla="*/ 3002282 w 6268558"/>
              <a:gd name="connsiteY3176" fmla="*/ 3473002 h 5142621"/>
              <a:gd name="connsiteX3177" fmla="*/ 2996622 w 6268558"/>
              <a:gd name="connsiteY3177" fmla="*/ 3479322 h 5142621"/>
              <a:gd name="connsiteX3178" fmla="*/ 2990870 w 6268558"/>
              <a:gd name="connsiteY3178" fmla="*/ 3485548 h 5142621"/>
              <a:gd name="connsiteX3179" fmla="*/ 2985045 w 6268558"/>
              <a:gd name="connsiteY3179" fmla="*/ 3491633 h 5142621"/>
              <a:gd name="connsiteX3180" fmla="*/ 2973111 w 6268558"/>
              <a:gd name="connsiteY3180" fmla="*/ 3503637 h 5142621"/>
              <a:gd name="connsiteX3181" fmla="*/ 2718697 w 6268558"/>
              <a:gd name="connsiteY3181" fmla="*/ 3655537 h 5142621"/>
              <a:gd name="connsiteX3182" fmla="*/ 2260215 w 6268558"/>
              <a:gd name="connsiteY3182" fmla="*/ 3683317 h 5142621"/>
              <a:gd name="connsiteX3183" fmla="*/ 1333866 w 6268558"/>
              <a:gd name="connsiteY3183" fmla="*/ 3350370 h 5142621"/>
              <a:gd name="connsiteX3184" fmla="*/ 2260522 w 6268558"/>
              <a:gd name="connsiteY3184" fmla="*/ 3683129 h 5142621"/>
              <a:gd name="connsiteX3185" fmla="*/ 2718933 w 6268558"/>
              <a:gd name="connsiteY3185" fmla="*/ 3654994 h 5142621"/>
              <a:gd name="connsiteX3186" fmla="*/ 2973156 w 6268558"/>
              <a:gd name="connsiteY3186" fmla="*/ 3502717 h 5142621"/>
              <a:gd name="connsiteX3187" fmla="*/ 2985070 w 6268558"/>
              <a:gd name="connsiteY3187" fmla="*/ 3490690 h 5142621"/>
              <a:gd name="connsiteX3188" fmla="*/ 2990891 w 6268558"/>
              <a:gd name="connsiteY3188" fmla="*/ 3484605 h 5142621"/>
              <a:gd name="connsiteX3189" fmla="*/ 2996622 w 6268558"/>
              <a:gd name="connsiteY3189" fmla="*/ 3478379 h 5142621"/>
              <a:gd name="connsiteX3190" fmla="*/ 3002258 w 6268558"/>
              <a:gd name="connsiteY3190" fmla="*/ 3472083 h 5142621"/>
              <a:gd name="connsiteX3191" fmla="*/ 3007801 w 6268558"/>
              <a:gd name="connsiteY3191" fmla="*/ 3465550 h 5142621"/>
              <a:gd name="connsiteX3192" fmla="*/ 3018625 w 6268558"/>
              <a:gd name="connsiteY3192" fmla="*/ 3452155 h 5142621"/>
              <a:gd name="connsiteX3193" fmla="*/ 3058079 w 6268558"/>
              <a:gd name="connsiteY3193" fmla="*/ 3393739 h 5142621"/>
              <a:gd name="connsiteX3194" fmla="*/ 3074871 w 6268558"/>
              <a:gd name="connsiteY3194" fmla="*/ 3360982 h 5142621"/>
              <a:gd name="connsiteX3195" fmla="*/ 3088456 w 6268558"/>
              <a:gd name="connsiteY3195" fmla="*/ 3325961 h 5142621"/>
              <a:gd name="connsiteX3196" fmla="*/ 3101664 w 6268558"/>
              <a:gd name="connsiteY3196" fmla="*/ 3257782 h 5142621"/>
              <a:gd name="connsiteX3197" fmla="*/ 3100390 w 6268558"/>
              <a:gd name="connsiteY3197" fmla="*/ 3200970 h 5142621"/>
              <a:gd name="connsiteX3198" fmla="*/ 3092417 w 6268558"/>
              <a:gd name="connsiteY3198" fmla="*/ 3151586 h 5142621"/>
              <a:gd name="connsiteX3199" fmla="*/ 3066786 w 6268558"/>
              <a:gd name="connsiteY3199" fmla="*/ 3061499 h 5142621"/>
              <a:gd name="connsiteX3200" fmla="*/ 3050792 w 6268558"/>
              <a:gd name="connsiteY3200" fmla="*/ 3017799 h 5142621"/>
              <a:gd name="connsiteX3201" fmla="*/ 3032987 w 6268558"/>
              <a:gd name="connsiteY3201" fmla="*/ 2974547 h 5142621"/>
              <a:gd name="connsiteX3202" fmla="*/ 2992447 w 6268558"/>
              <a:gd name="connsiteY3202" fmla="*/ 2888610 h 5142621"/>
              <a:gd name="connsiteX3203" fmla="*/ 2784517 w 6268558"/>
              <a:gd name="connsiteY3203" fmla="*/ 2540899 h 5142621"/>
              <a:gd name="connsiteX3204" fmla="*/ 2577221 w 6268558"/>
              <a:gd name="connsiteY3204" fmla="*/ 2154087 h 5142621"/>
              <a:gd name="connsiteX3205" fmla="*/ 2539653 w 6268558"/>
              <a:gd name="connsiteY3205" fmla="*/ 2047491 h 5142621"/>
              <a:gd name="connsiteX3206" fmla="*/ 2512037 w 6268558"/>
              <a:gd name="connsiteY3206" fmla="*/ 1936296 h 5142621"/>
              <a:gd name="connsiteX3207" fmla="*/ 2499608 w 6268558"/>
              <a:gd name="connsiteY3207" fmla="*/ 1816403 h 5142621"/>
              <a:gd name="connsiteX3208" fmla="*/ 2505410 w 6268558"/>
              <a:gd name="connsiteY3208" fmla="*/ 1747848 h 5142621"/>
              <a:gd name="connsiteX3209" fmla="*/ 2515056 w 6268558"/>
              <a:gd name="connsiteY3209" fmla="*/ 1709077 h 5142621"/>
              <a:gd name="connsiteX3210" fmla="*/ 2532579 w 6268558"/>
              <a:gd name="connsiteY3210" fmla="*/ 1666532 h 5142621"/>
              <a:gd name="connsiteX3211" fmla="*/ 2559651 w 6268558"/>
              <a:gd name="connsiteY3211" fmla="*/ 1622407 h 5142621"/>
              <a:gd name="connsiteX3212" fmla="*/ 2594413 w 6268558"/>
              <a:gd name="connsiteY3212" fmla="*/ 1580618 h 5142621"/>
              <a:gd name="connsiteX3213" fmla="*/ 2634009 w 6268558"/>
              <a:gd name="connsiteY3213" fmla="*/ 1542625 h 5142621"/>
              <a:gd name="connsiteX3214" fmla="*/ 2677048 w 6268558"/>
              <a:gd name="connsiteY3214" fmla="*/ 1507840 h 5142621"/>
              <a:gd name="connsiteX3215" fmla="*/ 2772230 w 6268558"/>
              <a:gd name="connsiteY3215" fmla="*/ 1445014 h 5142621"/>
              <a:gd name="connsiteX3216" fmla="*/ 2880121 w 6268558"/>
              <a:gd name="connsiteY3216" fmla="*/ 1388391 h 5142621"/>
              <a:gd name="connsiteX3217" fmla="*/ 3474819 w 6268558"/>
              <a:gd name="connsiteY3217" fmla="*/ 1209087 h 5142621"/>
              <a:gd name="connsiteX3218" fmla="*/ 4449277 w 6268558"/>
              <a:gd name="connsiteY3218" fmla="*/ 1130201 h 5142621"/>
              <a:gd name="connsiteX3219" fmla="*/ 4417275 w 6268558"/>
              <a:gd name="connsiteY3219" fmla="*/ 1085868 h 5142621"/>
              <a:gd name="connsiteX3220" fmla="*/ 6015203 w 6268558"/>
              <a:gd name="connsiteY3220" fmla="*/ 1210175 h 5142621"/>
              <a:gd name="connsiteX3221" fmla="*/ 5989073 w 6268558"/>
              <a:gd name="connsiteY3221" fmla="*/ 1211259 h 5142621"/>
              <a:gd name="connsiteX3222" fmla="*/ 4403290 w 6268558"/>
              <a:gd name="connsiteY3222" fmla="*/ 1089946 h 5142621"/>
              <a:gd name="connsiteX3223" fmla="*/ 3438335 w 6268558"/>
              <a:gd name="connsiteY3223" fmla="*/ 1175790 h 5142621"/>
              <a:gd name="connsiteX3224" fmla="*/ 2848050 w 6268558"/>
              <a:gd name="connsiteY3224" fmla="*/ 1358041 h 5142621"/>
              <a:gd name="connsiteX3225" fmla="*/ 2740820 w 6268558"/>
              <a:gd name="connsiteY3225" fmla="*/ 1414831 h 5142621"/>
              <a:gd name="connsiteX3226" fmla="*/ 2646275 w 6268558"/>
              <a:gd name="connsiteY3226" fmla="*/ 1477397 h 5142621"/>
              <a:gd name="connsiteX3227" fmla="*/ 2603661 w 6268558"/>
              <a:gd name="connsiteY3227" fmla="*/ 1511758 h 5142621"/>
              <a:gd name="connsiteX3228" fmla="*/ 2564630 w 6268558"/>
              <a:gd name="connsiteY3228" fmla="*/ 1548949 h 5142621"/>
              <a:gd name="connsiteX3229" fmla="*/ 2530576 w 6268558"/>
              <a:gd name="connsiteY3229" fmla="*/ 1589324 h 5142621"/>
              <a:gd name="connsiteX3230" fmla="*/ 2503951 w 6268558"/>
              <a:gd name="connsiteY3230" fmla="*/ 1631609 h 5142621"/>
              <a:gd name="connsiteX3231" fmla="*/ 2486145 w 6268558"/>
              <a:gd name="connsiteY3231" fmla="*/ 1672856 h 5142621"/>
              <a:gd name="connsiteX3232" fmla="*/ 2475722 w 6268558"/>
              <a:gd name="connsiteY3232" fmla="*/ 1711202 h 5142621"/>
              <a:gd name="connsiteX3233" fmla="*/ 2468081 w 6268558"/>
              <a:gd name="connsiteY3233" fmla="*/ 1780277 h 5142621"/>
              <a:gd name="connsiteX3234" fmla="*/ 2477302 w 6268558"/>
              <a:gd name="connsiteY3234" fmla="*/ 1902784 h 5142621"/>
              <a:gd name="connsiteX3235" fmla="*/ 2502441 w 6268558"/>
              <a:gd name="connsiteY3235" fmla="*/ 2016951 h 5142621"/>
              <a:gd name="connsiteX3236" fmla="*/ 2538146 w 6268558"/>
              <a:gd name="connsiteY3236" fmla="*/ 2126447 h 5142621"/>
              <a:gd name="connsiteX3237" fmla="*/ 2743721 w 6268558"/>
              <a:gd name="connsiteY3237" fmla="*/ 2522174 h 5142621"/>
              <a:gd name="connsiteX3238" fmla="*/ 2957004 w 6268558"/>
              <a:gd name="connsiteY3238" fmla="*/ 2872503 h 5142621"/>
              <a:gd name="connsiteX3239" fmla="*/ 2999573 w 6268558"/>
              <a:gd name="connsiteY3239" fmla="*/ 2958039 h 5142621"/>
              <a:gd name="connsiteX3240" fmla="*/ 3018462 w 6268558"/>
              <a:gd name="connsiteY3240" fmla="*/ 3000960 h 5142621"/>
              <a:gd name="connsiteX3241" fmla="*/ 3035561 w 6268558"/>
              <a:gd name="connsiteY3241" fmla="*/ 3044236 h 5142621"/>
              <a:gd name="connsiteX3242" fmla="*/ 3063530 w 6268558"/>
              <a:gd name="connsiteY3242" fmla="*/ 3133309 h 5142621"/>
              <a:gd name="connsiteX3243" fmla="*/ 3072727 w 6268558"/>
              <a:gd name="connsiteY3243" fmla="*/ 3182127 h 5142621"/>
              <a:gd name="connsiteX3244" fmla="*/ 3075230 w 6268558"/>
              <a:gd name="connsiteY3244" fmla="*/ 3238467 h 5142621"/>
              <a:gd name="connsiteX3245" fmla="*/ 3071551 w 6268558"/>
              <a:gd name="connsiteY3245" fmla="*/ 3271271 h 5142621"/>
              <a:gd name="connsiteX3246" fmla="*/ 3062894 w 6268558"/>
              <a:gd name="connsiteY3246" fmla="*/ 3306528 h 5142621"/>
              <a:gd name="connsiteX3247" fmla="*/ 3049474 w 6268558"/>
              <a:gd name="connsiteY3247" fmla="*/ 3341384 h 5142621"/>
              <a:gd name="connsiteX3248" fmla="*/ 3032730 w 6268558"/>
              <a:gd name="connsiteY3248" fmla="*/ 3373788 h 5142621"/>
              <a:gd name="connsiteX3249" fmla="*/ 2993137 w 6268558"/>
              <a:gd name="connsiteY3249" fmla="*/ 3431095 h 5142621"/>
              <a:gd name="connsiteX3250" fmla="*/ 2982215 w 6268558"/>
              <a:gd name="connsiteY3250" fmla="*/ 3444160 h 5142621"/>
              <a:gd name="connsiteX3251" fmla="*/ 2976627 w 6268558"/>
              <a:gd name="connsiteY3251" fmla="*/ 3450527 h 5142621"/>
              <a:gd name="connsiteX3252" fmla="*/ 2970920 w 6268558"/>
              <a:gd name="connsiteY3252" fmla="*/ 3456683 h 5142621"/>
              <a:gd name="connsiteX3253" fmla="*/ 2965120 w 6268558"/>
              <a:gd name="connsiteY3253" fmla="*/ 3462744 h 5142621"/>
              <a:gd name="connsiteX3254" fmla="*/ 2959244 w 6268558"/>
              <a:gd name="connsiteY3254" fmla="*/ 3468663 h 5142621"/>
              <a:gd name="connsiteX3255" fmla="*/ 2947193 w 6268558"/>
              <a:gd name="connsiteY3255" fmla="*/ 3480313 h 5142621"/>
              <a:gd name="connsiteX3256" fmla="*/ 2687853 w 6268558"/>
              <a:gd name="connsiteY3256" fmla="*/ 3624548 h 5142621"/>
              <a:gd name="connsiteX3257" fmla="*/ 2215056 w 6268558"/>
              <a:gd name="connsiteY3257" fmla="*/ 3636269 h 5142621"/>
              <a:gd name="connsiteX3258" fmla="*/ 1261280 w 6268558"/>
              <a:gd name="connsiteY3258" fmla="*/ 3262404 h 5142621"/>
              <a:gd name="connsiteX3259" fmla="*/ 2215363 w 6268558"/>
              <a:gd name="connsiteY3259" fmla="*/ 3636104 h 5142621"/>
              <a:gd name="connsiteX3260" fmla="*/ 2688088 w 6268558"/>
              <a:gd name="connsiteY3260" fmla="*/ 3624029 h 5142621"/>
              <a:gd name="connsiteX3261" fmla="*/ 2947266 w 6268558"/>
              <a:gd name="connsiteY3261" fmla="*/ 3479440 h 5142621"/>
              <a:gd name="connsiteX3262" fmla="*/ 2959294 w 6268558"/>
              <a:gd name="connsiteY3262" fmla="*/ 3467767 h 5142621"/>
              <a:gd name="connsiteX3263" fmla="*/ 2965165 w 6268558"/>
              <a:gd name="connsiteY3263" fmla="*/ 3461847 h 5142621"/>
              <a:gd name="connsiteX3264" fmla="*/ 2970946 w 6268558"/>
              <a:gd name="connsiteY3264" fmla="*/ 3455810 h 5142621"/>
              <a:gd name="connsiteX3265" fmla="*/ 2976627 w 6268558"/>
              <a:gd name="connsiteY3265" fmla="*/ 3449678 h 5142621"/>
              <a:gd name="connsiteX3266" fmla="*/ 2982215 w 6268558"/>
              <a:gd name="connsiteY3266" fmla="*/ 3443311 h 5142621"/>
              <a:gd name="connsiteX3267" fmla="*/ 2993086 w 6268558"/>
              <a:gd name="connsiteY3267" fmla="*/ 3430246 h 5142621"/>
              <a:gd name="connsiteX3268" fmla="*/ 3032473 w 6268558"/>
              <a:gd name="connsiteY3268" fmla="*/ 3373104 h 5142621"/>
              <a:gd name="connsiteX3269" fmla="*/ 3049052 w 6268558"/>
              <a:gd name="connsiteY3269" fmla="*/ 3340960 h 5142621"/>
              <a:gd name="connsiteX3270" fmla="*/ 3062280 w 6268558"/>
              <a:gd name="connsiteY3270" fmla="*/ 3306575 h 5142621"/>
              <a:gd name="connsiteX3271" fmla="*/ 3074426 w 6268558"/>
              <a:gd name="connsiteY3271" fmla="*/ 3239576 h 5142621"/>
              <a:gd name="connsiteX3272" fmla="*/ 3071949 w 6268558"/>
              <a:gd name="connsiteY3272" fmla="*/ 3183730 h 5142621"/>
              <a:gd name="connsiteX3273" fmla="*/ 3062800 w 6268558"/>
              <a:gd name="connsiteY3273" fmla="*/ 3135173 h 5142621"/>
              <a:gd name="connsiteX3274" fmla="*/ 3034902 w 6268558"/>
              <a:gd name="connsiteY3274" fmla="*/ 3046405 h 5142621"/>
              <a:gd name="connsiteX3275" fmla="*/ 3017827 w 6268558"/>
              <a:gd name="connsiteY3275" fmla="*/ 3003248 h 5142621"/>
              <a:gd name="connsiteX3276" fmla="*/ 2998963 w 6268558"/>
              <a:gd name="connsiteY3276" fmla="*/ 2960444 h 5142621"/>
              <a:gd name="connsiteX3277" fmla="*/ 2956438 w 6268558"/>
              <a:gd name="connsiteY3277" fmla="*/ 2875144 h 5142621"/>
              <a:gd name="connsiteX3278" fmla="*/ 2743132 w 6268558"/>
              <a:gd name="connsiteY3278" fmla="*/ 2525829 h 5142621"/>
              <a:gd name="connsiteX3279" fmla="*/ 2536354 w 6268558"/>
              <a:gd name="connsiteY3279" fmla="*/ 2131164 h 5142621"/>
              <a:gd name="connsiteX3280" fmla="*/ 2500036 w 6268558"/>
              <a:gd name="connsiteY3280" fmla="*/ 2021903 h 5142621"/>
              <a:gd name="connsiteX3281" fmla="*/ 2474141 w 6268558"/>
              <a:gd name="connsiteY3281" fmla="*/ 1907902 h 5142621"/>
              <a:gd name="connsiteX3282" fmla="*/ 2463977 w 6268558"/>
              <a:gd name="connsiteY3282" fmla="*/ 1785112 h 5142621"/>
              <a:gd name="connsiteX3283" fmla="*/ 2471194 w 6268558"/>
              <a:gd name="connsiteY3283" fmla="*/ 1715141 h 5142621"/>
              <a:gd name="connsiteX3284" fmla="*/ 2481641 w 6268558"/>
              <a:gd name="connsiteY3284" fmla="*/ 1675709 h 5142621"/>
              <a:gd name="connsiteX3285" fmla="*/ 2500012 w 6268558"/>
              <a:gd name="connsiteY3285" fmla="*/ 1632576 h 5142621"/>
              <a:gd name="connsiteX3286" fmla="*/ 2527911 w 6268558"/>
              <a:gd name="connsiteY3286" fmla="*/ 1588003 h 5142621"/>
              <a:gd name="connsiteX3287" fmla="*/ 2563380 w 6268558"/>
              <a:gd name="connsiteY3287" fmla="*/ 1545930 h 5142621"/>
              <a:gd name="connsiteX3288" fmla="*/ 2603543 w 6268558"/>
              <a:gd name="connsiteY3288" fmla="*/ 1507749 h 5142621"/>
              <a:gd name="connsiteX3289" fmla="*/ 2647030 w 6268558"/>
              <a:gd name="connsiteY3289" fmla="*/ 1472822 h 5142621"/>
              <a:gd name="connsiteX3290" fmla="*/ 2742872 w 6268558"/>
              <a:gd name="connsiteY3290" fmla="*/ 1409761 h 5142621"/>
              <a:gd name="connsiteX3291" fmla="*/ 2851162 w 6268558"/>
              <a:gd name="connsiteY3291" fmla="*/ 1352807 h 5142621"/>
              <a:gd name="connsiteX3292" fmla="*/ 3445576 w 6268558"/>
              <a:gd name="connsiteY3292" fmla="*/ 1170791 h 5142621"/>
              <a:gd name="connsiteX3293" fmla="*/ 4417275 w 6268558"/>
              <a:gd name="connsiteY3293" fmla="*/ 1085868 h 5142621"/>
              <a:gd name="connsiteX3294" fmla="*/ 4543669 w 6268558"/>
              <a:gd name="connsiteY3294" fmla="*/ 1040212 h 5142621"/>
              <a:gd name="connsiteX3295" fmla="*/ 5976197 w 6268558"/>
              <a:gd name="connsiteY3295" fmla="*/ 1148452 h 5142621"/>
              <a:gd name="connsiteX3296" fmla="*/ 5950444 w 6268558"/>
              <a:gd name="connsiteY3296" fmla="*/ 1149961 h 5142621"/>
              <a:gd name="connsiteX3297" fmla="*/ 4371500 w 6268558"/>
              <a:gd name="connsiteY3297" fmla="*/ 1045464 h 5142621"/>
              <a:gd name="connsiteX3298" fmla="*/ 3410083 w 6268558"/>
              <a:gd name="connsiteY3298" fmla="*/ 1136731 h 5142621"/>
              <a:gd name="connsiteX3299" fmla="*/ 2820268 w 6268558"/>
              <a:gd name="connsiteY3299" fmla="*/ 1321175 h 5142621"/>
              <a:gd name="connsiteX3300" fmla="*/ 2712610 w 6268558"/>
              <a:gd name="connsiteY3300" fmla="*/ 1378153 h 5142621"/>
              <a:gd name="connsiteX3301" fmla="*/ 2617381 w 6268558"/>
              <a:gd name="connsiteY3301" fmla="*/ 1440838 h 5142621"/>
              <a:gd name="connsiteX3302" fmla="*/ 2574294 w 6268558"/>
              <a:gd name="connsiteY3302" fmla="*/ 1475269 h 5142621"/>
              <a:gd name="connsiteX3303" fmla="*/ 2534675 w 6268558"/>
              <a:gd name="connsiteY3303" fmla="*/ 1512554 h 5142621"/>
              <a:gd name="connsiteX3304" fmla="*/ 2499889 w 6268558"/>
              <a:gd name="connsiteY3304" fmla="*/ 1553141 h 5142621"/>
              <a:gd name="connsiteX3305" fmla="*/ 2472415 w 6268558"/>
              <a:gd name="connsiteY3305" fmla="*/ 1595779 h 5142621"/>
              <a:gd name="connsiteX3306" fmla="*/ 2453737 w 6268558"/>
              <a:gd name="connsiteY3306" fmla="*/ 1637569 h 5142621"/>
              <a:gd name="connsiteX3307" fmla="*/ 2442464 w 6268558"/>
              <a:gd name="connsiteY3307" fmla="*/ 1676552 h 5142621"/>
              <a:gd name="connsiteX3308" fmla="*/ 2433314 w 6268558"/>
              <a:gd name="connsiteY3308" fmla="*/ 1747042 h 5142621"/>
              <a:gd name="connsiteX3309" fmla="*/ 2440035 w 6268558"/>
              <a:gd name="connsiteY3309" fmla="*/ 1872503 h 5142621"/>
              <a:gd name="connsiteX3310" fmla="*/ 2463217 w 6268558"/>
              <a:gd name="connsiteY3310" fmla="*/ 1989570 h 5142621"/>
              <a:gd name="connsiteX3311" fmla="*/ 2497460 w 6268558"/>
              <a:gd name="connsiteY3311" fmla="*/ 2101850 h 5142621"/>
              <a:gd name="connsiteX3312" fmla="*/ 2701833 w 6268558"/>
              <a:gd name="connsiteY3312" fmla="*/ 2506137 h 5142621"/>
              <a:gd name="connsiteX3313" fmla="*/ 2920026 w 6268558"/>
              <a:gd name="connsiteY3313" fmla="*/ 2858918 h 5142621"/>
              <a:gd name="connsiteX3314" fmla="*/ 2964479 w 6268558"/>
              <a:gd name="connsiteY3314" fmla="*/ 2944030 h 5142621"/>
              <a:gd name="connsiteX3315" fmla="*/ 2984384 w 6268558"/>
              <a:gd name="connsiteY3315" fmla="*/ 2986598 h 5142621"/>
              <a:gd name="connsiteX3316" fmla="*/ 3002520 w 6268558"/>
              <a:gd name="connsiteY3316" fmla="*/ 3029425 h 5142621"/>
              <a:gd name="connsiteX3317" fmla="*/ 3032659 w 6268558"/>
              <a:gd name="connsiteY3317" fmla="*/ 3117320 h 5142621"/>
              <a:gd name="connsiteX3318" fmla="*/ 3042986 w 6268558"/>
              <a:gd name="connsiteY3318" fmla="*/ 3165382 h 5142621"/>
              <a:gd name="connsiteX3319" fmla="*/ 3046642 w 6268558"/>
              <a:gd name="connsiteY3319" fmla="*/ 3220803 h 5142621"/>
              <a:gd name="connsiteX3320" fmla="*/ 3043529 w 6268558"/>
              <a:gd name="connsiteY3320" fmla="*/ 3253041 h 5142621"/>
              <a:gd name="connsiteX3321" fmla="*/ 3035347 w 6268558"/>
              <a:gd name="connsiteY3321" fmla="*/ 3287685 h 5142621"/>
              <a:gd name="connsiteX3322" fmla="*/ 3022258 w 6268558"/>
              <a:gd name="connsiteY3322" fmla="*/ 3321880 h 5142621"/>
              <a:gd name="connsiteX3323" fmla="*/ 3005703 w 6268558"/>
              <a:gd name="connsiteY3323" fmla="*/ 3353624 h 5142621"/>
              <a:gd name="connsiteX3324" fmla="*/ 2966105 w 6268558"/>
              <a:gd name="connsiteY3324" fmla="*/ 3409587 h 5142621"/>
              <a:gd name="connsiteX3325" fmla="*/ 2955139 w 6268558"/>
              <a:gd name="connsiteY3325" fmla="*/ 3422298 h 5142621"/>
              <a:gd name="connsiteX3326" fmla="*/ 2949505 w 6268558"/>
              <a:gd name="connsiteY3326" fmla="*/ 3428500 h 5142621"/>
              <a:gd name="connsiteX3327" fmla="*/ 2943750 w 6268558"/>
              <a:gd name="connsiteY3327" fmla="*/ 3434467 h 5142621"/>
              <a:gd name="connsiteX3328" fmla="*/ 2937900 w 6268558"/>
              <a:gd name="connsiteY3328" fmla="*/ 3440339 h 5142621"/>
              <a:gd name="connsiteX3329" fmla="*/ 2931959 w 6268558"/>
              <a:gd name="connsiteY3329" fmla="*/ 3446070 h 5142621"/>
              <a:gd name="connsiteX3330" fmla="*/ 2919788 w 6268558"/>
              <a:gd name="connsiteY3330" fmla="*/ 3457343 h 5142621"/>
              <a:gd name="connsiteX3331" fmla="*/ 2655114 w 6268558"/>
              <a:gd name="connsiteY3331" fmla="*/ 3593418 h 5142621"/>
              <a:gd name="connsiteX3332" fmla="*/ 2167672 w 6268558"/>
              <a:gd name="connsiteY3332" fmla="*/ 3588088 h 5142621"/>
              <a:gd name="connsiteX3333" fmla="*/ 1188167 w 6268558"/>
              <a:gd name="connsiteY3333" fmla="*/ 3172434 h 5142621"/>
              <a:gd name="connsiteX3334" fmla="*/ 2168003 w 6268558"/>
              <a:gd name="connsiteY3334" fmla="*/ 3587923 h 5142621"/>
              <a:gd name="connsiteX3335" fmla="*/ 2655350 w 6268558"/>
              <a:gd name="connsiteY3335" fmla="*/ 3592875 h 5142621"/>
              <a:gd name="connsiteX3336" fmla="*/ 2919813 w 6268558"/>
              <a:gd name="connsiteY3336" fmla="*/ 3456470 h 5142621"/>
              <a:gd name="connsiteX3337" fmla="*/ 2931980 w 6268558"/>
              <a:gd name="connsiteY3337" fmla="*/ 3445174 h 5142621"/>
              <a:gd name="connsiteX3338" fmla="*/ 2937900 w 6268558"/>
              <a:gd name="connsiteY3338" fmla="*/ 3439419 h 5142621"/>
              <a:gd name="connsiteX3339" fmla="*/ 2943725 w 6268558"/>
              <a:gd name="connsiteY3339" fmla="*/ 3433547 h 5142621"/>
              <a:gd name="connsiteX3340" fmla="*/ 2949456 w 6268558"/>
              <a:gd name="connsiteY3340" fmla="*/ 3427581 h 5142621"/>
              <a:gd name="connsiteX3341" fmla="*/ 2955068 w 6268558"/>
              <a:gd name="connsiteY3341" fmla="*/ 3421378 h 5142621"/>
              <a:gd name="connsiteX3342" fmla="*/ 2966011 w 6268558"/>
              <a:gd name="connsiteY3342" fmla="*/ 3408667 h 5142621"/>
              <a:gd name="connsiteX3343" fmla="*/ 3005397 w 6268558"/>
              <a:gd name="connsiteY3343" fmla="*/ 3352869 h 5142621"/>
              <a:gd name="connsiteX3344" fmla="*/ 3021787 w 6268558"/>
              <a:gd name="connsiteY3344" fmla="*/ 3321385 h 5142621"/>
              <a:gd name="connsiteX3345" fmla="*/ 3034687 w 6268558"/>
              <a:gd name="connsiteY3345" fmla="*/ 3287638 h 5142621"/>
              <a:gd name="connsiteX3346" fmla="*/ 3045793 w 6268558"/>
              <a:gd name="connsiteY3346" fmla="*/ 3221793 h 5142621"/>
              <a:gd name="connsiteX3347" fmla="*/ 3042163 w 6268558"/>
              <a:gd name="connsiteY3347" fmla="*/ 3166868 h 5142621"/>
              <a:gd name="connsiteX3348" fmla="*/ 3031881 w 6268558"/>
              <a:gd name="connsiteY3348" fmla="*/ 3119041 h 5142621"/>
              <a:gd name="connsiteX3349" fmla="*/ 3001812 w 6268558"/>
              <a:gd name="connsiteY3349" fmla="*/ 3031430 h 5142621"/>
              <a:gd name="connsiteX3350" fmla="*/ 2983700 w 6268558"/>
              <a:gd name="connsiteY3350" fmla="*/ 2988720 h 5142621"/>
              <a:gd name="connsiteX3351" fmla="*/ 2963843 w 6268558"/>
              <a:gd name="connsiteY3351" fmla="*/ 2946271 h 5142621"/>
              <a:gd name="connsiteX3352" fmla="*/ 2919457 w 6268558"/>
              <a:gd name="connsiteY3352" fmla="*/ 2861394 h 5142621"/>
              <a:gd name="connsiteX3353" fmla="*/ 2701219 w 6268558"/>
              <a:gd name="connsiteY3353" fmla="*/ 2509651 h 5142621"/>
              <a:gd name="connsiteX3354" fmla="*/ 2495574 w 6268558"/>
              <a:gd name="connsiteY3354" fmla="*/ 2106401 h 5142621"/>
              <a:gd name="connsiteX3355" fmla="*/ 2460718 w 6268558"/>
              <a:gd name="connsiteY3355" fmla="*/ 1994357 h 5142621"/>
              <a:gd name="connsiteX3356" fmla="*/ 2436781 w 6268558"/>
              <a:gd name="connsiteY3356" fmla="*/ 1877432 h 5142621"/>
              <a:gd name="connsiteX3357" fmla="*/ 2429116 w 6268558"/>
              <a:gd name="connsiteY3357" fmla="*/ 1751688 h 5142621"/>
              <a:gd name="connsiteX3358" fmla="*/ 2437865 w 6268558"/>
              <a:gd name="connsiteY3358" fmla="*/ 1680278 h 5142621"/>
              <a:gd name="connsiteX3359" fmla="*/ 2449162 w 6268558"/>
              <a:gd name="connsiteY3359" fmla="*/ 1640187 h 5142621"/>
              <a:gd name="connsiteX3360" fmla="*/ 2468453 w 6268558"/>
              <a:gd name="connsiteY3360" fmla="*/ 1596511 h 5142621"/>
              <a:gd name="connsiteX3361" fmla="*/ 2497248 w 6268558"/>
              <a:gd name="connsiteY3361" fmla="*/ 1551561 h 5142621"/>
              <a:gd name="connsiteX3362" fmla="*/ 2533472 w 6268558"/>
              <a:gd name="connsiteY3362" fmla="*/ 1509276 h 5142621"/>
              <a:gd name="connsiteX3363" fmla="*/ 2574247 w 6268558"/>
              <a:gd name="connsiteY3363" fmla="*/ 1471001 h 5142621"/>
              <a:gd name="connsiteX3364" fmla="*/ 2618230 w 6268558"/>
              <a:gd name="connsiteY3364" fmla="*/ 1436027 h 5142621"/>
              <a:gd name="connsiteX3365" fmla="*/ 2714756 w 6268558"/>
              <a:gd name="connsiteY3365" fmla="*/ 1372846 h 5142621"/>
              <a:gd name="connsiteX3366" fmla="*/ 2823452 w 6268558"/>
              <a:gd name="connsiteY3366" fmla="*/ 1315704 h 5142621"/>
              <a:gd name="connsiteX3367" fmla="*/ 3417323 w 6268558"/>
              <a:gd name="connsiteY3367" fmla="*/ 1131519 h 5142621"/>
              <a:gd name="connsiteX3368" fmla="*/ 4385391 w 6268558"/>
              <a:gd name="connsiteY3368" fmla="*/ 1041148 h 5142621"/>
              <a:gd name="connsiteX3369" fmla="*/ 4543669 w 6268558"/>
              <a:gd name="connsiteY3369" fmla="*/ 1040212 h 5142621"/>
              <a:gd name="connsiteX3370" fmla="*/ 4511264 w 6268558"/>
              <a:gd name="connsiteY3370" fmla="*/ 993921 h 5142621"/>
              <a:gd name="connsiteX3371" fmla="*/ 5935256 w 6268558"/>
              <a:gd name="connsiteY3371" fmla="*/ 1088010 h 5142621"/>
              <a:gd name="connsiteX3372" fmla="*/ 5909810 w 6268558"/>
              <a:gd name="connsiteY3372" fmla="*/ 1089779 h 5142621"/>
              <a:gd name="connsiteX3373" fmla="*/ 4340158 w 6268558"/>
              <a:gd name="connsiteY3373" fmla="*/ 1000492 h 5142621"/>
              <a:gd name="connsiteX3374" fmla="*/ 3383009 w 6268558"/>
              <a:gd name="connsiteY3374" fmla="*/ 1096736 h 5142621"/>
              <a:gd name="connsiteX3375" fmla="*/ 2793948 w 6268558"/>
              <a:gd name="connsiteY3375" fmla="*/ 1282784 h 5142621"/>
              <a:gd name="connsiteX3376" fmla="*/ 2685869 w 6268558"/>
              <a:gd name="connsiteY3376" fmla="*/ 1339785 h 5142621"/>
              <a:gd name="connsiteX3377" fmla="*/ 2589909 w 6268558"/>
              <a:gd name="connsiteY3377" fmla="*/ 1402422 h 5142621"/>
              <a:gd name="connsiteX3378" fmla="*/ 2546303 w 6268558"/>
              <a:gd name="connsiteY3378" fmla="*/ 1436830 h 5142621"/>
              <a:gd name="connsiteX3379" fmla="*/ 2506070 w 6268558"/>
              <a:gd name="connsiteY3379" fmla="*/ 1474162 h 5142621"/>
              <a:gd name="connsiteX3380" fmla="*/ 2470507 w 6268558"/>
              <a:gd name="connsiteY3380" fmla="*/ 1514867 h 5142621"/>
              <a:gd name="connsiteX3381" fmla="*/ 2442136 w 6268558"/>
              <a:gd name="connsiteY3381" fmla="*/ 1557837 h 5142621"/>
              <a:gd name="connsiteX3382" fmla="*/ 2422515 w 6268558"/>
              <a:gd name="connsiteY3382" fmla="*/ 1600121 h 5142621"/>
              <a:gd name="connsiteX3383" fmla="*/ 2410346 w 6268558"/>
              <a:gd name="connsiteY3383" fmla="*/ 1639717 h 5142621"/>
              <a:gd name="connsiteX3384" fmla="*/ 2399569 w 6268558"/>
              <a:gd name="connsiteY3384" fmla="*/ 1711599 h 5142621"/>
              <a:gd name="connsiteX3385" fmla="*/ 2403578 w 6268558"/>
              <a:gd name="connsiteY3385" fmla="*/ 1840057 h 5142621"/>
              <a:gd name="connsiteX3386" fmla="*/ 2424567 w 6268558"/>
              <a:gd name="connsiteY3386" fmla="*/ 1960115 h 5142621"/>
              <a:gd name="connsiteX3387" fmla="*/ 2457112 w 6268558"/>
              <a:gd name="connsiteY3387" fmla="*/ 2075272 h 5142621"/>
              <a:gd name="connsiteX3388" fmla="*/ 2659621 w 6268558"/>
              <a:gd name="connsiteY3388" fmla="*/ 2488827 h 5142621"/>
              <a:gd name="connsiteX3389" fmla="*/ 2882292 w 6268558"/>
              <a:gd name="connsiteY3389" fmla="*/ 2844887 h 5142621"/>
              <a:gd name="connsiteX3390" fmla="*/ 2928540 w 6268558"/>
              <a:gd name="connsiteY3390" fmla="*/ 2929763 h 5142621"/>
              <a:gd name="connsiteX3391" fmla="*/ 2949388 w 6268558"/>
              <a:gd name="connsiteY3391" fmla="*/ 2972071 h 5142621"/>
              <a:gd name="connsiteX3392" fmla="*/ 2968534 w 6268558"/>
              <a:gd name="connsiteY3392" fmla="*/ 3014544 h 5142621"/>
              <a:gd name="connsiteX3393" fmla="*/ 3000777 w 6268558"/>
              <a:gd name="connsiteY3393" fmla="*/ 3101449 h 5142621"/>
              <a:gd name="connsiteX3394" fmla="*/ 3012210 w 6268558"/>
              <a:gd name="connsiteY3394" fmla="*/ 3148827 h 5142621"/>
              <a:gd name="connsiteX3395" fmla="*/ 3016998 w 6268558"/>
              <a:gd name="connsiteY3395" fmla="*/ 3203352 h 5142621"/>
              <a:gd name="connsiteX3396" fmla="*/ 3014430 w 6268558"/>
              <a:gd name="connsiteY3396" fmla="*/ 3235048 h 5142621"/>
              <a:gd name="connsiteX3397" fmla="*/ 3006692 w 6268558"/>
              <a:gd name="connsiteY3397" fmla="*/ 3269055 h 5142621"/>
              <a:gd name="connsiteX3398" fmla="*/ 2993890 w 6268558"/>
              <a:gd name="connsiteY3398" fmla="*/ 3302566 h 5142621"/>
              <a:gd name="connsiteX3399" fmla="*/ 2977473 w 6268558"/>
              <a:gd name="connsiteY3399" fmla="*/ 3333602 h 5142621"/>
              <a:gd name="connsiteX3400" fmla="*/ 2937805 w 6268558"/>
              <a:gd name="connsiteY3400" fmla="*/ 3388126 h 5142621"/>
              <a:gd name="connsiteX3401" fmla="*/ 2926745 w 6268558"/>
              <a:gd name="connsiteY3401" fmla="*/ 3400460 h 5142621"/>
              <a:gd name="connsiteX3402" fmla="*/ 2921063 w 6268558"/>
              <a:gd name="connsiteY3402" fmla="*/ 3406474 h 5142621"/>
              <a:gd name="connsiteX3403" fmla="*/ 2915262 w 6268558"/>
              <a:gd name="connsiteY3403" fmla="*/ 3412252 h 5142621"/>
              <a:gd name="connsiteX3404" fmla="*/ 2909343 w 6268558"/>
              <a:gd name="connsiteY3404" fmla="*/ 3417936 h 5142621"/>
              <a:gd name="connsiteX3405" fmla="*/ 2903328 w 6268558"/>
              <a:gd name="connsiteY3405" fmla="*/ 3423478 h 5142621"/>
              <a:gd name="connsiteX3406" fmla="*/ 2890993 w 6268558"/>
              <a:gd name="connsiteY3406" fmla="*/ 3434349 h 5142621"/>
              <a:gd name="connsiteX3407" fmla="*/ 2620614 w 6268558"/>
              <a:gd name="connsiteY3407" fmla="*/ 3561722 h 5142621"/>
              <a:gd name="connsiteX3408" fmla="*/ 2118291 w 6268558"/>
              <a:gd name="connsiteY3408" fmla="*/ 3538375 h 5142621"/>
              <a:gd name="connsiteX3409" fmla="*/ 1115014 w 6268558"/>
              <a:gd name="connsiteY3409" fmla="*/ 3080342 h 5142621"/>
              <a:gd name="connsiteX3410" fmla="*/ 2118622 w 6268558"/>
              <a:gd name="connsiteY3410" fmla="*/ 3538233 h 5142621"/>
              <a:gd name="connsiteX3411" fmla="*/ 2620826 w 6268558"/>
              <a:gd name="connsiteY3411" fmla="*/ 3561227 h 5142621"/>
              <a:gd name="connsiteX3412" fmla="*/ 2890993 w 6268558"/>
              <a:gd name="connsiteY3412" fmla="*/ 3433500 h 5142621"/>
              <a:gd name="connsiteX3413" fmla="*/ 2903303 w 6268558"/>
              <a:gd name="connsiteY3413" fmla="*/ 3422605 h 5142621"/>
              <a:gd name="connsiteX3414" fmla="*/ 2909293 w 6268558"/>
              <a:gd name="connsiteY3414" fmla="*/ 3417063 h 5142621"/>
              <a:gd name="connsiteX3415" fmla="*/ 2915169 w 6268558"/>
              <a:gd name="connsiteY3415" fmla="*/ 3411379 h 5142621"/>
              <a:gd name="connsiteX3416" fmla="*/ 2920943 w 6268558"/>
              <a:gd name="connsiteY3416" fmla="*/ 3405601 h 5142621"/>
              <a:gd name="connsiteX3417" fmla="*/ 2926606 w 6268558"/>
              <a:gd name="connsiteY3417" fmla="*/ 3399588 h 5142621"/>
              <a:gd name="connsiteX3418" fmla="*/ 2937617 w 6268558"/>
              <a:gd name="connsiteY3418" fmla="*/ 3387254 h 5142621"/>
              <a:gd name="connsiteX3419" fmla="*/ 2977071 w 6268558"/>
              <a:gd name="connsiteY3419" fmla="*/ 3332894 h 5142621"/>
              <a:gd name="connsiteX3420" fmla="*/ 2993320 w 6268558"/>
              <a:gd name="connsiteY3420" fmla="*/ 3302094 h 5142621"/>
              <a:gd name="connsiteX3421" fmla="*/ 3005937 w 6268558"/>
              <a:gd name="connsiteY3421" fmla="*/ 3269031 h 5142621"/>
              <a:gd name="connsiteX3422" fmla="*/ 3016102 w 6268558"/>
              <a:gd name="connsiteY3422" fmla="*/ 3204366 h 5142621"/>
              <a:gd name="connsiteX3423" fmla="*/ 3011362 w 6268558"/>
              <a:gd name="connsiteY3423" fmla="*/ 3150313 h 5142621"/>
              <a:gd name="connsiteX3424" fmla="*/ 2999973 w 6268558"/>
              <a:gd name="connsiteY3424" fmla="*/ 3103170 h 5142621"/>
              <a:gd name="connsiteX3425" fmla="*/ 2967807 w 6268558"/>
              <a:gd name="connsiteY3425" fmla="*/ 3016573 h 5142621"/>
              <a:gd name="connsiteX3426" fmla="*/ 2948703 w 6268558"/>
              <a:gd name="connsiteY3426" fmla="*/ 2974217 h 5142621"/>
              <a:gd name="connsiteX3427" fmla="*/ 2927881 w 6268558"/>
              <a:gd name="connsiteY3427" fmla="*/ 2932050 h 5142621"/>
              <a:gd name="connsiteX3428" fmla="*/ 2881702 w 6268558"/>
              <a:gd name="connsiteY3428" fmla="*/ 2847434 h 5142621"/>
              <a:gd name="connsiteX3429" fmla="*/ 2658984 w 6268558"/>
              <a:gd name="connsiteY3429" fmla="*/ 2492412 h 5142621"/>
              <a:gd name="connsiteX3430" fmla="*/ 2455178 w 6268558"/>
              <a:gd name="connsiteY3430" fmla="*/ 2079918 h 5142621"/>
              <a:gd name="connsiteX3431" fmla="*/ 2421996 w 6268558"/>
              <a:gd name="connsiteY3431" fmla="*/ 1964973 h 5142621"/>
              <a:gd name="connsiteX3432" fmla="*/ 2400253 w 6268558"/>
              <a:gd name="connsiteY3432" fmla="*/ 1845056 h 5142621"/>
              <a:gd name="connsiteX3433" fmla="*/ 2395324 w 6268558"/>
              <a:gd name="connsiteY3433" fmla="*/ 1716292 h 5142621"/>
              <a:gd name="connsiteX3434" fmla="*/ 2405724 w 6268558"/>
              <a:gd name="connsiteY3434" fmla="*/ 1643467 h 5142621"/>
              <a:gd name="connsiteX3435" fmla="*/ 2417964 w 6268558"/>
              <a:gd name="connsiteY3435" fmla="*/ 1602739 h 5142621"/>
              <a:gd name="connsiteX3436" fmla="*/ 2438221 w 6268558"/>
              <a:gd name="connsiteY3436" fmla="*/ 1558544 h 5142621"/>
              <a:gd name="connsiteX3437" fmla="*/ 2467960 w 6268558"/>
              <a:gd name="connsiteY3437" fmla="*/ 1513264 h 5142621"/>
              <a:gd name="connsiteX3438" fmla="*/ 2505009 w 6268558"/>
              <a:gd name="connsiteY3438" fmla="*/ 1470838 h 5142621"/>
              <a:gd name="connsiteX3439" fmla="*/ 2546421 w 6268558"/>
              <a:gd name="connsiteY3439" fmla="*/ 1432538 h 5142621"/>
              <a:gd name="connsiteX3440" fmla="*/ 2590923 w 6268558"/>
              <a:gd name="connsiteY3440" fmla="*/ 1397564 h 5142621"/>
              <a:gd name="connsiteX3441" fmla="*/ 2688180 w 6268558"/>
              <a:gd name="connsiteY3441" fmla="*/ 1334455 h 5142621"/>
              <a:gd name="connsiteX3442" fmla="*/ 2797300 w 6268558"/>
              <a:gd name="connsiteY3442" fmla="*/ 1277289 h 5142621"/>
              <a:gd name="connsiteX3443" fmla="*/ 3390367 w 6268558"/>
              <a:gd name="connsiteY3443" fmla="*/ 1091476 h 5142621"/>
              <a:gd name="connsiteX3444" fmla="*/ 4354049 w 6268558"/>
              <a:gd name="connsiteY3444" fmla="*/ 996106 h 5142621"/>
              <a:gd name="connsiteX3445" fmla="*/ 4511264 w 6268558"/>
              <a:gd name="connsiteY3445" fmla="*/ 993921 h 5142621"/>
              <a:gd name="connsiteX3446" fmla="*/ 1800392 w 6268558"/>
              <a:gd name="connsiteY3446" fmla="*/ 976840 h 5142621"/>
              <a:gd name="connsiteX3447" fmla="*/ 1738911 w 6268558"/>
              <a:gd name="connsiteY3447" fmla="*/ 1655402 h 5142621"/>
              <a:gd name="connsiteX3448" fmla="*/ 1901493 w 6268558"/>
              <a:gd name="connsiteY3448" fmla="*/ 2240897 h 5142621"/>
              <a:gd name="connsiteX3449" fmla="*/ 1959650 w 6268558"/>
              <a:gd name="connsiteY3449" fmla="*/ 2366855 h 5142621"/>
              <a:gd name="connsiteX3450" fmla="*/ 1989506 w 6268558"/>
              <a:gd name="connsiteY3450" fmla="*/ 2426662 h 5142621"/>
              <a:gd name="connsiteX3451" fmla="*/ 2019362 w 6268558"/>
              <a:gd name="connsiteY3451" fmla="*/ 2484440 h 5142621"/>
              <a:gd name="connsiteX3452" fmla="*/ 2077000 w 6268558"/>
              <a:gd name="connsiteY3452" fmla="*/ 2594551 h 5142621"/>
              <a:gd name="connsiteX3453" fmla="*/ 2101809 w 6268558"/>
              <a:gd name="connsiteY3453" fmla="*/ 2647919 h 5142621"/>
              <a:gd name="connsiteX3454" fmla="*/ 2118058 w 6268558"/>
              <a:gd name="connsiteY3454" fmla="*/ 2700840 h 5142621"/>
              <a:gd name="connsiteX3455" fmla="*/ 2116572 w 6268558"/>
              <a:gd name="connsiteY3455" fmla="*/ 2700840 h 5142621"/>
              <a:gd name="connsiteX3456" fmla="*/ 2100418 w 6268558"/>
              <a:gd name="connsiteY3456" fmla="*/ 2648344 h 5142621"/>
              <a:gd name="connsiteX3457" fmla="*/ 2075656 w 6268558"/>
              <a:gd name="connsiteY3457" fmla="*/ 2595187 h 5142621"/>
              <a:gd name="connsiteX3458" fmla="*/ 2017995 w 6268558"/>
              <a:gd name="connsiteY3458" fmla="*/ 2485313 h 5142621"/>
              <a:gd name="connsiteX3459" fmla="*/ 1988115 w 6268558"/>
              <a:gd name="connsiteY3459" fmla="*/ 2427605 h 5142621"/>
              <a:gd name="connsiteX3460" fmla="*/ 1958211 w 6268558"/>
              <a:gd name="connsiteY3460" fmla="*/ 2367892 h 5142621"/>
              <a:gd name="connsiteX3461" fmla="*/ 1899937 w 6268558"/>
              <a:gd name="connsiteY3461" fmla="*/ 2242099 h 5142621"/>
              <a:gd name="connsiteX3462" fmla="*/ 1736222 w 6268558"/>
              <a:gd name="connsiteY3462" fmla="*/ 1657147 h 5142621"/>
              <a:gd name="connsiteX3463" fmla="*/ 1795628 w 6268558"/>
              <a:gd name="connsiteY3463" fmla="*/ 978609 h 5142621"/>
              <a:gd name="connsiteX3464" fmla="*/ 4644526 w 6268558"/>
              <a:gd name="connsiteY3464" fmla="*/ 947338 h 5142621"/>
              <a:gd name="connsiteX3465" fmla="*/ 5892099 w 6268558"/>
              <a:gd name="connsiteY3465" fmla="*/ 1028533 h 5142621"/>
              <a:gd name="connsiteX3466" fmla="*/ 5867219 w 6268558"/>
              <a:gd name="connsiteY3466" fmla="*/ 1030561 h 5142621"/>
              <a:gd name="connsiteX3467" fmla="*/ 4308769 w 6268558"/>
              <a:gd name="connsiteY3467" fmla="*/ 955283 h 5142621"/>
              <a:gd name="connsiteX3468" fmla="*/ 3357044 w 6268558"/>
              <a:gd name="connsiteY3468" fmla="*/ 1055772 h 5142621"/>
              <a:gd name="connsiteX3469" fmla="*/ 2769024 w 6268558"/>
              <a:gd name="connsiteY3469" fmla="*/ 1242882 h 5142621"/>
              <a:gd name="connsiteX3470" fmla="*/ 2660518 w 6268558"/>
              <a:gd name="connsiteY3470" fmla="*/ 1299765 h 5142621"/>
              <a:gd name="connsiteX3471" fmla="*/ 2563803 w 6268558"/>
              <a:gd name="connsiteY3471" fmla="*/ 1362189 h 5142621"/>
              <a:gd name="connsiteX3472" fmla="*/ 2519679 w 6268558"/>
              <a:gd name="connsiteY3472" fmla="*/ 1396503 h 5142621"/>
              <a:gd name="connsiteX3473" fmla="*/ 2478762 w 6268558"/>
              <a:gd name="connsiteY3473" fmla="*/ 1433765 h 5142621"/>
              <a:gd name="connsiteX3474" fmla="*/ 2442373 w 6268558"/>
              <a:gd name="connsiteY3474" fmla="*/ 1474541 h 5142621"/>
              <a:gd name="connsiteX3475" fmla="*/ 2413059 w 6268558"/>
              <a:gd name="connsiteY3475" fmla="*/ 1517745 h 5142621"/>
              <a:gd name="connsiteX3476" fmla="*/ 2392424 w 6268558"/>
              <a:gd name="connsiteY3476" fmla="*/ 1560478 h 5142621"/>
              <a:gd name="connsiteX3477" fmla="*/ 2379288 w 6268558"/>
              <a:gd name="connsiteY3477" fmla="*/ 1600664 h 5142621"/>
              <a:gd name="connsiteX3478" fmla="*/ 2366742 w 6268558"/>
              <a:gd name="connsiteY3478" fmla="*/ 1673937 h 5142621"/>
              <a:gd name="connsiteX3479" fmla="*/ 2367756 w 6268558"/>
              <a:gd name="connsiteY3479" fmla="*/ 1805437 h 5142621"/>
              <a:gd name="connsiteX3480" fmla="*/ 2386316 w 6268558"/>
              <a:gd name="connsiteY3480" fmla="*/ 1928584 h 5142621"/>
              <a:gd name="connsiteX3481" fmla="*/ 2416950 w 6268558"/>
              <a:gd name="connsiteY3481" fmla="*/ 2046759 h 5142621"/>
              <a:gd name="connsiteX3482" fmla="*/ 2616842 w 6268558"/>
              <a:gd name="connsiteY3482" fmla="*/ 2470219 h 5142621"/>
              <a:gd name="connsiteX3483" fmla="*/ 2843521 w 6268558"/>
              <a:gd name="connsiteY3483" fmla="*/ 2830406 h 5142621"/>
              <a:gd name="connsiteX3484" fmla="*/ 2891464 w 6268558"/>
              <a:gd name="connsiteY3484" fmla="*/ 2915235 h 5142621"/>
              <a:gd name="connsiteX3485" fmla="*/ 2913255 w 6268558"/>
              <a:gd name="connsiteY3485" fmla="*/ 2957354 h 5142621"/>
              <a:gd name="connsiteX3486" fmla="*/ 2933373 w 6268558"/>
              <a:gd name="connsiteY3486" fmla="*/ 2999568 h 5142621"/>
              <a:gd name="connsiteX3487" fmla="*/ 2967638 w 6268558"/>
              <a:gd name="connsiteY3487" fmla="*/ 3085624 h 5142621"/>
              <a:gd name="connsiteX3488" fmla="*/ 2980137 w 6268558"/>
              <a:gd name="connsiteY3488" fmla="*/ 3132389 h 5142621"/>
              <a:gd name="connsiteX3489" fmla="*/ 2985986 w 6268558"/>
              <a:gd name="connsiteY3489" fmla="*/ 3186088 h 5142621"/>
              <a:gd name="connsiteX3490" fmla="*/ 2983915 w 6268558"/>
              <a:gd name="connsiteY3490" fmla="*/ 3217241 h 5142621"/>
              <a:gd name="connsiteX3491" fmla="*/ 2976576 w 6268558"/>
              <a:gd name="connsiteY3491" fmla="*/ 3250612 h 5142621"/>
              <a:gd name="connsiteX3492" fmla="*/ 2964034 w 6268558"/>
              <a:gd name="connsiteY3492" fmla="*/ 3283440 h 5142621"/>
              <a:gd name="connsiteX3493" fmla="*/ 2947711 w 6268558"/>
              <a:gd name="connsiteY3493" fmla="*/ 3313768 h 5142621"/>
              <a:gd name="connsiteX3494" fmla="*/ 2907880 w 6268558"/>
              <a:gd name="connsiteY3494" fmla="*/ 3366783 h 5142621"/>
              <a:gd name="connsiteX3495" fmla="*/ 2896724 w 6268558"/>
              <a:gd name="connsiteY3495" fmla="*/ 3378716 h 5142621"/>
              <a:gd name="connsiteX3496" fmla="*/ 2890969 w 6268558"/>
              <a:gd name="connsiteY3496" fmla="*/ 3384517 h 5142621"/>
              <a:gd name="connsiteX3497" fmla="*/ 2885098 w 6268558"/>
              <a:gd name="connsiteY3497" fmla="*/ 3390106 h 5142621"/>
              <a:gd name="connsiteX3498" fmla="*/ 2879110 w 6268558"/>
              <a:gd name="connsiteY3498" fmla="*/ 3395601 h 5142621"/>
              <a:gd name="connsiteX3499" fmla="*/ 2873022 w 6268558"/>
              <a:gd name="connsiteY3499" fmla="*/ 3400931 h 5142621"/>
              <a:gd name="connsiteX3500" fmla="*/ 2860523 w 6268558"/>
              <a:gd name="connsiteY3500" fmla="*/ 3411379 h 5142621"/>
              <a:gd name="connsiteX3501" fmla="*/ 2584061 w 6268558"/>
              <a:gd name="connsiteY3501" fmla="*/ 3529530 h 5142621"/>
              <a:gd name="connsiteX3502" fmla="*/ 2066716 w 6268558"/>
              <a:gd name="connsiteY3502" fmla="*/ 3487151 h 5142621"/>
              <a:gd name="connsiteX3503" fmla="*/ 1041860 w 6268558"/>
              <a:gd name="connsiteY3503" fmla="*/ 2986480 h 5142621"/>
              <a:gd name="connsiteX3504" fmla="*/ 2067046 w 6268558"/>
              <a:gd name="connsiteY3504" fmla="*/ 3487033 h 5142621"/>
              <a:gd name="connsiteX3505" fmla="*/ 2584274 w 6268558"/>
              <a:gd name="connsiteY3505" fmla="*/ 3529059 h 5142621"/>
              <a:gd name="connsiteX3506" fmla="*/ 2860523 w 6268558"/>
              <a:gd name="connsiteY3506" fmla="*/ 3410553 h 5142621"/>
              <a:gd name="connsiteX3507" fmla="*/ 2873002 w 6268558"/>
              <a:gd name="connsiteY3507" fmla="*/ 3400082 h 5142621"/>
              <a:gd name="connsiteX3508" fmla="*/ 2879084 w 6268558"/>
              <a:gd name="connsiteY3508" fmla="*/ 3394729 h 5142621"/>
              <a:gd name="connsiteX3509" fmla="*/ 2885030 w 6268558"/>
              <a:gd name="connsiteY3509" fmla="*/ 3389257 h 5142621"/>
              <a:gd name="connsiteX3510" fmla="*/ 2890875 w 6268558"/>
              <a:gd name="connsiteY3510" fmla="*/ 3383692 h 5142621"/>
              <a:gd name="connsiteX3511" fmla="*/ 2896606 w 6268558"/>
              <a:gd name="connsiteY3511" fmla="*/ 3377890 h 5142621"/>
              <a:gd name="connsiteX3512" fmla="*/ 2907717 w 6268558"/>
              <a:gd name="connsiteY3512" fmla="*/ 3365957 h 5142621"/>
              <a:gd name="connsiteX3513" fmla="*/ 2947310 w 6268558"/>
              <a:gd name="connsiteY3513" fmla="*/ 3313107 h 5142621"/>
              <a:gd name="connsiteX3514" fmla="*/ 2963464 w 6268558"/>
              <a:gd name="connsiteY3514" fmla="*/ 3283039 h 5142621"/>
              <a:gd name="connsiteX3515" fmla="*/ 2975822 w 6268558"/>
              <a:gd name="connsiteY3515" fmla="*/ 3250659 h 5142621"/>
              <a:gd name="connsiteX3516" fmla="*/ 2985090 w 6268558"/>
              <a:gd name="connsiteY3516" fmla="*/ 3187149 h 5142621"/>
              <a:gd name="connsiteX3517" fmla="*/ 2979289 w 6268558"/>
              <a:gd name="connsiteY3517" fmla="*/ 3133922 h 5142621"/>
              <a:gd name="connsiteX3518" fmla="*/ 2966840 w 6268558"/>
              <a:gd name="connsiteY3518" fmla="*/ 3087392 h 5142621"/>
              <a:gd name="connsiteX3519" fmla="*/ 2932641 w 6268558"/>
              <a:gd name="connsiteY3519" fmla="*/ 3001620 h 5142621"/>
              <a:gd name="connsiteX3520" fmla="*/ 2912571 w 6268558"/>
              <a:gd name="connsiteY3520" fmla="*/ 2959547 h 5142621"/>
              <a:gd name="connsiteX3521" fmla="*/ 2890830 w 6268558"/>
              <a:gd name="connsiteY3521" fmla="*/ 2917546 h 5142621"/>
              <a:gd name="connsiteX3522" fmla="*/ 2842957 w 6268558"/>
              <a:gd name="connsiteY3522" fmla="*/ 2832953 h 5142621"/>
              <a:gd name="connsiteX3523" fmla="*/ 2616181 w 6268558"/>
              <a:gd name="connsiteY3523" fmla="*/ 2473804 h 5142621"/>
              <a:gd name="connsiteX3524" fmla="*/ 2414922 w 6268558"/>
              <a:gd name="connsiteY3524" fmla="*/ 2051381 h 5142621"/>
              <a:gd name="connsiteX3525" fmla="*/ 2383651 w 6268558"/>
              <a:gd name="connsiteY3525" fmla="*/ 1933442 h 5142621"/>
              <a:gd name="connsiteX3526" fmla="*/ 2364313 w 6268558"/>
              <a:gd name="connsiteY3526" fmla="*/ 1810437 h 5142621"/>
              <a:gd name="connsiteX3527" fmla="*/ 2362355 w 6268558"/>
              <a:gd name="connsiteY3527" fmla="*/ 1678630 h 5142621"/>
              <a:gd name="connsiteX3528" fmla="*/ 2374548 w 6268558"/>
              <a:gd name="connsiteY3528" fmla="*/ 1604390 h 5142621"/>
              <a:gd name="connsiteX3529" fmla="*/ 2387778 w 6268558"/>
              <a:gd name="connsiteY3529" fmla="*/ 1563049 h 5142621"/>
              <a:gd name="connsiteX3530" fmla="*/ 2409097 w 6268558"/>
              <a:gd name="connsiteY3530" fmla="*/ 1518382 h 5142621"/>
              <a:gd name="connsiteX3531" fmla="*/ 2439850 w 6268558"/>
              <a:gd name="connsiteY3531" fmla="*/ 1472843 h 5142621"/>
              <a:gd name="connsiteX3532" fmla="*/ 2477748 w 6268558"/>
              <a:gd name="connsiteY3532" fmla="*/ 1430369 h 5142621"/>
              <a:gd name="connsiteX3533" fmla="*/ 2519844 w 6268558"/>
              <a:gd name="connsiteY3533" fmla="*/ 1392116 h 5142621"/>
              <a:gd name="connsiteX3534" fmla="*/ 2564864 w 6268558"/>
              <a:gd name="connsiteY3534" fmla="*/ 1357260 h 5142621"/>
              <a:gd name="connsiteX3535" fmla="*/ 2662876 w 6268558"/>
              <a:gd name="connsiteY3535" fmla="*/ 1294364 h 5142621"/>
              <a:gd name="connsiteX3536" fmla="*/ 2772397 w 6268558"/>
              <a:gd name="connsiteY3536" fmla="*/ 1237316 h 5142621"/>
              <a:gd name="connsiteX3537" fmla="*/ 3364355 w 6268558"/>
              <a:gd name="connsiteY3537" fmla="*/ 1050465 h 5142621"/>
              <a:gd name="connsiteX3538" fmla="*/ 4322447 w 6268558"/>
              <a:gd name="connsiteY3538" fmla="*/ 950826 h 5142621"/>
              <a:gd name="connsiteX3539" fmla="*/ 4644526 w 6268558"/>
              <a:gd name="connsiteY3539" fmla="*/ 947338 h 5142621"/>
              <a:gd name="connsiteX3540" fmla="*/ 4610841 w 6268558"/>
              <a:gd name="connsiteY3540" fmla="*/ 899708 h 5142621"/>
              <a:gd name="connsiteX3541" fmla="*/ 5847268 w 6268558"/>
              <a:gd name="connsiteY3541" fmla="*/ 969833 h 5142621"/>
              <a:gd name="connsiteX3542" fmla="*/ 5822718 w 6268558"/>
              <a:gd name="connsiteY3542" fmla="*/ 972215 h 5142621"/>
              <a:gd name="connsiteX3543" fmla="*/ 4277592 w 6268558"/>
              <a:gd name="connsiteY3543" fmla="*/ 909625 h 5142621"/>
              <a:gd name="connsiteX3544" fmla="*/ 3332306 w 6268558"/>
              <a:gd name="connsiteY3544" fmla="*/ 1013792 h 5142621"/>
              <a:gd name="connsiteX3545" fmla="*/ 2745674 w 6268558"/>
              <a:gd name="connsiteY3545" fmla="*/ 1201350 h 5142621"/>
              <a:gd name="connsiteX3546" fmla="*/ 2636767 w 6268558"/>
              <a:gd name="connsiteY3546" fmla="*/ 1257949 h 5142621"/>
              <a:gd name="connsiteX3547" fmla="*/ 2539298 w 6268558"/>
              <a:gd name="connsiteY3547" fmla="*/ 1319973 h 5142621"/>
              <a:gd name="connsiteX3548" fmla="*/ 2494631 w 6268558"/>
              <a:gd name="connsiteY3548" fmla="*/ 1354098 h 5142621"/>
              <a:gd name="connsiteX3549" fmla="*/ 2453030 w 6268558"/>
              <a:gd name="connsiteY3549" fmla="*/ 1391242 h 5142621"/>
              <a:gd name="connsiteX3550" fmla="*/ 2415792 w 6268558"/>
              <a:gd name="connsiteY3550" fmla="*/ 1431994 h 5142621"/>
              <a:gd name="connsiteX3551" fmla="*/ 2385464 w 6268558"/>
              <a:gd name="connsiteY3551" fmla="*/ 1475387 h 5142621"/>
              <a:gd name="connsiteX3552" fmla="*/ 2363768 w 6268558"/>
              <a:gd name="connsiteY3552" fmla="*/ 1518520 h 5142621"/>
              <a:gd name="connsiteX3553" fmla="*/ 2349594 w 6268558"/>
              <a:gd name="connsiteY3553" fmla="*/ 1559272 h 5142621"/>
              <a:gd name="connsiteX3554" fmla="*/ 2335161 w 6268558"/>
              <a:gd name="connsiteY3554" fmla="*/ 1633890 h 5142621"/>
              <a:gd name="connsiteX3555" fmla="*/ 2332944 w 6268558"/>
              <a:gd name="connsiteY3555" fmla="*/ 1768456 h 5142621"/>
              <a:gd name="connsiteX3556" fmla="*/ 2348816 w 6268558"/>
              <a:gd name="connsiteY3556" fmla="*/ 1894742 h 5142621"/>
              <a:gd name="connsiteX3557" fmla="*/ 2377304 w 6268558"/>
              <a:gd name="connsiteY3557" fmla="*/ 2016007 h 5142621"/>
              <a:gd name="connsiteX3558" fmla="*/ 2573823 w 6268558"/>
              <a:gd name="connsiteY3558" fmla="*/ 2450033 h 5142621"/>
              <a:gd name="connsiteX3559" fmla="*/ 2804042 w 6268558"/>
              <a:gd name="connsiteY3559" fmla="*/ 2815219 h 5142621"/>
              <a:gd name="connsiteX3560" fmla="*/ 2853616 w 6268558"/>
              <a:gd name="connsiteY3560" fmla="*/ 2900213 h 5142621"/>
              <a:gd name="connsiteX3561" fmla="*/ 2876278 w 6268558"/>
              <a:gd name="connsiteY3561" fmla="*/ 2942262 h 5142621"/>
              <a:gd name="connsiteX3562" fmla="*/ 2897314 w 6268558"/>
              <a:gd name="connsiteY3562" fmla="*/ 2984287 h 5142621"/>
              <a:gd name="connsiteX3563" fmla="*/ 2933537 w 6268558"/>
              <a:gd name="connsiteY3563" fmla="*/ 3069682 h 5142621"/>
              <a:gd name="connsiteX3564" fmla="*/ 2947052 w 6268558"/>
              <a:gd name="connsiteY3564" fmla="*/ 3115929 h 5142621"/>
              <a:gd name="connsiteX3565" fmla="*/ 2953939 w 6268558"/>
              <a:gd name="connsiteY3565" fmla="*/ 3168873 h 5142621"/>
              <a:gd name="connsiteX3566" fmla="*/ 2952333 w 6268558"/>
              <a:gd name="connsiteY3566" fmla="*/ 3199507 h 5142621"/>
              <a:gd name="connsiteX3567" fmla="*/ 2945376 w 6268558"/>
              <a:gd name="connsiteY3567" fmla="*/ 3232241 h 5142621"/>
              <a:gd name="connsiteX3568" fmla="*/ 2933042 w 6268558"/>
              <a:gd name="connsiteY3568" fmla="*/ 3264338 h 5142621"/>
              <a:gd name="connsiteX3569" fmla="*/ 2916794 w 6268558"/>
              <a:gd name="connsiteY3569" fmla="*/ 3293911 h 5142621"/>
              <a:gd name="connsiteX3570" fmla="*/ 2876725 w 6268558"/>
              <a:gd name="connsiteY3570" fmla="*/ 3345323 h 5142621"/>
              <a:gd name="connsiteX3571" fmla="*/ 2865455 w 6268558"/>
              <a:gd name="connsiteY3571" fmla="*/ 3356855 h 5142621"/>
              <a:gd name="connsiteX3572" fmla="*/ 2859629 w 6268558"/>
              <a:gd name="connsiteY3572" fmla="*/ 3362444 h 5142621"/>
              <a:gd name="connsiteX3573" fmla="*/ 2853661 w 6268558"/>
              <a:gd name="connsiteY3573" fmla="*/ 3367821 h 5142621"/>
              <a:gd name="connsiteX3574" fmla="*/ 2847577 w 6268558"/>
              <a:gd name="connsiteY3574" fmla="*/ 3373080 h 5142621"/>
              <a:gd name="connsiteX3575" fmla="*/ 2841400 w 6268558"/>
              <a:gd name="connsiteY3575" fmla="*/ 3378198 h 5142621"/>
              <a:gd name="connsiteX3576" fmla="*/ 2828687 w 6268558"/>
              <a:gd name="connsiteY3576" fmla="*/ 3388197 h 5142621"/>
              <a:gd name="connsiteX3577" fmla="*/ 2545736 w 6268558"/>
              <a:gd name="connsiteY3577" fmla="*/ 3496586 h 5142621"/>
              <a:gd name="connsiteX3578" fmla="*/ 2013297 w 6268558"/>
              <a:gd name="connsiteY3578" fmla="*/ 3434184 h 5142621"/>
              <a:gd name="connsiteX3579" fmla="*/ 969339 w 6268558"/>
              <a:gd name="connsiteY3579" fmla="*/ 2890945 h 5142621"/>
              <a:gd name="connsiteX3580" fmla="*/ 2013628 w 6268558"/>
              <a:gd name="connsiteY3580" fmla="*/ 3434066 h 5142621"/>
              <a:gd name="connsiteX3581" fmla="*/ 2545948 w 6268558"/>
              <a:gd name="connsiteY3581" fmla="*/ 3496090 h 5142621"/>
              <a:gd name="connsiteX3582" fmla="*/ 2828663 w 6268558"/>
              <a:gd name="connsiteY3582" fmla="*/ 3387348 h 5142621"/>
              <a:gd name="connsiteX3583" fmla="*/ 2841350 w 6268558"/>
              <a:gd name="connsiteY3583" fmla="*/ 3377325 h 5142621"/>
              <a:gd name="connsiteX3584" fmla="*/ 2847531 w 6268558"/>
              <a:gd name="connsiteY3584" fmla="*/ 3372208 h 5142621"/>
              <a:gd name="connsiteX3585" fmla="*/ 2853567 w 6268558"/>
              <a:gd name="connsiteY3585" fmla="*/ 3366948 h 5142621"/>
              <a:gd name="connsiteX3586" fmla="*/ 2859486 w 6268558"/>
              <a:gd name="connsiteY3586" fmla="*/ 3361595 h 5142621"/>
              <a:gd name="connsiteX3587" fmla="*/ 2865287 w 6268558"/>
              <a:gd name="connsiteY3587" fmla="*/ 3356006 h 5142621"/>
              <a:gd name="connsiteX3588" fmla="*/ 2876537 w 6268558"/>
              <a:gd name="connsiteY3588" fmla="*/ 3344497 h 5142621"/>
              <a:gd name="connsiteX3589" fmla="*/ 2916392 w 6268558"/>
              <a:gd name="connsiteY3589" fmla="*/ 3293227 h 5142621"/>
              <a:gd name="connsiteX3590" fmla="*/ 2932501 w 6268558"/>
              <a:gd name="connsiteY3590" fmla="*/ 3263890 h 5142621"/>
              <a:gd name="connsiteX3591" fmla="*/ 2944647 w 6268558"/>
              <a:gd name="connsiteY3591" fmla="*/ 3232218 h 5142621"/>
              <a:gd name="connsiteX3592" fmla="*/ 2953090 w 6268558"/>
              <a:gd name="connsiteY3592" fmla="*/ 3169864 h 5142621"/>
              <a:gd name="connsiteX3593" fmla="*/ 2946274 w 6268558"/>
              <a:gd name="connsiteY3593" fmla="*/ 3117391 h 5142621"/>
              <a:gd name="connsiteX3594" fmla="*/ 2932808 w 6268558"/>
              <a:gd name="connsiteY3594" fmla="*/ 3071380 h 5142621"/>
              <a:gd name="connsiteX3595" fmla="*/ 2896655 w 6268558"/>
              <a:gd name="connsiteY3595" fmla="*/ 2986268 h 5142621"/>
              <a:gd name="connsiteX3596" fmla="*/ 2875640 w 6268558"/>
              <a:gd name="connsiteY3596" fmla="*/ 2944361 h 5142621"/>
              <a:gd name="connsiteX3597" fmla="*/ 2853001 w 6268558"/>
              <a:gd name="connsiteY3597" fmla="*/ 2902430 h 5142621"/>
              <a:gd name="connsiteX3598" fmla="*/ 2803502 w 6268558"/>
              <a:gd name="connsiteY3598" fmla="*/ 2817672 h 5142621"/>
              <a:gd name="connsiteX3599" fmla="*/ 2573163 w 6268558"/>
              <a:gd name="connsiteY3599" fmla="*/ 2453547 h 5142621"/>
              <a:gd name="connsiteX3600" fmla="*/ 2375229 w 6268558"/>
              <a:gd name="connsiteY3600" fmla="*/ 2020559 h 5142621"/>
              <a:gd name="connsiteX3601" fmla="*/ 2346104 w 6268558"/>
              <a:gd name="connsiteY3601" fmla="*/ 1899506 h 5142621"/>
              <a:gd name="connsiteX3602" fmla="*/ 2329431 w 6268558"/>
              <a:gd name="connsiteY3602" fmla="*/ 1773338 h 5142621"/>
              <a:gd name="connsiteX3603" fmla="*/ 2330728 w 6268558"/>
              <a:gd name="connsiteY3603" fmla="*/ 1638442 h 5142621"/>
              <a:gd name="connsiteX3604" fmla="*/ 2344830 w 6268558"/>
              <a:gd name="connsiteY3604" fmla="*/ 1562834 h 5142621"/>
              <a:gd name="connsiteX3605" fmla="*/ 2359122 w 6268558"/>
              <a:gd name="connsiteY3605" fmla="*/ 1520926 h 5142621"/>
              <a:gd name="connsiteX3606" fmla="*/ 2381549 w 6268558"/>
              <a:gd name="connsiteY3606" fmla="*/ 1475858 h 5142621"/>
              <a:gd name="connsiteX3607" fmla="*/ 2413387 w 6268558"/>
              <a:gd name="connsiteY3607" fmla="*/ 1430130 h 5142621"/>
              <a:gd name="connsiteX3608" fmla="*/ 2452205 w 6268558"/>
              <a:gd name="connsiteY3608" fmla="*/ 1387681 h 5142621"/>
              <a:gd name="connsiteX3609" fmla="*/ 2495032 w 6268558"/>
              <a:gd name="connsiteY3609" fmla="*/ 1349570 h 5142621"/>
              <a:gd name="connsiteX3610" fmla="*/ 2540618 w 6268558"/>
              <a:gd name="connsiteY3610" fmla="*/ 1314903 h 5142621"/>
              <a:gd name="connsiteX3611" fmla="*/ 2639385 w 6268558"/>
              <a:gd name="connsiteY3611" fmla="*/ 1252384 h 5142621"/>
              <a:gd name="connsiteX3612" fmla="*/ 2749306 w 6268558"/>
              <a:gd name="connsiteY3612" fmla="*/ 1195619 h 5142621"/>
              <a:gd name="connsiteX3613" fmla="*/ 3339782 w 6268558"/>
              <a:gd name="connsiteY3613" fmla="*/ 1008321 h 5142621"/>
              <a:gd name="connsiteX3614" fmla="*/ 4291271 w 6268558"/>
              <a:gd name="connsiteY3614" fmla="*/ 904979 h 5142621"/>
              <a:gd name="connsiteX3615" fmla="*/ 4610841 w 6268558"/>
              <a:gd name="connsiteY3615" fmla="*/ 899708 h 5142621"/>
              <a:gd name="connsiteX3616" fmla="*/ 4576613 w 6268558"/>
              <a:gd name="connsiteY3616" fmla="*/ 851995 h 5142621"/>
              <a:gd name="connsiteX3617" fmla="*/ 5800219 w 6268558"/>
              <a:gd name="connsiteY3617" fmla="*/ 912124 h 5142621"/>
              <a:gd name="connsiteX3618" fmla="*/ 5776259 w 6268558"/>
              <a:gd name="connsiteY3618" fmla="*/ 914624 h 5142621"/>
              <a:gd name="connsiteX3619" fmla="*/ 4246486 w 6268558"/>
              <a:gd name="connsiteY3619" fmla="*/ 863519 h 5142621"/>
              <a:gd name="connsiteX3620" fmla="*/ 3308675 w 6268558"/>
              <a:gd name="connsiteY3620" fmla="*/ 970799 h 5142621"/>
              <a:gd name="connsiteX3621" fmla="*/ 2723836 w 6268558"/>
              <a:gd name="connsiteY3621" fmla="*/ 1158168 h 5142621"/>
              <a:gd name="connsiteX3622" fmla="*/ 2614551 w 6268558"/>
              <a:gd name="connsiteY3622" fmla="*/ 1214296 h 5142621"/>
              <a:gd name="connsiteX3623" fmla="*/ 2516327 w 6268558"/>
              <a:gd name="connsiteY3623" fmla="*/ 1275777 h 5142621"/>
              <a:gd name="connsiteX3624" fmla="*/ 2471094 w 6268558"/>
              <a:gd name="connsiteY3624" fmla="*/ 1309619 h 5142621"/>
              <a:gd name="connsiteX3625" fmla="*/ 2428763 w 6268558"/>
              <a:gd name="connsiteY3625" fmla="*/ 1346527 h 5142621"/>
              <a:gd name="connsiteX3626" fmla="*/ 2390629 w 6268558"/>
              <a:gd name="connsiteY3626" fmla="*/ 1387185 h 5142621"/>
              <a:gd name="connsiteX3627" fmla="*/ 2359239 w 6268558"/>
              <a:gd name="connsiteY3627" fmla="*/ 1430697 h 5142621"/>
              <a:gd name="connsiteX3628" fmla="*/ 2336434 w 6268558"/>
              <a:gd name="connsiteY3628" fmla="*/ 1474183 h 5142621"/>
              <a:gd name="connsiteX3629" fmla="*/ 2321176 w 6268558"/>
              <a:gd name="connsiteY3629" fmla="*/ 1515477 h 5142621"/>
              <a:gd name="connsiteX3630" fmla="*/ 2304715 w 6268558"/>
              <a:gd name="connsiteY3630" fmla="*/ 1591440 h 5142621"/>
              <a:gd name="connsiteX3631" fmla="*/ 2299008 w 6268558"/>
              <a:gd name="connsiteY3631" fmla="*/ 1729071 h 5142621"/>
              <a:gd name="connsiteX3632" fmla="*/ 2311955 w 6268558"/>
              <a:gd name="connsiteY3632" fmla="*/ 1858567 h 5142621"/>
              <a:gd name="connsiteX3633" fmla="*/ 2338014 w 6268558"/>
              <a:gd name="connsiteY3633" fmla="*/ 1983014 h 5142621"/>
              <a:gd name="connsiteX3634" fmla="*/ 2530312 w 6268558"/>
              <a:gd name="connsiteY3634" fmla="*/ 2428218 h 5142621"/>
              <a:gd name="connsiteX3635" fmla="*/ 2763597 w 6268558"/>
              <a:gd name="connsiteY3635" fmla="*/ 2799252 h 5142621"/>
              <a:gd name="connsiteX3636" fmla="*/ 2814701 w 6268558"/>
              <a:gd name="connsiteY3636" fmla="*/ 2884647 h 5142621"/>
              <a:gd name="connsiteX3637" fmla="*/ 2838215 w 6268558"/>
              <a:gd name="connsiteY3637" fmla="*/ 2926743 h 5142621"/>
              <a:gd name="connsiteX3638" fmla="*/ 2860146 w 6268558"/>
              <a:gd name="connsiteY3638" fmla="*/ 2968698 h 5142621"/>
              <a:gd name="connsiteX3639" fmla="*/ 2898281 w 6268558"/>
              <a:gd name="connsiteY3639" fmla="*/ 3053621 h 5142621"/>
              <a:gd name="connsiteX3640" fmla="*/ 2912784 w 6268558"/>
              <a:gd name="connsiteY3640" fmla="*/ 3099420 h 5142621"/>
              <a:gd name="connsiteX3641" fmla="*/ 2920637 w 6268558"/>
              <a:gd name="connsiteY3641" fmla="*/ 3151657 h 5142621"/>
              <a:gd name="connsiteX3642" fmla="*/ 2919457 w 6268558"/>
              <a:gd name="connsiteY3642" fmla="*/ 3181772 h 5142621"/>
              <a:gd name="connsiteX3643" fmla="*/ 2912833 w 6268558"/>
              <a:gd name="connsiteY3643" fmla="*/ 3213869 h 5142621"/>
              <a:gd name="connsiteX3644" fmla="*/ 2900662 w 6268558"/>
              <a:gd name="connsiteY3644" fmla="*/ 3245235 h 5142621"/>
              <a:gd name="connsiteX3645" fmla="*/ 2884414 w 6268558"/>
              <a:gd name="connsiteY3645" fmla="*/ 3274030 h 5142621"/>
              <a:gd name="connsiteX3646" fmla="*/ 2843992 w 6268558"/>
              <a:gd name="connsiteY3646" fmla="*/ 3323767 h 5142621"/>
              <a:gd name="connsiteX3647" fmla="*/ 2832554 w 6268558"/>
              <a:gd name="connsiteY3647" fmla="*/ 3334851 h 5142621"/>
              <a:gd name="connsiteX3648" fmla="*/ 2826660 w 6268558"/>
              <a:gd name="connsiteY3648" fmla="*/ 3340204 h 5142621"/>
              <a:gd name="connsiteX3649" fmla="*/ 2820620 w 6268558"/>
              <a:gd name="connsiteY3649" fmla="*/ 3345346 h 5142621"/>
              <a:gd name="connsiteX3650" fmla="*/ 2814443 w 6268558"/>
              <a:gd name="connsiteY3650" fmla="*/ 3350392 h 5142621"/>
              <a:gd name="connsiteX3651" fmla="*/ 2808168 w 6268558"/>
              <a:gd name="connsiteY3651" fmla="*/ 3355274 h 5142621"/>
              <a:gd name="connsiteX3652" fmla="*/ 2795246 w 6268558"/>
              <a:gd name="connsiteY3652" fmla="*/ 3364802 h 5142621"/>
              <a:gd name="connsiteX3653" fmla="*/ 2505408 w 6268558"/>
              <a:gd name="connsiteY3653" fmla="*/ 3462861 h 5142621"/>
              <a:gd name="connsiteX3654" fmla="*/ 1957876 w 6268558"/>
              <a:gd name="connsiteY3654" fmla="*/ 3379494 h 5142621"/>
              <a:gd name="connsiteX3655" fmla="*/ 897504 w 6268558"/>
              <a:gd name="connsiteY3655" fmla="*/ 2794159 h 5142621"/>
              <a:gd name="connsiteX3656" fmla="*/ 1958230 w 6268558"/>
              <a:gd name="connsiteY3656" fmla="*/ 3379400 h 5142621"/>
              <a:gd name="connsiteX3657" fmla="*/ 2505620 w 6268558"/>
              <a:gd name="connsiteY3657" fmla="*/ 3462413 h 5142621"/>
              <a:gd name="connsiteX3658" fmla="*/ 2795198 w 6268558"/>
              <a:gd name="connsiteY3658" fmla="*/ 3364000 h 5142621"/>
              <a:gd name="connsiteX3659" fmla="*/ 2808098 w 6268558"/>
              <a:gd name="connsiteY3659" fmla="*/ 3354449 h 5142621"/>
              <a:gd name="connsiteX3660" fmla="*/ 2814373 w 6268558"/>
              <a:gd name="connsiteY3660" fmla="*/ 3349567 h 5142621"/>
              <a:gd name="connsiteX3661" fmla="*/ 2820502 w 6268558"/>
              <a:gd name="connsiteY3661" fmla="*/ 3344544 h 5142621"/>
              <a:gd name="connsiteX3662" fmla="*/ 2826516 w 6268558"/>
              <a:gd name="connsiteY3662" fmla="*/ 3339403 h 5142621"/>
              <a:gd name="connsiteX3663" fmla="*/ 2832390 w 6268558"/>
              <a:gd name="connsiteY3663" fmla="*/ 3334049 h 5142621"/>
              <a:gd name="connsiteX3664" fmla="*/ 2843779 w 6268558"/>
              <a:gd name="connsiteY3664" fmla="*/ 3322965 h 5142621"/>
              <a:gd name="connsiteX3665" fmla="*/ 2883967 w 6268558"/>
              <a:gd name="connsiteY3665" fmla="*/ 3273370 h 5142621"/>
              <a:gd name="connsiteX3666" fmla="*/ 2900051 w 6268558"/>
              <a:gd name="connsiteY3666" fmla="*/ 3244810 h 5142621"/>
              <a:gd name="connsiteX3667" fmla="*/ 2912029 w 6268558"/>
              <a:gd name="connsiteY3667" fmla="*/ 3213869 h 5142621"/>
              <a:gd name="connsiteX3668" fmla="*/ 2919719 w 6268558"/>
              <a:gd name="connsiteY3668" fmla="*/ 3152647 h 5142621"/>
              <a:gd name="connsiteX3669" fmla="*/ 2911935 w 6268558"/>
              <a:gd name="connsiteY3669" fmla="*/ 3100882 h 5142621"/>
              <a:gd name="connsiteX3670" fmla="*/ 2897478 w 6268558"/>
              <a:gd name="connsiteY3670" fmla="*/ 3055343 h 5142621"/>
              <a:gd name="connsiteX3671" fmla="*/ 2859440 w 6268558"/>
              <a:gd name="connsiteY3671" fmla="*/ 2970703 h 5142621"/>
              <a:gd name="connsiteX3672" fmla="*/ 2837553 w 6268558"/>
              <a:gd name="connsiteY3672" fmla="*/ 2928866 h 5142621"/>
              <a:gd name="connsiteX3673" fmla="*/ 2814066 w 6268558"/>
              <a:gd name="connsiteY3673" fmla="*/ 2886888 h 5142621"/>
              <a:gd name="connsiteX3674" fmla="*/ 2763007 w 6268558"/>
              <a:gd name="connsiteY3674" fmla="*/ 2801752 h 5142621"/>
              <a:gd name="connsiteX3675" fmla="*/ 2529581 w 6268558"/>
              <a:gd name="connsiteY3675" fmla="*/ 2431779 h 5142621"/>
              <a:gd name="connsiteX3676" fmla="*/ 2335798 w 6268558"/>
              <a:gd name="connsiteY3676" fmla="*/ 1987589 h 5142621"/>
              <a:gd name="connsiteX3677" fmla="*/ 2309054 w 6268558"/>
              <a:gd name="connsiteY3677" fmla="*/ 1863352 h 5142621"/>
              <a:gd name="connsiteX3678" fmla="*/ 2295305 w 6268558"/>
              <a:gd name="connsiteY3678" fmla="*/ 1733977 h 5142621"/>
              <a:gd name="connsiteX3679" fmla="*/ 2300092 w 6268558"/>
              <a:gd name="connsiteY3679" fmla="*/ 1595991 h 5142621"/>
              <a:gd name="connsiteX3680" fmla="*/ 2316247 w 6268558"/>
              <a:gd name="connsiteY3680" fmla="*/ 1519016 h 5142621"/>
              <a:gd name="connsiteX3681" fmla="*/ 2331670 w 6268558"/>
              <a:gd name="connsiteY3681" fmla="*/ 1476566 h 5142621"/>
              <a:gd name="connsiteX3682" fmla="*/ 2355277 w 6268558"/>
              <a:gd name="connsiteY3682" fmla="*/ 1431121 h 5142621"/>
              <a:gd name="connsiteX3683" fmla="*/ 2388223 w 6268558"/>
              <a:gd name="connsiteY3683" fmla="*/ 1385274 h 5142621"/>
              <a:gd name="connsiteX3684" fmla="*/ 2427961 w 6268558"/>
              <a:gd name="connsiteY3684" fmla="*/ 1342919 h 5142621"/>
              <a:gd name="connsiteX3685" fmla="*/ 2471519 w 6268558"/>
              <a:gd name="connsiteY3685" fmla="*/ 1305044 h 5142621"/>
              <a:gd name="connsiteX3686" fmla="*/ 2517671 w 6268558"/>
              <a:gd name="connsiteY3686" fmla="*/ 1270660 h 5142621"/>
              <a:gd name="connsiteX3687" fmla="*/ 2617216 w 6268558"/>
              <a:gd name="connsiteY3687" fmla="*/ 1208730 h 5142621"/>
              <a:gd name="connsiteX3688" fmla="*/ 2727515 w 6268558"/>
              <a:gd name="connsiteY3688" fmla="*/ 1152437 h 5142621"/>
              <a:gd name="connsiteX3689" fmla="*/ 3316104 w 6268558"/>
              <a:gd name="connsiteY3689" fmla="*/ 965328 h 5142621"/>
              <a:gd name="connsiteX3690" fmla="*/ 4259951 w 6268558"/>
              <a:gd name="connsiteY3690" fmla="*/ 858873 h 5142621"/>
              <a:gd name="connsiteX3691" fmla="*/ 4576613 w 6268558"/>
              <a:gd name="connsiteY3691" fmla="*/ 851995 h 5142621"/>
              <a:gd name="connsiteX3692" fmla="*/ 4542048 w 6268558"/>
              <a:gd name="connsiteY3692" fmla="*/ 803702 h 5142621"/>
              <a:gd name="connsiteX3693" fmla="*/ 5751236 w 6268558"/>
              <a:gd name="connsiteY3693" fmla="*/ 854799 h 5142621"/>
              <a:gd name="connsiteX3694" fmla="*/ 5727818 w 6268558"/>
              <a:gd name="connsiteY3694" fmla="*/ 857698 h 5142621"/>
              <a:gd name="connsiteX3695" fmla="*/ 4215403 w 6268558"/>
              <a:gd name="connsiteY3695" fmla="*/ 816924 h 5142621"/>
              <a:gd name="connsiteX3696" fmla="*/ 3286153 w 6268558"/>
              <a:gd name="connsiteY3696" fmla="*/ 926751 h 5142621"/>
              <a:gd name="connsiteX3697" fmla="*/ 2703560 w 6268558"/>
              <a:gd name="connsiteY3697" fmla="*/ 1113295 h 5142621"/>
              <a:gd name="connsiteX3698" fmla="*/ 2593922 w 6268558"/>
              <a:gd name="connsiteY3698" fmla="*/ 1168787 h 5142621"/>
              <a:gd name="connsiteX3699" fmla="*/ 2494943 w 6268558"/>
              <a:gd name="connsiteY3699" fmla="*/ 1229513 h 5142621"/>
              <a:gd name="connsiteX3700" fmla="*/ 2449144 w 6268558"/>
              <a:gd name="connsiteY3700" fmla="*/ 1262978 h 5142621"/>
              <a:gd name="connsiteX3701" fmla="*/ 2406081 w 6268558"/>
              <a:gd name="connsiteY3701" fmla="*/ 1299556 h 5142621"/>
              <a:gd name="connsiteX3702" fmla="*/ 2367004 w 6268558"/>
              <a:gd name="connsiteY3702" fmla="*/ 1340026 h 5142621"/>
              <a:gd name="connsiteX3703" fmla="*/ 2334506 w 6268558"/>
              <a:gd name="connsiteY3703" fmla="*/ 1383559 h 5142621"/>
              <a:gd name="connsiteX3704" fmla="*/ 2310522 w 6268558"/>
              <a:gd name="connsiteY3704" fmla="*/ 1427331 h 5142621"/>
              <a:gd name="connsiteX3705" fmla="*/ 2294108 w 6268558"/>
              <a:gd name="connsiteY3705" fmla="*/ 1469096 h 5142621"/>
              <a:gd name="connsiteX3706" fmla="*/ 2275501 w 6268558"/>
              <a:gd name="connsiteY3706" fmla="*/ 1546355 h 5142621"/>
              <a:gd name="connsiteX3707" fmla="*/ 2266021 w 6268558"/>
              <a:gd name="connsiteY3707" fmla="*/ 1687030 h 5142621"/>
              <a:gd name="connsiteX3708" fmla="*/ 2275737 w 6268558"/>
              <a:gd name="connsiteY3708" fmla="*/ 1819780 h 5142621"/>
              <a:gd name="connsiteX3709" fmla="*/ 2299132 w 6268558"/>
              <a:gd name="connsiteY3709" fmla="*/ 1947474 h 5142621"/>
              <a:gd name="connsiteX3710" fmla="*/ 2486335 w 6268558"/>
              <a:gd name="connsiteY3710" fmla="*/ 2404446 h 5142621"/>
              <a:gd name="connsiteX3711" fmla="*/ 2722144 w 6268558"/>
              <a:gd name="connsiteY3711" fmla="*/ 2782178 h 5142621"/>
              <a:gd name="connsiteX3712" fmla="*/ 2774687 w 6268558"/>
              <a:gd name="connsiteY3712" fmla="*/ 2868163 h 5142621"/>
              <a:gd name="connsiteX3713" fmla="*/ 2799002 w 6268558"/>
              <a:gd name="connsiteY3713" fmla="*/ 2910377 h 5142621"/>
              <a:gd name="connsiteX3714" fmla="*/ 2821784 w 6268558"/>
              <a:gd name="connsiteY3714" fmla="*/ 2952355 h 5142621"/>
              <a:gd name="connsiteX3715" fmla="*/ 2861730 w 6268558"/>
              <a:gd name="connsiteY3715" fmla="*/ 3036995 h 5142621"/>
              <a:gd name="connsiteX3716" fmla="*/ 2877202 w 6268558"/>
              <a:gd name="connsiteY3716" fmla="*/ 3082417 h 5142621"/>
              <a:gd name="connsiteX3717" fmla="*/ 2885972 w 6268558"/>
              <a:gd name="connsiteY3717" fmla="*/ 3134017 h 5142621"/>
              <a:gd name="connsiteX3718" fmla="*/ 2885194 w 6268558"/>
              <a:gd name="connsiteY3718" fmla="*/ 3163637 h 5142621"/>
              <a:gd name="connsiteX3719" fmla="*/ 2878853 w 6268558"/>
              <a:gd name="connsiteY3719" fmla="*/ 3195097 h 5142621"/>
              <a:gd name="connsiteX3720" fmla="*/ 2866800 w 6268558"/>
              <a:gd name="connsiteY3720" fmla="*/ 3225732 h 5142621"/>
              <a:gd name="connsiteX3721" fmla="*/ 2850504 w 6268558"/>
              <a:gd name="connsiteY3721" fmla="*/ 3253702 h 5142621"/>
              <a:gd name="connsiteX3722" fmla="*/ 2809661 w 6268558"/>
              <a:gd name="connsiteY3722" fmla="*/ 3301693 h 5142621"/>
              <a:gd name="connsiteX3723" fmla="*/ 2798055 w 6268558"/>
              <a:gd name="connsiteY3723" fmla="*/ 3312306 h 5142621"/>
              <a:gd name="connsiteX3724" fmla="*/ 2792065 w 6268558"/>
              <a:gd name="connsiteY3724" fmla="*/ 3317423 h 5142621"/>
              <a:gd name="connsiteX3725" fmla="*/ 2785913 w 6268558"/>
              <a:gd name="connsiteY3725" fmla="*/ 3322329 h 5142621"/>
              <a:gd name="connsiteX3726" fmla="*/ 2779640 w 6268558"/>
              <a:gd name="connsiteY3726" fmla="*/ 3327116 h 5142621"/>
              <a:gd name="connsiteX3727" fmla="*/ 2773248 w 6268558"/>
              <a:gd name="connsiteY3727" fmla="*/ 3331762 h 5142621"/>
              <a:gd name="connsiteX3728" fmla="*/ 2760065 w 6268558"/>
              <a:gd name="connsiteY3728" fmla="*/ 3340794 h 5142621"/>
              <a:gd name="connsiteX3729" fmla="*/ 2462941 w 6268558"/>
              <a:gd name="connsiteY3729" fmla="*/ 3427981 h 5142621"/>
              <a:gd name="connsiteX3730" fmla="*/ 1900457 w 6268558"/>
              <a:gd name="connsiteY3730" fmla="*/ 3322706 h 5142621"/>
              <a:gd name="connsiteX3731" fmla="*/ 826549 w 6268558"/>
              <a:gd name="connsiteY3731" fmla="*/ 2696100 h 5142621"/>
              <a:gd name="connsiteX3732" fmla="*/ 1900811 w 6268558"/>
              <a:gd name="connsiteY3732" fmla="*/ 3322612 h 5142621"/>
              <a:gd name="connsiteX3733" fmla="*/ 2463153 w 6268558"/>
              <a:gd name="connsiteY3733" fmla="*/ 3427533 h 5142621"/>
              <a:gd name="connsiteX3734" fmla="*/ 2759995 w 6268558"/>
              <a:gd name="connsiteY3734" fmla="*/ 3339992 h 5142621"/>
              <a:gd name="connsiteX3735" fmla="*/ 2773154 w 6268558"/>
              <a:gd name="connsiteY3735" fmla="*/ 3330937 h 5142621"/>
              <a:gd name="connsiteX3736" fmla="*/ 2779545 w 6268558"/>
              <a:gd name="connsiteY3736" fmla="*/ 3326290 h 5142621"/>
              <a:gd name="connsiteX3737" fmla="*/ 2785793 w 6268558"/>
              <a:gd name="connsiteY3737" fmla="*/ 3321503 h 5142621"/>
              <a:gd name="connsiteX3738" fmla="*/ 2791902 w 6268558"/>
              <a:gd name="connsiteY3738" fmla="*/ 3316598 h 5142621"/>
              <a:gd name="connsiteX3739" fmla="*/ 2797890 w 6268558"/>
              <a:gd name="connsiteY3739" fmla="*/ 3311480 h 5142621"/>
              <a:gd name="connsiteX3740" fmla="*/ 2809448 w 6268558"/>
              <a:gd name="connsiteY3740" fmla="*/ 3300868 h 5142621"/>
              <a:gd name="connsiteX3741" fmla="*/ 2850083 w 6268558"/>
              <a:gd name="connsiteY3741" fmla="*/ 3252994 h 5142621"/>
              <a:gd name="connsiteX3742" fmla="*/ 2866187 w 6268558"/>
              <a:gd name="connsiteY3742" fmla="*/ 3225236 h 5142621"/>
              <a:gd name="connsiteX3743" fmla="*/ 2878049 w 6268558"/>
              <a:gd name="connsiteY3743" fmla="*/ 3195027 h 5142621"/>
              <a:gd name="connsiteX3744" fmla="*/ 2885055 w 6268558"/>
              <a:gd name="connsiteY3744" fmla="*/ 3134913 h 5142621"/>
              <a:gd name="connsiteX3745" fmla="*/ 2876355 w 6268558"/>
              <a:gd name="connsiteY3745" fmla="*/ 3083784 h 5142621"/>
              <a:gd name="connsiteX3746" fmla="*/ 2860952 w 6268558"/>
              <a:gd name="connsiteY3746" fmla="*/ 3038599 h 5142621"/>
              <a:gd name="connsiteX3747" fmla="*/ 2821099 w 6268558"/>
              <a:gd name="connsiteY3747" fmla="*/ 2954242 h 5142621"/>
              <a:gd name="connsiteX3748" fmla="*/ 2798338 w 6268558"/>
              <a:gd name="connsiteY3748" fmla="*/ 2912381 h 5142621"/>
              <a:gd name="connsiteX3749" fmla="*/ 2774050 w 6268558"/>
              <a:gd name="connsiteY3749" fmla="*/ 2870285 h 5142621"/>
              <a:gd name="connsiteX3750" fmla="*/ 2721554 w 6268558"/>
              <a:gd name="connsiteY3750" fmla="*/ 2784537 h 5142621"/>
              <a:gd name="connsiteX3751" fmla="*/ 2485557 w 6268558"/>
              <a:gd name="connsiteY3751" fmla="*/ 2407842 h 5142621"/>
              <a:gd name="connsiteX3752" fmla="*/ 2296797 w 6268558"/>
              <a:gd name="connsiteY3752" fmla="*/ 1951884 h 5142621"/>
              <a:gd name="connsiteX3753" fmla="*/ 2272718 w 6268558"/>
              <a:gd name="connsiteY3753" fmla="*/ 1824379 h 5142621"/>
              <a:gd name="connsiteX3754" fmla="*/ 2262177 w 6268558"/>
              <a:gd name="connsiteY3754" fmla="*/ 1691747 h 5142621"/>
              <a:gd name="connsiteX3755" fmla="*/ 2270761 w 6268558"/>
              <a:gd name="connsiteY3755" fmla="*/ 1550694 h 5142621"/>
              <a:gd name="connsiteX3756" fmla="*/ 2289109 w 6268558"/>
              <a:gd name="connsiteY3756" fmla="*/ 1472398 h 5142621"/>
              <a:gd name="connsiteX3757" fmla="*/ 2305735 w 6268558"/>
              <a:gd name="connsiteY3757" fmla="*/ 1429429 h 5142621"/>
              <a:gd name="connsiteX3758" fmla="*/ 2330591 w 6268558"/>
              <a:gd name="connsiteY3758" fmla="*/ 1383678 h 5142621"/>
              <a:gd name="connsiteX3759" fmla="*/ 2364716 w 6268558"/>
              <a:gd name="connsiteY3759" fmla="*/ 1337808 h 5142621"/>
              <a:gd name="connsiteX3760" fmla="*/ 2405421 w 6268558"/>
              <a:gd name="connsiteY3760" fmla="*/ 1295665 h 5142621"/>
              <a:gd name="connsiteX3761" fmla="*/ 2449734 w 6268558"/>
              <a:gd name="connsiteY3761" fmla="*/ 1258120 h 5142621"/>
              <a:gd name="connsiteX3762" fmla="*/ 2496476 w 6268558"/>
              <a:gd name="connsiteY3762" fmla="*/ 1224113 h 5142621"/>
              <a:gd name="connsiteX3763" fmla="*/ 2596752 w 6268558"/>
              <a:gd name="connsiteY3763" fmla="*/ 1162938 h 5142621"/>
              <a:gd name="connsiteX3764" fmla="*/ 2707381 w 6268558"/>
              <a:gd name="connsiteY3764" fmla="*/ 1107304 h 5142621"/>
              <a:gd name="connsiteX3765" fmla="*/ 3293629 w 6268558"/>
              <a:gd name="connsiteY3765" fmla="*/ 921044 h 5142621"/>
              <a:gd name="connsiteX3766" fmla="*/ 4228704 w 6268558"/>
              <a:gd name="connsiteY3766" fmla="*/ 812019 h 5142621"/>
              <a:gd name="connsiteX3767" fmla="*/ 4542048 w 6268558"/>
              <a:gd name="connsiteY3767" fmla="*/ 803702 h 5142621"/>
              <a:gd name="connsiteX3768" fmla="*/ 4676576 w 6268558"/>
              <a:gd name="connsiteY3768" fmla="*/ 754239 h 5142621"/>
              <a:gd name="connsiteX3769" fmla="*/ 5700227 w 6268558"/>
              <a:gd name="connsiteY3769" fmla="*/ 798242 h 5142621"/>
              <a:gd name="connsiteX3770" fmla="*/ 5677351 w 6268558"/>
              <a:gd name="connsiteY3770" fmla="*/ 801284 h 5142621"/>
              <a:gd name="connsiteX3771" fmla="*/ 4184273 w 6268558"/>
              <a:gd name="connsiteY3771" fmla="*/ 769848 h 5142621"/>
              <a:gd name="connsiteX3772" fmla="*/ 3264763 w 6268558"/>
              <a:gd name="connsiteY3772" fmla="*/ 881680 h 5142621"/>
              <a:gd name="connsiteX3773" fmla="*/ 2684902 w 6268558"/>
              <a:gd name="connsiteY3773" fmla="*/ 1066714 h 5142621"/>
              <a:gd name="connsiteX3774" fmla="*/ 2574981 w 6268558"/>
              <a:gd name="connsiteY3774" fmla="*/ 1121380 h 5142621"/>
              <a:gd name="connsiteX3775" fmla="*/ 2475271 w 6268558"/>
              <a:gd name="connsiteY3775" fmla="*/ 1181164 h 5142621"/>
              <a:gd name="connsiteX3776" fmla="*/ 2428906 w 6268558"/>
              <a:gd name="connsiteY3776" fmla="*/ 1214157 h 5142621"/>
              <a:gd name="connsiteX3777" fmla="*/ 2385112 w 6268558"/>
              <a:gd name="connsiteY3777" fmla="*/ 1250310 h 5142621"/>
              <a:gd name="connsiteX3778" fmla="*/ 2345092 w 6268558"/>
              <a:gd name="connsiteY3778" fmla="*/ 1290472 h 5142621"/>
              <a:gd name="connsiteX3779" fmla="*/ 2311462 w 6268558"/>
              <a:gd name="connsiteY3779" fmla="*/ 1333960 h 5142621"/>
              <a:gd name="connsiteX3780" fmla="*/ 2286251 w 6268558"/>
              <a:gd name="connsiteY3780" fmla="*/ 1377967 h 5142621"/>
              <a:gd name="connsiteX3781" fmla="*/ 2268611 w 6268558"/>
              <a:gd name="connsiteY3781" fmla="*/ 1420181 h 5142621"/>
              <a:gd name="connsiteX3782" fmla="*/ 2247716 w 6268558"/>
              <a:gd name="connsiteY3782" fmla="*/ 1498666 h 5142621"/>
              <a:gd name="connsiteX3783" fmla="*/ 2234203 w 6268558"/>
              <a:gd name="connsiteY3783" fmla="*/ 1642382 h 5142621"/>
              <a:gd name="connsiteX3784" fmla="*/ 2240429 w 6268558"/>
              <a:gd name="connsiteY3784" fmla="*/ 1778386 h 5142621"/>
              <a:gd name="connsiteX3785" fmla="*/ 2260852 w 6268558"/>
              <a:gd name="connsiteY3785" fmla="*/ 1909434 h 5142621"/>
              <a:gd name="connsiteX3786" fmla="*/ 2442019 w 6268558"/>
              <a:gd name="connsiteY3786" fmla="*/ 2378717 h 5142621"/>
              <a:gd name="connsiteX3787" fmla="*/ 2679808 w 6268558"/>
              <a:gd name="connsiteY3787" fmla="*/ 2764019 h 5142621"/>
              <a:gd name="connsiteX3788" fmla="*/ 2733720 w 6268558"/>
              <a:gd name="connsiteY3788" fmla="*/ 2850829 h 5142621"/>
              <a:gd name="connsiteX3789" fmla="*/ 2758812 w 6268558"/>
              <a:gd name="connsiteY3789" fmla="*/ 2893302 h 5142621"/>
              <a:gd name="connsiteX3790" fmla="*/ 2782419 w 6268558"/>
              <a:gd name="connsiteY3790" fmla="*/ 2935422 h 5142621"/>
              <a:gd name="connsiteX3791" fmla="*/ 2824111 w 6268558"/>
              <a:gd name="connsiteY3791" fmla="*/ 3019991 h 5142621"/>
              <a:gd name="connsiteX3792" fmla="*/ 2840478 w 6268558"/>
              <a:gd name="connsiteY3792" fmla="*/ 3065130 h 5142621"/>
              <a:gd name="connsiteX3793" fmla="*/ 2850152 w 6268558"/>
              <a:gd name="connsiteY3793" fmla="*/ 3116164 h 5142621"/>
              <a:gd name="connsiteX3794" fmla="*/ 2849749 w 6268558"/>
              <a:gd name="connsiteY3794" fmla="*/ 3145313 h 5142621"/>
              <a:gd name="connsiteX3795" fmla="*/ 2843662 w 6268558"/>
              <a:gd name="connsiteY3795" fmla="*/ 3176136 h 5142621"/>
              <a:gd name="connsiteX3796" fmla="*/ 2831707 w 6268558"/>
              <a:gd name="connsiteY3796" fmla="*/ 3205992 h 5142621"/>
              <a:gd name="connsiteX3797" fmla="*/ 2815342 w 6268558"/>
              <a:gd name="connsiteY3797" fmla="*/ 3233137 h 5142621"/>
              <a:gd name="connsiteX3798" fmla="*/ 2773952 w 6268558"/>
              <a:gd name="connsiteY3798" fmla="*/ 3279313 h 5142621"/>
              <a:gd name="connsiteX3799" fmla="*/ 2762137 w 6268558"/>
              <a:gd name="connsiteY3799" fmla="*/ 3289453 h 5142621"/>
              <a:gd name="connsiteX3800" fmla="*/ 2756029 w 6268558"/>
              <a:gd name="connsiteY3800" fmla="*/ 3294335 h 5142621"/>
              <a:gd name="connsiteX3801" fmla="*/ 2749756 w 6268558"/>
              <a:gd name="connsiteY3801" fmla="*/ 3298981 h 5142621"/>
              <a:gd name="connsiteX3802" fmla="*/ 2743341 w 6268558"/>
              <a:gd name="connsiteY3802" fmla="*/ 3303533 h 5142621"/>
              <a:gd name="connsiteX3803" fmla="*/ 2736809 w 6268558"/>
              <a:gd name="connsiteY3803" fmla="*/ 3307919 h 5142621"/>
              <a:gd name="connsiteX3804" fmla="*/ 2723366 w 6268558"/>
              <a:gd name="connsiteY3804" fmla="*/ 3316433 h 5142621"/>
              <a:gd name="connsiteX3805" fmla="*/ 2418601 w 6268558"/>
              <a:gd name="connsiteY3805" fmla="*/ 3392135 h 5142621"/>
              <a:gd name="connsiteX3806" fmla="*/ 1841401 w 6268558"/>
              <a:gd name="connsiteY3806" fmla="*/ 3264054 h 5142621"/>
              <a:gd name="connsiteX3807" fmla="*/ 757021 w 6268558"/>
              <a:gd name="connsiteY3807" fmla="*/ 2597404 h 5142621"/>
              <a:gd name="connsiteX3808" fmla="*/ 1841755 w 6268558"/>
              <a:gd name="connsiteY3808" fmla="*/ 3263936 h 5142621"/>
              <a:gd name="connsiteX3809" fmla="*/ 2418813 w 6268558"/>
              <a:gd name="connsiteY3809" fmla="*/ 3391640 h 5142621"/>
              <a:gd name="connsiteX3810" fmla="*/ 2723296 w 6268558"/>
              <a:gd name="connsiteY3810" fmla="*/ 3315584 h 5142621"/>
              <a:gd name="connsiteX3811" fmla="*/ 2736714 w 6268558"/>
              <a:gd name="connsiteY3811" fmla="*/ 3307047 h 5142621"/>
              <a:gd name="connsiteX3812" fmla="*/ 2743223 w 6268558"/>
              <a:gd name="connsiteY3812" fmla="*/ 3302660 h 5142621"/>
              <a:gd name="connsiteX3813" fmla="*/ 2749591 w 6268558"/>
              <a:gd name="connsiteY3813" fmla="*/ 3298132 h 5142621"/>
              <a:gd name="connsiteX3814" fmla="*/ 2755817 w 6268558"/>
              <a:gd name="connsiteY3814" fmla="*/ 3293486 h 5142621"/>
              <a:gd name="connsiteX3815" fmla="*/ 2761901 w 6268558"/>
              <a:gd name="connsiteY3815" fmla="*/ 3288604 h 5142621"/>
              <a:gd name="connsiteX3816" fmla="*/ 2773669 w 6268558"/>
              <a:gd name="connsiteY3816" fmla="*/ 3278464 h 5142621"/>
              <a:gd name="connsiteX3817" fmla="*/ 2814846 w 6268558"/>
              <a:gd name="connsiteY3817" fmla="*/ 3232406 h 5142621"/>
              <a:gd name="connsiteX3818" fmla="*/ 2831044 w 6268558"/>
              <a:gd name="connsiteY3818" fmla="*/ 3205497 h 5142621"/>
              <a:gd name="connsiteX3819" fmla="*/ 2842837 w 6268558"/>
              <a:gd name="connsiteY3819" fmla="*/ 3176042 h 5142621"/>
              <a:gd name="connsiteX3820" fmla="*/ 2849228 w 6268558"/>
              <a:gd name="connsiteY3820" fmla="*/ 3117013 h 5142621"/>
              <a:gd name="connsiteX3821" fmla="*/ 2839655 w 6268558"/>
              <a:gd name="connsiteY3821" fmla="*/ 3066427 h 5142621"/>
              <a:gd name="connsiteX3822" fmla="*/ 2823358 w 6268558"/>
              <a:gd name="connsiteY3822" fmla="*/ 3021524 h 5142621"/>
              <a:gd name="connsiteX3823" fmla="*/ 2781735 w 6268558"/>
              <a:gd name="connsiteY3823" fmla="*/ 2937262 h 5142621"/>
              <a:gd name="connsiteX3824" fmla="*/ 2758175 w 6268558"/>
              <a:gd name="connsiteY3824" fmla="*/ 2895260 h 5142621"/>
              <a:gd name="connsiteX3825" fmla="*/ 2733106 w 6268558"/>
              <a:gd name="connsiteY3825" fmla="*/ 2852904 h 5142621"/>
              <a:gd name="connsiteX3826" fmla="*/ 2679242 w 6268558"/>
              <a:gd name="connsiteY3826" fmla="*/ 2766330 h 5142621"/>
              <a:gd name="connsiteX3827" fmla="*/ 2441217 w 6268558"/>
              <a:gd name="connsiteY3827" fmla="*/ 2382065 h 5142621"/>
              <a:gd name="connsiteX3828" fmla="*/ 2258447 w 6268558"/>
              <a:gd name="connsiteY3828" fmla="*/ 1913750 h 5142621"/>
              <a:gd name="connsiteX3829" fmla="*/ 2237316 w 6268558"/>
              <a:gd name="connsiteY3829" fmla="*/ 1782891 h 5142621"/>
              <a:gd name="connsiteX3830" fmla="*/ 2230265 w 6268558"/>
              <a:gd name="connsiteY3830" fmla="*/ 1646980 h 5142621"/>
              <a:gd name="connsiteX3831" fmla="*/ 2242905 w 6268558"/>
              <a:gd name="connsiteY3831" fmla="*/ 1502863 h 5142621"/>
              <a:gd name="connsiteX3832" fmla="*/ 2263588 w 6268558"/>
              <a:gd name="connsiteY3832" fmla="*/ 1423317 h 5142621"/>
              <a:gd name="connsiteX3833" fmla="*/ 2281464 w 6268558"/>
              <a:gd name="connsiteY3833" fmla="*/ 1379900 h 5142621"/>
              <a:gd name="connsiteX3834" fmla="*/ 2307618 w 6268558"/>
              <a:gd name="connsiteY3834" fmla="*/ 1333912 h 5142621"/>
              <a:gd name="connsiteX3835" fmla="*/ 2342945 w 6268558"/>
              <a:gd name="connsiteY3835" fmla="*/ 1288114 h 5142621"/>
              <a:gd name="connsiteX3836" fmla="*/ 2384641 w 6268558"/>
              <a:gd name="connsiteY3836" fmla="*/ 1246278 h 5142621"/>
              <a:gd name="connsiteX3837" fmla="*/ 2429708 w 6268558"/>
              <a:gd name="connsiteY3837" fmla="*/ 1209181 h 5142621"/>
              <a:gd name="connsiteX3838" fmla="*/ 2477016 w 6268558"/>
              <a:gd name="connsiteY3838" fmla="*/ 1175669 h 5142621"/>
              <a:gd name="connsiteX3839" fmla="*/ 2578023 w 6268558"/>
              <a:gd name="connsiteY3839" fmla="*/ 1115461 h 5142621"/>
              <a:gd name="connsiteX3840" fmla="*/ 2688911 w 6268558"/>
              <a:gd name="connsiteY3840" fmla="*/ 1060677 h 5142621"/>
              <a:gd name="connsiteX3841" fmla="*/ 3272310 w 6268558"/>
              <a:gd name="connsiteY3841" fmla="*/ 875950 h 5142621"/>
              <a:gd name="connsiteX3842" fmla="*/ 4197456 w 6268558"/>
              <a:gd name="connsiteY3842" fmla="*/ 764895 h 5142621"/>
              <a:gd name="connsiteX3843" fmla="*/ 4676576 w 6268558"/>
              <a:gd name="connsiteY3843" fmla="*/ 754239 h 5142621"/>
              <a:gd name="connsiteX3844" fmla="*/ 4638580 w 6268558"/>
              <a:gd name="connsiteY3844" fmla="*/ 704642 h 5142621"/>
              <a:gd name="connsiteX3845" fmla="*/ 5646975 w 6268558"/>
              <a:gd name="connsiteY3845" fmla="*/ 742022 h 5142621"/>
              <a:gd name="connsiteX3846" fmla="*/ 5624689 w 6268558"/>
              <a:gd name="connsiteY3846" fmla="*/ 745323 h 5142621"/>
              <a:gd name="connsiteX3847" fmla="*/ 4152978 w 6268558"/>
              <a:gd name="connsiteY3847" fmla="*/ 722283 h 5142621"/>
              <a:gd name="connsiteX3848" fmla="*/ 3244387 w 6268558"/>
              <a:gd name="connsiteY3848" fmla="*/ 835529 h 5142621"/>
              <a:gd name="connsiteX3849" fmla="*/ 2667853 w 6268558"/>
              <a:gd name="connsiteY3849" fmla="*/ 1018324 h 5142621"/>
              <a:gd name="connsiteX3850" fmla="*/ 2557720 w 6268558"/>
              <a:gd name="connsiteY3850" fmla="*/ 1071952 h 5142621"/>
              <a:gd name="connsiteX3851" fmla="*/ 2457326 w 6268558"/>
              <a:gd name="connsiteY3851" fmla="*/ 1130580 h 5142621"/>
              <a:gd name="connsiteX3852" fmla="*/ 2410396 w 6268558"/>
              <a:gd name="connsiteY3852" fmla="*/ 1163007 h 5142621"/>
              <a:gd name="connsiteX3853" fmla="*/ 2365870 w 6268558"/>
              <a:gd name="connsiteY3853" fmla="*/ 1198641 h 5142621"/>
              <a:gd name="connsiteX3854" fmla="*/ 2324906 w 6268558"/>
              <a:gd name="connsiteY3854" fmla="*/ 1238403 h 5142621"/>
              <a:gd name="connsiteX3855" fmla="*/ 2290121 w 6268558"/>
              <a:gd name="connsiteY3855" fmla="*/ 1281749 h 5142621"/>
              <a:gd name="connsiteX3856" fmla="*/ 2263637 w 6268558"/>
              <a:gd name="connsiteY3856" fmla="*/ 1325897 h 5142621"/>
              <a:gd name="connsiteX3857" fmla="*/ 2244747 w 6268558"/>
              <a:gd name="connsiteY3857" fmla="*/ 1368512 h 5142621"/>
              <a:gd name="connsiteX3858" fmla="*/ 2221447 w 6268558"/>
              <a:gd name="connsiteY3858" fmla="*/ 1448176 h 5142621"/>
              <a:gd name="connsiteX3859" fmla="*/ 2203618 w 6268558"/>
              <a:gd name="connsiteY3859" fmla="*/ 1594865 h 5142621"/>
              <a:gd name="connsiteX3860" fmla="*/ 2206047 w 6268558"/>
              <a:gd name="connsiteY3860" fmla="*/ 1734147 h 5142621"/>
              <a:gd name="connsiteX3861" fmla="*/ 2223216 w 6268558"/>
              <a:gd name="connsiteY3861" fmla="*/ 1868565 h 5142621"/>
              <a:gd name="connsiteX3862" fmla="*/ 2397330 w 6268558"/>
              <a:gd name="connsiteY3862" fmla="*/ 2350700 h 5142621"/>
              <a:gd name="connsiteX3863" fmla="*/ 2636488 w 6268558"/>
              <a:gd name="connsiteY3863" fmla="*/ 2744445 h 5142621"/>
              <a:gd name="connsiteX3864" fmla="*/ 2691672 w 6268558"/>
              <a:gd name="connsiteY3864" fmla="*/ 2832317 h 5142621"/>
              <a:gd name="connsiteX3865" fmla="*/ 2717496 w 6268558"/>
              <a:gd name="connsiteY3865" fmla="*/ 2875144 h 5142621"/>
              <a:gd name="connsiteX3866" fmla="*/ 2741881 w 6268558"/>
              <a:gd name="connsiteY3866" fmla="*/ 2917499 h 5142621"/>
              <a:gd name="connsiteX3867" fmla="*/ 2785271 w 6268558"/>
              <a:gd name="connsiteY3867" fmla="*/ 3002187 h 5142621"/>
              <a:gd name="connsiteX3868" fmla="*/ 2802511 w 6268558"/>
              <a:gd name="connsiteY3868" fmla="*/ 3047136 h 5142621"/>
              <a:gd name="connsiteX3869" fmla="*/ 2813006 w 6268558"/>
              <a:gd name="connsiteY3869" fmla="*/ 3097675 h 5142621"/>
              <a:gd name="connsiteX3870" fmla="*/ 2812938 w 6268558"/>
              <a:gd name="connsiteY3870" fmla="*/ 3126376 h 5142621"/>
              <a:gd name="connsiteX3871" fmla="*/ 2807039 w 6268558"/>
              <a:gd name="connsiteY3871" fmla="*/ 3156562 h 5142621"/>
              <a:gd name="connsiteX3872" fmla="*/ 2795110 w 6268558"/>
              <a:gd name="connsiteY3872" fmla="*/ 3185664 h 5142621"/>
              <a:gd name="connsiteX3873" fmla="*/ 2778600 w 6268558"/>
              <a:gd name="connsiteY3873" fmla="*/ 3211936 h 5142621"/>
              <a:gd name="connsiteX3874" fmla="*/ 2736551 w 6268558"/>
              <a:gd name="connsiteY3874" fmla="*/ 3256225 h 5142621"/>
              <a:gd name="connsiteX3875" fmla="*/ 2724524 w 6268558"/>
              <a:gd name="connsiteY3875" fmla="*/ 3265847 h 5142621"/>
              <a:gd name="connsiteX3876" fmla="*/ 2718298 w 6268558"/>
              <a:gd name="connsiteY3876" fmla="*/ 3270469 h 5142621"/>
              <a:gd name="connsiteX3877" fmla="*/ 2711908 w 6268558"/>
              <a:gd name="connsiteY3877" fmla="*/ 3274856 h 5142621"/>
              <a:gd name="connsiteX3878" fmla="*/ 2705374 w 6268558"/>
              <a:gd name="connsiteY3878" fmla="*/ 3279124 h 5142621"/>
              <a:gd name="connsiteX3879" fmla="*/ 2698700 w 6268558"/>
              <a:gd name="connsiteY3879" fmla="*/ 3283228 h 5142621"/>
              <a:gd name="connsiteX3880" fmla="*/ 2684951 w 6268558"/>
              <a:gd name="connsiteY3880" fmla="*/ 3291175 h 5142621"/>
              <a:gd name="connsiteX3881" fmla="*/ 2372191 w 6268558"/>
              <a:gd name="connsiteY3881" fmla="*/ 3354779 h 5142621"/>
              <a:gd name="connsiteX3882" fmla="*/ 1780629 w 6268558"/>
              <a:gd name="connsiteY3882" fmla="*/ 3203068 h 5142621"/>
              <a:gd name="connsiteX3883" fmla="*/ 689010 w 6268558"/>
              <a:gd name="connsiteY3883" fmla="*/ 2498119 h 5142621"/>
              <a:gd name="connsiteX3884" fmla="*/ 1781007 w 6268558"/>
              <a:gd name="connsiteY3884" fmla="*/ 3203021 h 5142621"/>
              <a:gd name="connsiteX3885" fmla="*/ 2372426 w 6268558"/>
              <a:gd name="connsiteY3885" fmla="*/ 3354355 h 5142621"/>
              <a:gd name="connsiteX3886" fmla="*/ 2684881 w 6268558"/>
              <a:gd name="connsiteY3886" fmla="*/ 3290373 h 5142621"/>
              <a:gd name="connsiteX3887" fmla="*/ 2698606 w 6268558"/>
              <a:gd name="connsiteY3887" fmla="*/ 3282402 h 5142621"/>
              <a:gd name="connsiteX3888" fmla="*/ 2705256 w 6268558"/>
              <a:gd name="connsiteY3888" fmla="*/ 3278275 h 5142621"/>
              <a:gd name="connsiteX3889" fmla="*/ 2711765 w 6268558"/>
              <a:gd name="connsiteY3889" fmla="*/ 3274007 h 5142621"/>
              <a:gd name="connsiteX3890" fmla="*/ 2718133 w 6268558"/>
              <a:gd name="connsiteY3890" fmla="*/ 3269620 h 5142621"/>
              <a:gd name="connsiteX3891" fmla="*/ 2724335 w 6268558"/>
              <a:gd name="connsiteY3891" fmla="*/ 3264998 h 5142621"/>
              <a:gd name="connsiteX3892" fmla="*/ 2736316 w 6268558"/>
              <a:gd name="connsiteY3892" fmla="*/ 3255376 h 5142621"/>
              <a:gd name="connsiteX3893" fmla="*/ 2778129 w 6268558"/>
              <a:gd name="connsiteY3893" fmla="*/ 3211205 h 5142621"/>
              <a:gd name="connsiteX3894" fmla="*/ 2794469 w 6268558"/>
              <a:gd name="connsiteY3894" fmla="*/ 3185145 h 5142621"/>
              <a:gd name="connsiteX3895" fmla="*/ 2806239 w 6268558"/>
              <a:gd name="connsiteY3895" fmla="*/ 3156444 h 5142621"/>
              <a:gd name="connsiteX3896" fmla="*/ 2812109 w 6268558"/>
              <a:gd name="connsiteY3896" fmla="*/ 3098453 h 5142621"/>
              <a:gd name="connsiteX3897" fmla="*/ 2801709 w 6268558"/>
              <a:gd name="connsiteY3897" fmla="*/ 3048362 h 5142621"/>
              <a:gd name="connsiteX3898" fmla="*/ 2784543 w 6268558"/>
              <a:gd name="connsiteY3898" fmla="*/ 3003649 h 5142621"/>
              <a:gd name="connsiteX3899" fmla="*/ 2741245 w 6268558"/>
              <a:gd name="connsiteY3899" fmla="*/ 2919244 h 5142621"/>
              <a:gd name="connsiteX3900" fmla="*/ 2716884 w 6268558"/>
              <a:gd name="connsiteY3900" fmla="*/ 2877007 h 5142621"/>
              <a:gd name="connsiteX3901" fmla="*/ 2691083 w 6268558"/>
              <a:gd name="connsiteY3901" fmla="*/ 2834297 h 5142621"/>
              <a:gd name="connsiteX3902" fmla="*/ 2635945 w 6268558"/>
              <a:gd name="connsiteY3902" fmla="*/ 2746662 h 5142621"/>
              <a:gd name="connsiteX3903" fmla="*/ 2396505 w 6268558"/>
              <a:gd name="connsiteY3903" fmla="*/ 2353955 h 5142621"/>
              <a:gd name="connsiteX3904" fmla="*/ 2220739 w 6268558"/>
              <a:gd name="connsiteY3904" fmla="*/ 1872786 h 5142621"/>
              <a:gd name="connsiteX3905" fmla="*/ 2202863 w 6268558"/>
              <a:gd name="connsiteY3905" fmla="*/ 1738534 h 5142621"/>
              <a:gd name="connsiteX3906" fmla="*/ 2199609 w 6268558"/>
              <a:gd name="connsiteY3906" fmla="*/ 1599322 h 5142621"/>
              <a:gd name="connsiteX3907" fmla="*/ 2216589 w 6268558"/>
              <a:gd name="connsiteY3907" fmla="*/ 1452210 h 5142621"/>
              <a:gd name="connsiteX3908" fmla="*/ 2239700 w 6268558"/>
              <a:gd name="connsiteY3908" fmla="*/ 1371460 h 5142621"/>
              <a:gd name="connsiteX3909" fmla="*/ 2258897 w 6268558"/>
              <a:gd name="connsiteY3909" fmla="*/ 1327642 h 5142621"/>
              <a:gd name="connsiteX3910" fmla="*/ 2286371 w 6268558"/>
              <a:gd name="connsiteY3910" fmla="*/ 1281513 h 5142621"/>
              <a:gd name="connsiteX3911" fmla="*/ 2322925 w 6268558"/>
              <a:gd name="connsiteY3911" fmla="*/ 1235856 h 5142621"/>
              <a:gd name="connsiteX3912" fmla="*/ 2365611 w 6268558"/>
              <a:gd name="connsiteY3912" fmla="*/ 1194443 h 5142621"/>
              <a:gd name="connsiteX3913" fmla="*/ 2411433 w 6268558"/>
              <a:gd name="connsiteY3913" fmla="*/ 1157889 h 5142621"/>
              <a:gd name="connsiteX3914" fmla="*/ 2459284 w 6268558"/>
              <a:gd name="connsiteY3914" fmla="*/ 1124967 h 5142621"/>
              <a:gd name="connsiteX3915" fmla="*/ 2560951 w 6268558"/>
              <a:gd name="connsiteY3915" fmla="*/ 1065915 h 5142621"/>
              <a:gd name="connsiteX3916" fmla="*/ 2672028 w 6268558"/>
              <a:gd name="connsiteY3916" fmla="*/ 1012169 h 5142621"/>
              <a:gd name="connsiteX3917" fmla="*/ 3251981 w 6268558"/>
              <a:gd name="connsiteY3917" fmla="*/ 829681 h 5142621"/>
              <a:gd name="connsiteX3918" fmla="*/ 4165973 w 6268558"/>
              <a:gd name="connsiteY3918" fmla="*/ 717189 h 5142621"/>
              <a:gd name="connsiteX3919" fmla="*/ 4638580 w 6268558"/>
              <a:gd name="connsiteY3919" fmla="*/ 704642 h 5142621"/>
              <a:gd name="connsiteX3920" fmla="*/ 4599573 w 6268558"/>
              <a:gd name="connsiteY3920" fmla="*/ 654875 h 5142621"/>
              <a:gd name="connsiteX3921" fmla="*/ 5591366 w 6268558"/>
              <a:gd name="connsiteY3921" fmla="*/ 686271 h 5142621"/>
              <a:gd name="connsiteX3922" fmla="*/ 5569764 w 6268558"/>
              <a:gd name="connsiteY3922" fmla="*/ 689714 h 5142621"/>
              <a:gd name="connsiteX3923" fmla="*/ 4121424 w 6268558"/>
              <a:gd name="connsiteY3923" fmla="*/ 674220 h 5142621"/>
              <a:gd name="connsiteX3924" fmla="*/ 3225003 w 6268558"/>
              <a:gd name="connsiteY3924" fmla="*/ 788340 h 5142621"/>
              <a:gd name="connsiteX3925" fmla="*/ 2652430 w 6268558"/>
              <a:gd name="connsiteY3925" fmla="*/ 968186 h 5142621"/>
              <a:gd name="connsiteX3926" fmla="*/ 2542179 w 6268558"/>
              <a:gd name="connsiteY3926" fmla="*/ 1020564 h 5142621"/>
              <a:gd name="connsiteX3927" fmla="*/ 2441196 w 6268558"/>
              <a:gd name="connsiteY3927" fmla="*/ 1077825 h 5142621"/>
              <a:gd name="connsiteX3928" fmla="*/ 2393746 w 6268558"/>
              <a:gd name="connsiteY3928" fmla="*/ 1109544 h 5142621"/>
              <a:gd name="connsiteX3929" fmla="*/ 2348490 w 6268558"/>
              <a:gd name="connsiteY3929" fmla="*/ 1144518 h 5142621"/>
              <a:gd name="connsiteX3930" fmla="*/ 2306559 w 6268558"/>
              <a:gd name="connsiteY3930" fmla="*/ 1183784 h 5142621"/>
              <a:gd name="connsiteX3931" fmla="*/ 2270594 w 6268558"/>
              <a:gd name="connsiteY3931" fmla="*/ 1226870 h 5142621"/>
              <a:gd name="connsiteX3932" fmla="*/ 2242814 w 6268558"/>
              <a:gd name="connsiteY3932" fmla="*/ 1271089 h 5142621"/>
              <a:gd name="connsiteX3933" fmla="*/ 2222603 w 6268558"/>
              <a:gd name="connsiteY3933" fmla="*/ 1314035 h 5142621"/>
              <a:gd name="connsiteX3934" fmla="*/ 2196779 w 6268558"/>
              <a:gd name="connsiteY3934" fmla="*/ 1394784 h 5142621"/>
              <a:gd name="connsiteX3935" fmla="*/ 2174351 w 6268558"/>
              <a:gd name="connsiteY3935" fmla="*/ 1544373 h 5142621"/>
              <a:gd name="connsiteX3936" fmla="*/ 2172677 w 6268558"/>
              <a:gd name="connsiteY3936" fmla="*/ 1686934 h 5142621"/>
              <a:gd name="connsiteX3937" fmla="*/ 2186261 w 6268558"/>
              <a:gd name="connsiteY3937" fmla="*/ 1824754 h 5142621"/>
              <a:gd name="connsiteX3938" fmla="*/ 2352193 w 6268558"/>
              <a:gd name="connsiteY3938" fmla="*/ 2320184 h 5142621"/>
              <a:gd name="connsiteX3939" fmla="*/ 2592081 w 6268558"/>
              <a:gd name="connsiteY3939" fmla="*/ 2723197 h 5142621"/>
              <a:gd name="connsiteX3940" fmla="*/ 2648421 w 6268558"/>
              <a:gd name="connsiteY3940" fmla="*/ 2812365 h 5142621"/>
              <a:gd name="connsiteX3941" fmla="*/ 2674929 w 6268558"/>
              <a:gd name="connsiteY3941" fmla="*/ 2855664 h 5142621"/>
              <a:gd name="connsiteX3942" fmla="*/ 2700045 w 6268558"/>
              <a:gd name="connsiteY3942" fmla="*/ 2898397 h 5142621"/>
              <a:gd name="connsiteX3943" fmla="*/ 2745042 w 6268558"/>
              <a:gd name="connsiteY3943" fmla="*/ 2983415 h 5142621"/>
              <a:gd name="connsiteX3944" fmla="*/ 2763107 w 6268558"/>
              <a:gd name="connsiteY3944" fmla="*/ 3028270 h 5142621"/>
              <a:gd name="connsiteX3945" fmla="*/ 2774379 w 6268558"/>
              <a:gd name="connsiteY3945" fmla="*/ 3078408 h 5142621"/>
              <a:gd name="connsiteX3946" fmla="*/ 2774615 w 6268558"/>
              <a:gd name="connsiteY3946" fmla="*/ 3106707 h 5142621"/>
              <a:gd name="connsiteX3947" fmla="*/ 2768884 w 6268558"/>
              <a:gd name="connsiteY3947" fmla="*/ 3136281 h 5142621"/>
              <a:gd name="connsiteX3948" fmla="*/ 2756928 w 6268558"/>
              <a:gd name="connsiteY3948" fmla="*/ 3164581 h 5142621"/>
              <a:gd name="connsiteX3949" fmla="*/ 2740231 w 6268558"/>
              <a:gd name="connsiteY3949" fmla="*/ 3189956 h 5142621"/>
              <a:gd name="connsiteX3950" fmla="*/ 2697427 w 6268558"/>
              <a:gd name="connsiteY3950" fmla="*/ 3232264 h 5142621"/>
              <a:gd name="connsiteX3951" fmla="*/ 2685140 w 6268558"/>
              <a:gd name="connsiteY3951" fmla="*/ 3241344 h 5142621"/>
              <a:gd name="connsiteX3952" fmla="*/ 2678773 w 6268558"/>
              <a:gd name="connsiteY3952" fmla="*/ 3245683 h 5142621"/>
              <a:gd name="connsiteX3953" fmla="*/ 2672240 w 6268558"/>
              <a:gd name="connsiteY3953" fmla="*/ 3249787 h 5142621"/>
              <a:gd name="connsiteX3954" fmla="*/ 2665543 w 6268558"/>
              <a:gd name="connsiteY3954" fmla="*/ 3253772 h 5142621"/>
              <a:gd name="connsiteX3955" fmla="*/ 2658727 w 6268558"/>
              <a:gd name="connsiteY3955" fmla="*/ 3257593 h 5142621"/>
              <a:gd name="connsiteX3956" fmla="*/ 2644648 w 6268558"/>
              <a:gd name="connsiteY3956" fmla="*/ 3264974 h 5142621"/>
              <a:gd name="connsiteX3957" fmla="*/ 2323562 w 6268558"/>
              <a:gd name="connsiteY3957" fmla="*/ 3315891 h 5142621"/>
              <a:gd name="connsiteX3958" fmla="*/ 1718110 w 6268558"/>
              <a:gd name="connsiteY3958" fmla="*/ 3139795 h 5142621"/>
              <a:gd name="connsiteX3959" fmla="*/ 622596 w 6268558"/>
              <a:gd name="connsiteY3959" fmla="*/ 2398574 h 5142621"/>
              <a:gd name="connsiteX3960" fmla="*/ 1718488 w 6268558"/>
              <a:gd name="connsiteY3960" fmla="*/ 3139771 h 5142621"/>
              <a:gd name="connsiteX3961" fmla="*/ 2323775 w 6268558"/>
              <a:gd name="connsiteY3961" fmla="*/ 3315490 h 5142621"/>
              <a:gd name="connsiteX3962" fmla="*/ 2644554 w 6268558"/>
              <a:gd name="connsiteY3962" fmla="*/ 3264220 h 5142621"/>
              <a:gd name="connsiteX3963" fmla="*/ 2658609 w 6268558"/>
              <a:gd name="connsiteY3963" fmla="*/ 3256815 h 5142621"/>
              <a:gd name="connsiteX3964" fmla="*/ 2665425 w 6268558"/>
              <a:gd name="connsiteY3964" fmla="*/ 3252971 h 5142621"/>
              <a:gd name="connsiteX3965" fmla="*/ 2672075 w 6268558"/>
              <a:gd name="connsiteY3965" fmla="*/ 3248985 h 5142621"/>
              <a:gd name="connsiteX3966" fmla="*/ 2678584 w 6268558"/>
              <a:gd name="connsiteY3966" fmla="*/ 3244882 h 5142621"/>
              <a:gd name="connsiteX3967" fmla="*/ 2684928 w 6268558"/>
              <a:gd name="connsiteY3967" fmla="*/ 3240542 h 5142621"/>
              <a:gd name="connsiteX3968" fmla="*/ 2697168 w 6268558"/>
              <a:gd name="connsiteY3968" fmla="*/ 3231463 h 5142621"/>
              <a:gd name="connsiteX3969" fmla="*/ 2739736 w 6268558"/>
              <a:gd name="connsiteY3969" fmla="*/ 3189272 h 5142621"/>
              <a:gd name="connsiteX3970" fmla="*/ 2756268 w 6268558"/>
              <a:gd name="connsiteY3970" fmla="*/ 3164086 h 5142621"/>
              <a:gd name="connsiteX3971" fmla="*/ 2768060 w 6268558"/>
              <a:gd name="connsiteY3971" fmla="*/ 3136163 h 5142621"/>
              <a:gd name="connsiteX3972" fmla="*/ 2773484 w 6268558"/>
              <a:gd name="connsiteY3972" fmla="*/ 3079210 h 5142621"/>
              <a:gd name="connsiteX3973" fmla="*/ 2762305 w 6268558"/>
              <a:gd name="connsiteY3973" fmla="*/ 3029520 h 5142621"/>
              <a:gd name="connsiteX3974" fmla="*/ 2744311 w 6268558"/>
              <a:gd name="connsiteY3974" fmla="*/ 2984877 h 5142621"/>
              <a:gd name="connsiteX3975" fmla="*/ 2699385 w 6268558"/>
              <a:gd name="connsiteY3975" fmla="*/ 2900142 h 5142621"/>
              <a:gd name="connsiteX3976" fmla="*/ 2674292 w 6268558"/>
              <a:gd name="connsiteY3976" fmla="*/ 2857551 h 5142621"/>
              <a:gd name="connsiteX3977" fmla="*/ 2647808 w 6268558"/>
              <a:gd name="connsiteY3977" fmla="*/ 2814370 h 5142621"/>
              <a:gd name="connsiteX3978" fmla="*/ 2591491 w 6268558"/>
              <a:gd name="connsiteY3978" fmla="*/ 2725461 h 5142621"/>
              <a:gd name="connsiteX3979" fmla="*/ 2351273 w 6268558"/>
              <a:gd name="connsiteY3979" fmla="*/ 2323462 h 5142621"/>
              <a:gd name="connsiteX3980" fmla="*/ 2183620 w 6268558"/>
              <a:gd name="connsiteY3980" fmla="*/ 1828929 h 5142621"/>
              <a:gd name="connsiteX3981" fmla="*/ 2169328 w 6268558"/>
              <a:gd name="connsiteY3981" fmla="*/ 1691250 h 5142621"/>
              <a:gd name="connsiteX3982" fmla="*/ 2170177 w 6268558"/>
              <a:gd name="connsiteY3982" fmla="*/ 1548760 h 5142621"/>
              <a:gd name="connsiteX3983" fmla="*/ 2191779 w 6268558"/>
              <a:gd name="connsiteY3983" fmla="*/ 1398699 h 5142621"/>
              <a:gd name="connsiteX3984" fmla="*/ 2217462 w 6268558"/>
              <a:gd name="connsiteY3984" fmla="*/ 1316841 h 5142621"/>
              <a:gd name="connsiteX3985" fmla="*/ 2238002 w 6268558"/>
              <a:gd name="connsiteY3985" fmla="*/ 1272694 h 5142621"/>
              <a:gd name="connsiteX3986" fmla="*/ 2266845 w 6268558"/>
              <a:gd name="connsiteY3986" fmla="*/ 1226493 h 5142621"/>
              <a:gd name="connsiteX3987" fmla="*/ 2304649 w 6268558"/>
              <a:gd name="connsiteY3987" fmla="*/ 1181119 h 5142621"/>
              <a:gd name="connsiteX3988" fmla="*/ 2348348 w 6268558"/>
              <a:gd name="connsiteY3988" fmla="*/ 1140226 h 5142621"/>
              <a:gd name="connsiteX3989" fmla="*/ 2394902 w 6268558"/>
              <a:gd name="connsiteY3989" fmla="*/ 1104356 h 5142621"/>
              <a:gd name="connsiteX3990" fmla="*/ 2443295 w 6268558"/>
              <a:gd name="connsiteY3990" fmla="*/ 1072141 h 5142621"/>
              <a:gd name="connsiteX3991" fmla="*/ 2545551 w 6268558"/>
              <a:gd name="connsiteY3991" fmla="*/ 1014480 h 5142621"/>
              <a:gd name="connsiteX3992" fmla="*/ 2656723 w 6268558"/>
              <a:gd name="connsiteY3992" fmla="*/ 961983 h 5142621"/>
              <a:gd name="connsiteX3993" fmla="*/ 3232573 w 6268558"/>
              <a:gd name="connsiteY3993" fmla="*/ 782467 h 5142621"/>
              <a:gd name="connsiteX3994" fmla="*/ 4134159 w 6268558"/>
              <a:gd name="connsiteY3994" fmla="*/ 669103 h 5142621"/>
              <a:gd name="connsiteX3995" fmla="*/ 4599573 w 6268558"/>
              <a:gd name="connsiteY3995" fmla="*/ 654875 h 5142621"/>
              <a:gd name="connsiteX3996" fmla="*/ 4731191 w 6268558"/>
              <a:gd name="connsiteY3996" fmla="*/ 604259 h 5142621"/>
              <a:gd name="connsiteX3997" fmla="*/ 5533068 w 6268558"/>
              <a:gd name="connsiteY3997" fmla="*/ 630849 h 5142621"/>
              <a:gd name="connsiteX3998" fmla="*/ 5512338 w 6268558"/>
              <a:gd name="connsiteY3998" fmla="*/ 634386 h 5142621"/>
              <a:gd name="connsiteX3999" fmla="*/ 4089421 w 6268558"/>
              <a:gd name="connsiteY3999" fmla="*/ 625755 h 5142621"/>
              <a:gd name="connsiteX4000" fmla="*/ 3206489 w 6268558"/>
              <a:gd name="connsiteY4000" fmla="*/ 740157 h 5142621"/>
              <a:gd name="connsiteX4001" fmla="*/ 2638584 w 6268558"/>
              <a:gd name="connsiteY4001" fmla="*/ 916278 h 5142621"/>
              <a:gd name="connsiteX4002" fmla="*/ 2528333 w 6268558"/>
              <a:gd name="connsiteY4002" fmla="*/ 967217 h 5142621"/>
              <a:gd name="connsiteX4003" fmla="*/ 2426831 w 6268558"/>
              <a:gd name="connsiteY4003" fmla="*/ 1022874 h 5142621"/>
              <a:gd name="connsiteX4004" fmla="*/ 2378886 w 6268558"/>
              <a:gd name="connsiteY4004" fmla="*/ 1053791 h 5142621"/>
              <a:gd name="connsiteX4005" fmla="*/ 2332946 w 6268558"/>
              <a:gd name="connsiteY4005" fmla="*/ 1088011 h 5142621"/>
              <a:gd name="connsiteX4006" fmla="*/ 2290095 w 6268558"/>
              <a:gd name="connsiteY4006" fmla="*/ 1126663 h 5142621"/>
              <a:gd name="connsiteX4007" fmla="*/ 2252951 w 6268558"/>
              <a:gd name="connsiteY4007" fmla="*/ 1169396 h 5142621"/>
              <a:gd name="connsiteX4008" fmla="*/ 2223850 w 6268558"/>
              <a:gd name="connsiteY4008" fmla="*/ 1213591 h 5142621"/>
              <a:gd name="connsiteX4009" fmla="*/ 2202295 w 6268558"/>
              <a:gd name="connsiteY4009" fmla="*/ 1256772 h 5142621"/>
              <a:gd name="connsiteX4010" fmla="*/ 2173853 w 6268558"/>
              <a:gd name="connsiteY4010" fmla="*/ 1338512 h 5142621"/>
              <a:gd name="connsiteX4011" fmla="*/ 2146568 w 6268558"/>
              <a:gd name="connsiteY4011" fmla="*/ 1490907 h 5142621"/>
              <a:gd name="connsiteX4012" fmla="*/ 2140483 w 6268558"/>
              <a:gd name="connsiteY4012" fmla="*/ 1636699 h 5142621"/>
              <a:gd name="connsiteX4013" fmla="*/ 2150152 w 6268558"/>
              <a:gd name="connsiteY4013" fmla="*/ 1777962 h 5142621"/>
              <a:gd name="connsiteX4014" fmla="*/ 2306745 w 6268558"/>
              <a:gd name="connsiteY4014" fmla="*/ 2287144 h 5142621"/>
              <a:gd name="connsiteX4015" fmla="*/ 2546657 w 6268558"/>
              <a:gd name="connsiteY4015" fmla="*/ 2700298 h 5142621"/>
              <a:gd name="connsiteX4016" fmla="*/ 2604058 w 6268558"/>
              <a:gd name="connsiteY4016" fmla="*/ 2790975 h 5142621"/>
              <a:gd name="connsiteX4017" fmla="*/ 2631203 w 6268558"/>
              <a:gd name="connsiteY4017" fmla="*/ 2834864 h 5142621"/>
              <a:gd name="connsiteX4018" fmla="*/ 2657027 w 6268558"/>
              <a:gd name="connsiteY4018" fmla="*/ 2878068 h 5142621"/>
              <a:gd name="connsiteX4019" fmla="*/ 2703556 w 6268558"/>
              <a:gd name="connsiteY4019" fmla="*/ 2963652 h 5142621"/>
              <a:gd name="connsiteX4020" fmla="*/ 2722423 w 6268558"/>
              <a:gd name="connsiteY4020" fmla="*/ 3008531 h 5142621"/>
              <a:gd name="connsiteX4021" fmla="*/ 2734403 w 6268558"/>
              <a:gd name="connsiteY4021" fmla="*/ 3058338 h 5142621"/>
              <a:gd name="connsiteX4022" fmla="*/ 2734898 w 6268558"/>
              <a:gd name="connsiteY4022" fmla="*/ 3086237 h 5142621"/>
              <a:gd name="connsiteX4023" fmla="*/ 2729286 w 6268558"/>
              <a:gd name="connsiteY4023" fmla="*/ 3115197 h 5142621"/>
              <a:gd name="connsiteX4024" fmla="*/ 2717234 w 6268558"/>
              <a:gd name="connsiteY4024" fmla="*/ 3142719 h 5142621"/>
              <a:gd name="connsiteX4025" fmla="*/ 2700278 w 6268558"/>
              <a:gd name="connsiteY4025" fmla="*/ 3167199 h 5142621"/>
              <a:gd name="connsiteX4026" fmla="*/ 2656602 w 6268558"/>
              <a:gd name="connsiteY4026" fmla="*/ 3207432 h 5142621"/>
              <a:gd name="connsiteX4027" fmla="*/ 2644032 w 6268558"/>
              <a:gd name="connsiteY4027" fmla="*/ 3215969 h 5142621"/>
              <a:gd name="connsiteX4028" fmla="*/ 2637523 w 6268558"/>
              <a:gd name="connsiteY4028" fmla="*/ 3220025 h 5142621"/>
              <a:gd name="connsiteX4029" fmla="*/ 2630826 w 6268558"/>
              <a:gd name="connsiteY4029" fmla="*/ 3223845 h 5142621"/>
              <a:gd name="connsiteX4030" fmla="*/ 2623963 w 6268558"/>
              <a:gd name="connsiteY4030" fmla="*/ 3227548 h 5142621"/>
              <a:gd name="connsiteX4031" fmla="*/ 2616959 w 6268558"/>
              <a:gd name="connsiteY4031" fmla="*/ 3231085 h 5142621"/>
              <a:gd name="connsiteX4032" fmla="*/ 2602526 w 6268558"/>
              <a:gd name="connsiteY4032" fmla="*/ 3237854 h 5142621"/>
              <a:gd name="connsiteX4033" fmla="*/ 2272832 w 6268558"/>
              <a:gd name="connsiteY4033" fmla="*/ 3275422 h 5142621"/>
              <a:gd name="connsiteX4034" fmla="*/ 1654150 w 6268558"/>
              <a:gd name="connsiteY4034" fmla="*/ 3074304 h 5142621"/>
              <a:gd name="connsiteX4035" fmla="*/ 558211 w 6268558"/>
              <a:gd name="connsiteY4035" fmla="*/ 2299289 h 5142621"/>
              <a:gd name="connsiteX4036" fmla="*/ 1654527 w 6268558"/>
              <a:gd name="connsiteY4036" fmla="*/ 3074281 h 5142621"/>
              <a:gd name="connsiteX4037" fmla="*/ 2273044 w 6268558"/>
              <a:gd name="connsiteY4037" fmla="*/ 3275021 h 5142621"/>
              <a:gd name="connsiteX4038" fmla="*/ 2602431 w 6268558"/>
              <a:gd name="connsiteY4038" fmla="*/ 3237099 h 5142621"/>
              <a:gd name="connsiteX4039" fmla="*/ 2616841 w 6268558"/>
              <a:gd name="connsiteY4039" fmla="*/ 3230307 h 5142621"/>
              <a:gd name="connsiteX4040" fmla="*/ 2623821 w 6268558"/>
              <a:gd name="connsiteY4040" fmla="*/ 3226770 h 5142621"/>
              <a:gd name="connsiteX4041" fmla="*/ 2630637 w 6268558"/>
              <a:gd name="connsiteY4041" fmla="*/ 3223067 h 5142621"/>
              <a:gd name="connsiteX4042" fmla="*/ 2637311 w 6268558"/>
              <a:gd name="connsiteY4042" fmla="*/ 3219247 h 5142621"/>
              <a:gd name="connsiteX4043" fmla="*/ 2643796 w 6268558"/>
              <a:gd name="connsiteY4043" fmla="*/ 3215190 h 5142621"/>
              <a:gd name="connsiteX4044" fmla="*/ 2656319 w 6268558"/>
              <a:gd name="connsiteY4044" fmla="*/ 3206653 h 5142621"/>
              <a:gd name="connsiteX4045" fmla="*/ 2699736 w 6268558"/>
              <a:gd name="connsiteY4045" fmla="*/ 3166515 h 5142621"/>
              <a:gd name="connsiteX4046" fmla="*/ 2716503 w 6268558"/>
              <a:gd name="connsiteY4046" fmla="*/ 3142248 h 5142621"/>
              <a:gd name="connsiteX4047" fmla="*/ 2728366 w 6268558"/>
              <a:gd name="connsiteY4047" fmla="*/ 3115103 h 5142621"/>
              <a:gd name="connsiteX4048" fmla="*/ 2733413 w 6268558"/>
              <a:gd name="connsiteY4048" fmla="*/ 3059140 h 5142621"/>
              <a:gd name="connsiteX4049" fmla="*/ 2721527 w 6268558"/>
              <a:gd name="connsiteY4049" fmla="*/ 3009781 h 5142621"/>
              <a:gd name="connsiteX4050" fmla="*/ 2702731 w 6268558"/>
              <a:gd name="connsiteY4050" fmla="*/ 2965138 h 5142621"/>
              <a:gd name="connsiteX4051" fmla="*/ 2656272 w 6268558"/>
              <a:gd name="connsiteY4051" fmla="*/ 2879837 h 5142621"/>
              <a:gd name="connsiteX4052" fmla="*/ 2630472 w 6268558"/>
              <a:gd name="connsiteY4052" fmla="*/ 2836774 h 5142621"/>
              <a:gd name="connsiteX4053" fmla="*/ 2603351 w 6268558"/>
              <a:gd name="connsiteY4053" fmla="*/ 2793004 h 5142621"/>
              <a:gd name="connsiteX4054" fmla="*/ 2545973 w 6268558"/>
              <a:gd name="connsiteY4054" fmla="*/ 2702562 h 5142621"/>
              <a:gd name="connsiteX4055" fmla="*/ 2305660 w 6268558"/>
              <a:gd name="connsiteY4055" fmla="*/ 2290422 h 5142621"/>
              <a:gd name="connsiteX4056" fmla="*/ 2147275 w 6268558"/>
              <a:gd name="connsiteY4056" fmla="*/ 1782113 h 5142621"/>
              <a:gd name="connsiteX4057" fmla="*/ 2136875 w 6268558"/>
              <a:gd name="connsiteY4057" fmla="*/ 1640991 h 5142621"/>
              <a:gd name="connsiteX4058" fmla="*/ 2142134 w 6268558"/>
              <a:gd name="connsiteY4058" fmla="*/ 1495247 h 5142621"/>
              <a:gd name="connsiteX4059" fmla="*/ 2168618 w 6268558"/>
              <a:gd name="connsiteY4059" fmla="*/ 1342356 h 5142621"/>
              <a:gd name="connsiteX4060" fmla="*/ 2196965 w 6268558"/>
              <a:gd name="connsiteY4060" fmla="*/ 1259508 h 5142621"/>
              <a:gd name="connsiteX4061" fmla="*/ 2218921 w 6268558"/>
              <a:gd name="connsiteY4061" fmla="*/ 1215077 h 5142621"/>
              <a:gd name="connsiteX4062" fmla="*/ 2249155 w 6268558"/>
              <a:gd name="connsiteY4062" fmla="*/ 1168877 h 5142621"/>
              <a:gd name="connsiteX4063" fmla="*/ 2288185 w 6268558"/>
              <a:gd name="connsiteY4063" fmla="*/ 1123881 h 5142621"/>
              <a:gd name="connsiteX4064" fmla="*/ 2332851 w 6268558"/>
              <a:gd name="connsiteY4064" fmla="*/ 1083648 h 5142621"/>
              <a:gd name="connsiteX4065" fmla="*/ 2380112 w 6268558"/>
              <a:gd name="connsiteY4065" fmla="*/ 1048556 h 5142621"/>
              <a:gd name="connsiteX4066" fmla="*/ 2428977 w 6268558"/>
              <a:gd name="connsiteY4066" fmla="*/ 1017167 h 5142621"/>
              <a:gd name="connsiteX4067" fmla="*/ 2531729 w 6268558"/>
              <a:gd name="connsiteY4067" fmla="*/ 961109 h 5142621"/>
              <a:gd name="connsiteX4068" fmla="*/ 2642877 w 6268558"/>
              <a:gd name="connsiteY4068" fmla="*/ 910075 h 5142621"/>
              <a:gd name="connsiteX4069" fmla="*/ 3213918 w 6268558"/>
              <a:gd name="connsiteY4069" fmla="*/ 734285 h 5142621"/>
              <a:gd name="connsiteX4070" fmla="*/ 4101732 w 6268558"/>
              <a:gd name="connsiteY4070" fmla="*/ 620614 h 5142621"/>
              <a:gd name="connsiteX4071" fmla="*/ 4731191 w 6268558"/>
              <a:gd name="connsiteY4071" fmla="*/ 604259 h 5142621"/>
              <a:gd name="connsiteX4072" fmla="*/ 4686451 w 6268558"/>
              <a:gd name="connsiteY4072" fmla="*/ 553241 h 5142621"/>
              <a:gd name="connsiteX4073" fmla="*/ 5472318 w 6268558"/>
              <a:gd name="connsiteY4073" fmla="*/ 575525 h 5142621"/>
              <a:gd name="connsiteX4074" fmla="*/ 5452272 w 6268558"/>
              <a:gd name="connsiteY4074" fmla="*/ 579298 h 5142621"/>
              <a:gd name="connsiteX4075" fmla="*/ 4056876 w 6268558"/>
              <a:gd name="connsiteY4075" fmla="*/ 576868 h 5142621"/>
              <a:gd name="connsiteX4076" fmla="*/ 3188802 w 6268558"/>
              <a:gd name="connsiteY4076" fmla="*/ 690964 h 5142621"/>
              <a:gd name="connsiteX4077" fmla="*/ 2626324 w 6268558"/>
              <a:gd name="connsiteY4077" fmla="*/ 862603 h 5142621"/>
              <a:gd name="connsiteX4078" fmla="*/ 2516214 w 6268558"/>
              <a:gd name="connsiteY4078" fmla="*/ 911869 h 5142621"/>
              <a:gd name="connsiteX4079" fmla="*/ 2414334 w 6268558"/>
              <a:gd name="connsiteY4079" fmla="*/ 965710 h 5142621"/>
              <a:gd name="connsiteX4080" fmla="*/ 2365965 w 6268558"/>
              <a:gd name="connsiteY4080" fmla="*/ 995707 h 5142621"/>
              <a:gd name="connsiteX4081" fmla="*/ 2319388 w 6268558"/>
              <a:gd name="connsiteY4081" fmla="*/ 1029054 h 5142621"/>
              <a:gd name="connsiteX4082" fmla="*/ 2275618 w 6268558"/>
              <a:gd name="connsiteY4082" fmla="*/ 1066953 h 5142621"/>
              <a:gd name="connsiteX4083" fmla="*/ 2237319 w 6268558"/>
              <a:gd name="connsiteY4083" fmla="*/ 1109215 h 5142621"/>
              <a:gd name="connsiteX4084" fmla="*/ 2206873 w 6268558"/>
              <a:gd name="connsiteY4084" fmla="*/ 1153292 h 5142621"/>
              <a:gd name="connsiteX4085" fmla="*/ 2183950 w 6268558"/>
              <a:gd name="connsiteY4085" fmla="*/ 1196661 h 5142621"/>
              <a:gd name="connsiteX4086" fmla="*/ 2152820 w 6268558"/>
              <a:gd name="connsiteY4086" fmla="*/ 1279273 h 5142621"/>
              <a:gd name="connsiteX4087" fmla="*/ 2120417 w 6268558"/>
              <a:gd name="connsiteY4087" fmla="*/ 1434357 h 5142621"/>
              <a:gd name="connsiteX4088" fmla="*/ 2109616 w 6268558"/>
              <a:gd name="connsiteY4088" fmla="*/ 1583334 h 5142621"/>
              <a:gd name="connsiteX4089" fmla="*/ 2115040 w 6268558"/>
              <a:gd name="connsiteY4089" fmla="*/ 1728017 h 5142621"/>
              <a:gd name="connsiteX4090" fmla="*/ 2261044 w 6268558"/>
              <a:gd name="connsiteY4090" fmla="*/ 2251320 h 5142621"/>
              <a:gd name="connsiteX4091" fmla="*/ 2500225 w 6268558"/>
              <a:gd name="connsiteY4091" fmla="*/ 2675417 h 5142621"/>
              <a:gd name="connsiteX4092" fmla="*/ 2558570 w 6268558"/>
              <a:gd name="connsiteY4092" fmla="*/ 2767864 h 5142621"/>
              <a:gd name="connsiteX4093" fmla="*/ 2586303 w 6268558"/>
              <a:gd name="connsiteY4093" fmla="*/ 2812459 h 5142621"/>
              <a:gd name="connsiteX4094" fmla="*/ 2612787 w 6268558"/>
              <a:gd name="connsiteY4094" fmla="*/ 2856253 h 5142621"/>
              <a:gd name="connsiteX4095" fmla="*/ 2660779 w 6268558"/>
              <a:gd name="connsiteY4095" fmla="*/ 2942639 h 5142621"/>
              <a:gd name="connsiteX4096" fmla="*/ 2680400 w 6268558"/>
              <a:gd name="connsiteY4096" fmla="*/ 2987636 h 5142621"/>
              <a:gd name="connsiteX4097" fmla="*/ 2693064 w 6268558"/>
              <a:gd name="connsiteY4097" fmla="*/ 3037184 h 5142621"/>
              <a:gd name="connsiteX4098" fmla="*/ 2693772 w 6268558"/>
              <a:gd name="connsiteY4098" fmla="*/ 3064706 h 5142621"/>
              <a:gd name="connsiteX4099" fmla="*/ 2688206 w 6268558"/>
              <a:gd name="connsiteY4099" fmla="*/ 3093076 h 5142621"/>
              <a:gd name="connsiteX4100" fmla="*/ 2676037 w 6268558"/>
              <a:gd name="connsiteY4100" fmla="*/ 3119796 h 5142621"/>
              <a:gd name="connsiteX4101" fmla="*/ 2658775 w 6268558"/>
              <a:gd name="connsiteY4101" fmla="*/ 3143332 h 5142621"/>
              <a:gd name="connsiteX4102" fmla="*/ 2614131 w 6268558"/>
              <a:gd name="connsiteY4102" fmla="*/ 3181443 h 5142621"/>
              <a:gd name="connsiteX4103" fmla="*/ 2601255 w 6268558"/>
              <a:gd name="connsiteY4103" fmla="*/ 3189390 h 5142621"/>
              <a:gd name="connsiteX4104" fmla="*/ 2594581 w 6268558"/>
              <a:gd name="connsiteY4104" fmla="*/ 3193163 h 5142621"/>
              <a:gd name="connsiteX4105" fmla="*/ 2587718 w 6268558"/>
              <a:gd name="connsiteY4105" fmla="*/ 3196677 h 5142621"/>
              <a:gd name="connsiteX4106" fmla="*/ 2580691 w 6268558"/>
              <a:gd name="connsiteY4106" fmla="*/ 3200073 h 5142621"/>
              <a:gd name="connsiteX4107" fmla="*/ 2573521 w 6268558"/>
              <a:gd name="connsiteY4107" fmla="*/ 3203304 h 5142621"/>
              <a:gd name="connsiteX4108" fmla="*/ 2558711 w 6268558"/>
              <a:gd name="connsiteY4108" fmla="*/ 3209436 h 5142621"/>
              <a:gd name="connsiteX4109" fmla="*/ 2220127 w 6268558"/>
              <a:gd name="connsiteY4109" fmla="*/ 3233019 h 5142621"/>
              <a:gd name="connsiteX4110" fmla="*/ 1588969 w 6268558"/>
              <a:gd name="connsiteY4110" fmla="*/ 3006337 h 5142621"/>
              <a:gd name="connsiteX4111" fmla="*/ 496144 w 6268558"/>
              <a:gd name="connsiteY4111" fmla="*/ 2200428 h 5142621"/>
              <a:gd name="connsiteX4112" fmla="*/ 1589346 w 6268558"/>
              <a:gd name="connsiteY4112" fmla="*/ 3006337 h 5142621"/>
              <a:gd name="connsiteX4113" fmla="*/ 2220315 w 6268558"/>
              <a:gd name="connsiteY4113" fmla="*/ 3232642 h 5142621"/>
              <a:gd name="connsiteX4114" fmla="*/ 2558546 w 6268558"/>
              <a:gd name="connsiteY4114" fmla="*/ 3208681 h 5142621"/>
              <a:gd name="connsiteX4115" fmla="*/ 2573309 w 6268558"/>
              <a:gd name="connsiteY4115" fmla="*/ 3202526 h 5142621"/>
              <a:gd name="connsiteX4116" fmla="*/ 2580478 w 6268558"/>
              <a:gd name="connsiteY4116" fmla="*/ 3199295 h 5142621"/>
              <a:gd name="connsiteX4117" fmla="*/ 2587459 w 6268558"/>
              <a:gd name="connsiteY4117" fmla="*/ 3195899 h 5142621"/>
              <a:gd name="connsiteX4118" fmla="*/ 2594298 w 6268558"/>
              <a:gd name="connsiteY4118" fmla="*/ 3192385 h 5142621"/>
              <a:gd name="connsiteX4119" fmla="*/ 2600949 w 6268558"/>
              <a:gd name="connsiteY4119" fmla="*/ 3188612 h 5142621"/>
              <a:gd name="connsiteX4120" fmla="*/ 2613778 w 6268558"/>
              <a:gd name="connsiteY4120" fmla="*/ 3180664 h 5142621"/>
              <a:gd name="connsiteX4121" fmla="*/ 2658185 w 6268558"/>
              <a:gd name="connsiteY4121" fmla="*/ 3142648 h 5142621"/>
              <a:gd name="connsiteX4122" fmla="*/ 2675259 w 6268558"/>
              <a:gd name="connsiteY4122" fmla="*/ 3119301 h 5142621"/>
              <a:gd name="connsiteX4123" fmla="*/ 2687263 w 6268558"/>
              <a:gd name="connsiteY4123" fmla="*/ 3092958 h 5142621"/>
              <a:gd name="connsiteX4124" fmla="*/ 2692027 w 6268558"/>
              <a:gd name="connsiteY4124" fmla="*/ 3037939 h 5142621"/>
              <a:gd name="connsiteX4125" fmla="*/ 2679481 w 6268558"/>
              <a:gd name="connsiteY4125" fmla="*/ 2988815 h 5142621"/>
              <a:gd name="connsiteX4126" fmla="*/ 2659930 w 6268558"/>
              <a:gd name="connsiteY4126" fmla="*/ 2944054 h 5142621"/>
              <a:gd name="connsiteX4127" fmla="*/ 2612009 w 6268558"/>
              <a:gd name="connsiteY4127" fmla="*/ 2857951 h 5142621"/>
              <a:gd name="connsiteX4128" fmla="*/ 2585549 w 6268558"/>
              <a:gd name="connsiteY4128" fmla="*/ 2814275 h 5142621"/>
              <a:gd name="connsiteX4129" fmla="*/ 2557838 w 6268558"/>
              <a:gd name="connsiteY4129" fmla="*/ 2769774 h 5142621"/>
              <a:gd name="connsiteX4130" fmla="*/ 2499517 w 6268558"/>
              <a:gd name="connsiteY4130" fmla="*/ 2677563 h 5142621"/>
              <a:gd name="connsiteX4131" fmla="*/ 2259912 w 6268558"/>
              <a:gd name="connsiteY4131" fmla="*/ 2254457 h 5142621"/>
              <a:gd name="connsiteX4132" fmla="*/ 2112068 w 6268558"/>
              <a:gd name="connsiteY4132" fmla="*/ 1731979 h 5142621"/>
              <a:gd name="connsiteX4133" fmla="*/ 2105913 w 6268558"/>
              <a:gd name="connsiteY4133" fmla="*/ 1587412 h 5142621"/>
              <a:gd name="connsiteX4134" fmla="*/ 2115912 w 6268558"/>
              <a:gd name="connsiteY4134" fmla="*/ 1438461 h 5142621"/>
              <a:gd name="connsiteX4135" fmla="*/ 2147537 w 6268558"/>
              <a:gd name="connsiteY4135" fmla="*/ 1282858 h 5142621"/>
              <a:gd name="connsiteX4136" fmla="*/ 2178644 w 6268558"/>
              <a:gd name="connsiteY4136" fmla="*/ 1199114 h 5142621"/>
              <a:gd name="connsiteX4137" fmla="*/ 2202015 w 6268558"/>
              <a:gd name="connsiteY4137" fmla="*/ 1154518 h 5142621"/>
              <a:gd name="connsiteX4138" fmla="*/ 2233640 w 6268558"/>
              <a:gd name="connsiteY4138" fmla="*/ 1108460 h 5142621"/>
              <a:gd name="connsiteX4139" fmla="*/ 2273920 w 6268558"/>
              <a:gd name="connsiteY4139" fmla="*/ 1063957 h 5142621"/>
              <a:gd name="connsiteX4140" fmla="*/ 2319530 w 6268558"/>
              <a:gd name="connsiteY4140" fmla="*/ 1024503 h 5142621"/>
              <a:gd name="connsiteX4141" fmla="*/ 2367427 w 6268558"/>
              <a:gd name="connsiteY4141" fmla="*/ 990307 h 5142621"/>
              <a:gd name="connsiteX4142" fmla="*/ 2416740 w 6268558"/>
              <a:gd name="connsiteY4142" fmla="*/ 959861 h 5142621"/>
              <a:gd name="connsiteX4143" fmla="*/ 2519846 w 6268558"/>
              <a:gd name="connsiteY4143" fmla="*/ 905643 h 5142621"/>
              <a:gd name="connsiteX4144" fmla="*/ 2630829 w 6268558"/>
              <a:gd name="connsiteY4144" fmla="*/ 856283 h 5142621"/>
              <a:gd name="connsiteX4145" fmla="*/ 3196254 w 6268558"/>
              <a:gd name="connsiteY4145" fmla="*/ 684974 h 5142621"/>
              <a:gd name="connsiteX4146" fmla="*/ 4068951 w 6268558"/>
              <a:gd name="connsiteY4146" fmla="*/ 571587 h 5142621"/>
              <a:gd name="connsiteX4147" fmla="*/ 4686451 w 6268558"/>
              <a:gd name="connsiteY4147" fmla="*/ 553241 h 5142621"/>
              <a:gd name="connsiteX4148" fmla="*/ 4640069 w 6268558"/>
              <a:gd name="connsiteY4148" fmla="*/ 502472 h 5142621"/>
              <a:gd name="connsiteX4149" fmla="*/ 5408525 w 6268558"/>
              <a:gd name="connsiteY4149" fmla="*/ 520527 h 5142621"/>
              <a:gd name="connsiteX4150" fmla="*/ 5389328 w 6268558"/>
              <a:gd name="connsiteY4150" fmla="*/ 524418 h 5142621"/>
              <a:gd name="connsiteX4151" fmla="*/ 3171775 w 6268558"/>
              <a:gd name="connsiteY4151" fmla="*/ 640896 h 5142621"/>
              <a:gd name="connsiteX4152" fmla="*/ 2615615 w 6268558"/>
              <a:gd name="connsiteY4152" fmla="*/ 807275 h 5142621"/>
              <a:gd name="connsiteX4153" fmla="*/ 2505788 w 6268558"/>
              <a:gd name="connsiteY4153" fmla="*/ 854655 h 5142621"/>
              <a:gd name="connsiteX4154" fmla="*/ 2403649 w 6268558"/>
              <a:gd name="connsiteY4154" fmla="*/ 906466 h 5142621"/>
              <a:gd name="connsiteX4155" fmla="*/ 2354903 w 6268558"/>
              <a:gd name="connsiteY4155" fmla="*/ 935428 h 5142621"/>
              <a:gd name="connsiteX4156" fmla="*/ 2307736 w 6268558"/>
              <a:gd name="connsiteY4156" fmla="*/ 967759 h 5142621"/>
              <a:gd name="connsiteX4157" fmla="*/ 2263117 w 6268558"/>
              <a:gd name="connsiteY4157" fmla="*/ 1004786 h 5142621"/>
              <a:gd name="connsiteX4158" fmla="*/ 2223686 w 6268558"/>
              <a:gd name="connsiteY4158" fmla="*/ 1046457 h 5142621"/>
              <a:gd name="connsiteX4159" fmla="*/ 2191943 w 6268558"/>
              <a:gd name="connsiteY4159" fmla="*/ 1090299 h 5142621"/>
              <a:gd name="connsiteX4160" fmla="*/ 2167628 w 6268558"/>
              <a:gd name="connsiteY4160" fmla="*/ 1133739 h 5142621"/>
              <a:gd name="connsiteX4161" fmla="*/ 2133739 w 6268558"/>
              <a:gd name="connsiteY4161" fmla="*/ 1217082 h 5142621"/>
              <a:gd name="connsiteX4162" fmla="*/ 2096006 w 6268558"/>
              <a:gd name="connsiteY4162" fmla="*/ 1374666 h 5142621"/>
              <a:gd name="connsiteX4163" fmla="*/ 2080158 w 6268558"/>
              <a:gd name="connsiteY4163" fmla="*/ 1526732 h 5142621"/>
              <a:gd name="connsiteX4164" fmla="*/ 2080984 w 6268558"/>
              <a:gd name="connsiteY4164" fmla="*/ 1674811 h 5142621"/>
              <a:gd name="connsiteX4165" fmla="*/ 2215031 w 6268558"/>
              <a:gd name="connsiteY4165" fmla="*/ 2212573 h 5142621"/>
              <a:gd name="connsiteX4166" fmla="*/ 2452608 w 6268558"/>
              <a:gd name="connsiteY4166" fmla="*/ 2648438 h 5142621"/>
              <a:gd name="connsiteX4167" fmla="*/ 2511755 w 6268558"/>
              <a:gd name="connsiteY4167" fmla="*/ 2742889 h 5142621"/>
              <a:gd name="connsiteX4168" fmla="*/ 2540031 w 6268558"/>
              <a:gd name="connsiteY4168" fmla="*/ 2788334 h 5142621"/>
              <a:gd name="connsiteX4169" fmla="*/ 2567128 w 6268558"/>
              <a:gd name="connsiteY4169" fmla="*/ 2832835 h 5142621"/>
              <a:gd name="connsiteX4170" fmla="*/ 2616511 w 6268558"/>
              <a:gd name="connsiteY4170" fmla="*/ 2920235 h 5142621"/>
              <a:gd name="connsiteX4171" fmla="*/ 2636840 w 6268558"/>
              <a:gd name="connsiteY4171" fmla="*/ 2965443 h 5142621"/>
              <a:gd name="connsiteX4172" fmla="*/ 2650118 w 6268558"/>
              <a:gd name="connsiteY4172" fmla="*/ 3014850 h 5142621"/>
              <a:gd name="connsiteX4173" fmla="*/ 2651014 w 6268558"/>
              <a:gd name="connsiteY4173" fmla="*/ 3042042 h 5142621"/>
              <a:gd name="connsiteX4174" fmla="*/ 2645472 w 6268558"/>
              <a:gd name="connsiteY4174" fmla="*/ 3069823 h 5142621"/>
              <a:gd name="connsiteX4175" fmla="*/ 2633114 w 6268558"/>
              <a:gd name="connsiteY4175" fmla="*/ 3095717 h 5142621"/>
              <a:gd name="connsiteX4176" fmla="*/ 2615498 w 6268558"/>
              <a:gd name="connsiteY4176" fmla="*/ 3118263 h 5142621"/>
              <a:gd name="connsiteX4177" fmla="*/ 2569746 w 6268558"/>
              <a:gd name="connsiteY4177" fmla="*/ 3154133 h 5142621"/>
              <a:gd name="connsiteX4178" fmla="*/ 2556539 w 6268558"/>
              <a:gd name="connsiteY4178" fmla="*/ 3161467 h 5142621"/>
              <a:gd name="connsiteX4179" fmla="*/ 2549700 w 6268558"/>
              <a:gd name="connsiteY4179" fmla="*/ 3164910 h 5142621"/>
              <a:gd name="connsiteX4180" fmla="*/ 2542649 w 6268558"/>
              <a:gd name="connsiteY4180" fmla="*/ 3168118 h 5142621"/>
              <a:gd name="connsiteX4181" fmla="*/ 2535432 w 6268558"/>
              <a:gd name="connsiteY4181" fmla="*/ 3171184 h 5142621"/>
              <a:gd name="connsiteX4182" fmla="*/ 2528051 w 6268558"/>
              <a:gd name="connsiteY4182" fmla="*/ 3174084 h 5142621"/>
              <a:gd name="connsiteX4183" fmla="*/ 2512840 w 6268558"/>
              <a:gd name="connsiteY4183" fmla="*/ 3179532 h 5142621"/>
              <a:gd name="connsiteX4184" fmla="*/ 2165176 w 6268558"/>
              <a:gd name="connsiteY4184" fmla="*/ 3188470 h 5142621"/>
              <a:gd name="connsiteX4185" fmla="*/ 1522486 w 6268558"/>
              <a:gd name="connsiteY4185" fmla="*/ 2935847 h 5142621"/>
              <a:gd name="connsiteX4186" fmla="*/ 436337 w 6268558"/>
              <a:gd name="connsiteY4186" fmla="*/ 2102298 h 5142621"/>
              <a:gd name="connsiteX4187" fmla="*/ 1522863 w 6268558"/>
              <a:gd name="connsiteY4187" fmla="*/ 2935870 h 5142621"/>
              <a:gd name="connsiteX4188" fmla="*/ 2165364 w 6268558"/>
              <a:gd name="connsiteY4188" fmla="*/ 3188116 h 5142621"/>
              <a:gd name="connsiteX4189" fmla="*/ 2512674 w 6268558"/>
              <a:gd name="connsiteY4189" fmla="*/ 3178801 h 5142621"/>
              <a:gd name="connsiteX4190" fmla="*/ 2527862 w 6268558"/>
              <a:gd name="connsiteY4190" fmla="*/ 3173330 h 5142621"/>
              <a:gd name="connsiteX4191" fmla="*/ 2535220 w 6268558"/>
              <a:gd name="connsiteY4191" fmla="*/ 3170429 h 5142621"/>
              <a:gd name="connsiteX4192" fmla="*/ 2542390 w 6268558"/>
              <a:gd name="connsiteY4192" fmla="*/ 3167363 h 5142621"/>
              <a:gd name="connsiteX4193" fmla="*/ 2549417 w 6268558"/>
              <a:gd name="connsiteY4193" fmla="*/ 3164156 h 5142621"/>
              <a:gd name="connsiteX4194" fmla="*/ 2556257 w 6268558"/>
              <a:gd name="connsiteY4194" fmla="*/ 3160689 h 5142621"/>
              <a:gd name="connsiteX4195" fmla="*/ 2569416 w 6268558"/>
              <a:gd name="connsiteY4195" fmla="*/ 3153331 h 5142621"/>
              <a:gd name="connsiteX4196" fmla="*/ 2614908 w 6268558"/>
              <a:gd name="connsiteY4196" fmla="*/ 3117555 h 5142621"/>
              <a:gd name="connsiteX4197" fmla="*/ 2632359 w 6268558"/>
              <a:gd name="connsiteY4197" fmla="*/ 3095175 h 5142621"/>
              <a:gd name="connsiteX4198" fmla="*/ 2644552 w 6268558"/>
              <a:gd name="connsiteY4198" fmla="*/ 3069634 h 5142621"/>
              <a:gd name="connsiteX4199" fmla="*/ 2649127 w 6268558"/>
              <a:gd name="connsiteY4199" fmla="*/ 3015534 h 5142621"/>
              <a:gd name="connsiteX4200" fmla="*/ 2635969 w 6268558"/>
              <a:gd name="connsiteY4200" fmla="*/ 2966576 h 5142621"/>
              <a:gd name="connsiteX4201" fmla="*/ 2615710 w 6268558"/>
              <a:gd name="connsiteY4201" fmla="*/ 2921579 h 5142621"/>
              <a:gd name="connsiteX4202" fmla="*/ 2566397 w 6268558"/>
              <a:gd name="connsiteY4202" fmla="*/ 2834439 h 5142621"/>
              <a:gd name="connsiteX4203" fmla="*/ 2539324 w 6268558"/>
              <a:gd name="connsiteY4203" fmla="*/ 2790055 h 5142621"/>
              <a:gd name="connsiteX4204" fmla="*/ 2511071 w 6268558"/>
              <a:gd name="connsiteY4204" fmla="*/ 2744728 h 5142621"/>
              <a:gd name="connsiteX4205" fmla="*/ 2451924 w 6268558"/>
              <a:gd name="connsiteY4205" fmla="*/ 2650513 h 5142621"/>
              <a:gd name="connsiteX4206" fmla="*/ 2213852 w 6268558"/>
              <a:gd name="connsiteY4206" fmla="*/ 2215615 h 5142621"/>
              <a:gd name="connsiteX4207" fmla="*/ 2077894 w 6268558"/>
              <a:gd name="connsiteY4207" fmla="*/ 1678631 h 5142621"/>
              <a:gd name="connsiteX4208" fmla="*/ 2076338 w 6268558"/>
              <a:gd name="connsiteY4208" fmla="*/ 1530669 h 5142621"/>
              <a:gd name="connsiteX4209" fmla="*/ 2091360 w 6268558"/>
              <a:gd name="connsiteY4209" fmla="*/ 1378604 h 5142621"/>
              <a:gd name="connsiteX4210" fmla="*/ 2128362 w 6268558"/>
              <a:gd name="connsiteY4210" fmla="*/ 1220478 h 5142621"/>
              <a:gd name="connsiteX4211" fmla="*/ 2162275 w 6268558"/>
              <a:gd name="connsiteY4211" fmla="*/ 1135979 h 5142621"/>
              <a:gd name="connsiteX4212" fmla="*/ 2187061 w 6268558"/>
              <a:gd name="connsiteY4212" fmla="*/ 1091289 h 5142621"/>
              <a:gd name="connsiteX4213" fmla="*/ 2220078 w 6268558"/>
              <a:gd name="connsiteY4213" fmla="*/ 1045467 h 5142621"/>
              <a:gd name="connsiteX4214" fmla="*/ 2261537 w 6268558"/>
              <a:gd name="connsiteY4214" fmla="*/ 1001602 h 5142621"/>
              <a:gd name="connsiteX4215" fmla="*/ 2308019 w 6268558"/>
              <a:gd name="connsiteY4215" fmla="*/ 963067 h 5142621"/>
              <a:gd name="connsiteX4216" fmla="*/ 2356506 w 6268558"/>
              <a:gd name="connsiteY4216" fmla="*/ 929908 h 5142621"/>
              <a:gd name="connsiteX4217" fmla="*/ 2406173 w 6268558"/>
              <a:gd name="connsiteY4217" fmla="*/ 900523 h 5142621"/>
              <a:gd name="connsiteX4218" fmla="*/ 2509514 w 6268558"/>
              <a:gd name="connsiteY4218" fmla="*/ 848382 h 5142621"/>
              <a:gd name="connsiteX4219" fmla="*/ 2620191 w 6268558"/>
              <a:gd name="connsiteY4219" fmla="*/ 800908 h 5142621"/>
              <a:gd name="connsiteX4220" fmla="*/ 3179133 w 6268558"/>
              <a:gd name="connsiteY4220" fmla="*/ 634882 h 5142621"/>
              <a:gd name="connsiteX4221" fmla="*/ 4640069 w 6268558"/>
              <a:gd name="connsiteY4221" fmla="*/ 502472 h 5142621"/>
              <a:gd name="connsiteX4222" fmla="*/ 4762649 w 6268558"/>
              <a:gd name="connsiteY4222" fmla="*/ 451263 h 5142621"/>
              <a:gd name="connsiteX4223" fmla="*/ 5341549 w 6268558"/>
              <a:gd name="connsiteY4223" fmla="*/ 465742 h 5142621"/>
              <a:gd name="connsiteX4224" fmla="*/ 5323295 w 6268558"/>
              <a:gd name="connsiteY4224" fmla="*/ 469751 h 5142621"/>
              <a:gd name="connsiteX4225" fmla="*/ 3155266 w 6268558"/>
              <a:gd name="connsiteY4225" fmla="*/ 589954 h 5142621"/>
              <a:gd name="connsiteX4226" fmla="*/ 2606321 w 6268558"/>
              <a:gd name="connsiteY4226" fmla="*/ 750273 h 5142621"/>
              <a:gd name="connsiteX4227" fmla="*/ 2496965 w 6268558"/>
              <a:gd name="connsiteY4227" fmla="*/ 795553 h 5142621"/>
              <a:gd name="connsiteX4228" fmla="*/ 2394755 w 6268558"/>
              <a:gd name="connsiteY4228" fmla="*/ 845078 h 5142621"/>
              <a:gd name="connsiteX4229" fmla="*/ 2345726 w 6268558"/>
              <a:gd name="connsiteY4229" fmla="*/ 872859 h 5142621"/>
              <a:gd name="connsiteX4230" fmla="*/ 2298064 w 6268558"/>
              <a:gd name="connsiteY4230" fmla="*/ 904059 h 5142621"/>
              <a:gd name="connsiteX4231" fmla="*/ 2252690 w 6268558"/>
              <a:gd name="connsiteY4231" fmla="*/ 940071 h 5142621"/>
              <a:gd name="connsiteX4232" fmla="*/ 2212198 w 6268558"/>
              <a:gd name="connsiteY4232" fmla="*/ 981011 h 5142621"/>
              <a:gd name="connsiteX4233" fmla="*/ 2179181 w 6268558"/>
              <a:gd name="connsiteY4233" fmla="*/ 1024499 h 5142621"/>
              <a:gd name="connsiteX4234" fmla="*/ 2153499 w 6268558"/>
              <a:gd name="connsiteY4234" fmla="*/ 1067916 h 5142621"/>
              <a:gd name="connsiteX4235" fmla="*/ 2116804 w 6268558"/>
              <a:gd name="connsiteY4235" fmla="*/ 1151825 h 5142621"/>
              <a:gd name="connsiteX4236" fmla="*/ 2073528 w 6268558"/>
              <a:gd name="connsiteY4236" fmla="*/ 1311672 h 5142621"/>
              <a:gd name="connsiteX4237" fmla="*/ 2052351 w 6268558"/>
              <a:gd name="connsiteY4237" fmla="*/ 1466708 h 5142621"/>
              <a:gd name="connsiteX4238" fmla="*/ 2048247 w 6268558"/>
              <a:gd name="connsiteY4238" fmla="*/ 1618112 h 5142621"/>
              <a:gd name="connsiteX4239" fmla="*/ 2168922 w 6268558"/>
              <a:gd name="connsiteY4239" fmla="*/ 2170595 h 5142621"/>
              <a:gd name="connsiteX4240" fmla="*/ 2404000 w 6268558"/>
              <a:gd name="connsiteY4240" fmla="*/ 2619007 h 5142621"/>
              <a:gd name="connsiteX4241" fmla="*/ 2463831 w 6268558"/>
              <a:gd name="connsiteY4241" fmla="*/ 2715698 h 5142621"/>
              <a:gd name="connsiteX4242" fmla="*/ 2492579 w 6268558"/>
              <a:gd name="connsiteY4242" fmla="*/ 2762086 h 5142621"/>
              <a:gd name="connsiteX4243" fmla="*/ 2520218 w 6268558"/>
              <a:gd name="connsiteY4243" fmla="*/ 2807413 h 5142621"/>
              <a:gd name="connsiteX4244" fmla="*/ 2570875 w 6268558"/>
              <a:gd name="connsiteY4244" fmla="*/ 2896086 h 5142621"/>
              <a:gd name="connsiteX4245" fmla="*/ 2591864 w 6268558"/>
              <a:gd name="connsiteY4245" fmla="*/ 2941649 h 5142621"/>
              <a:gd name="connsiteX4246" fmla="*/ 2605684 w 6268558"/>
              <a:gd name="connsiteY4246" fmla="*/ 2991008 h 5142621"/>
              <a:gd name="connsiteX4247" fmla="*/ 2606721 w 6268558"/>
              <a:gd name="connsiteY4247" fmla="*/ 3017893 h 5142621"/>
              <a:gd name="connsiteX4248" fmla="*/ 2601132 w 6268558"/>
              <a:gd name="connsiteY4248" fmla="*/ 3045108 h 5142621"/>
              <a:gd name="connsiteX4249" fmla="*/ 2588515 w 6268558"/>
              <a:gd name="connsiteY4249" fmla="*/ 3070177 h 5142621"/>
              <a:gd name="connsiteX4250" fmla="*/ 2570474 w 6268558"/>
              <a:gd name="connsiteY4250" fmla="*/ 3091732 h 5142621"/>
              <a:gd name="connsiteX4251" fmla="*/ 2523520 w 6268558"/>
              <a:gd name="connsiteY4251" fmla="*/ 3125267 h 5142621"/>
              <a:gd name="connsiteX4252" fmla="*/ 2509960 w 6268558"/>
              <a:gd name="connsiteY4252" fmla="*/ 3131965 h 5142621"/>
              <a:gd name="connsiteX4253" fmla="*/ 2502932 w 6268558"/>
              <a:gd name="connsiteY4253" fmla="*/ 3135102 h 5142621"/>
              <a:gd name="connsiteX4254" fmla="*/ 2495692 w 6268558"/>
              <a:gd name="connsiteY4254" fmla="*/ 3137979 h 5142621"/>
              <a:gd name="connsiteX4255" fmla="*/ 2488263 w 6268558"/>
              <a:gd name="connsiteY4255" fmla="*/ 3140715 h 5142621"/>
              <a:gd name="connsiteX4256" fmla="*/ 2480693 w 6268558"/>
              <a:gd name="connsiteY4256" fmla="*/ 3143261 h 5142621"/>
              <a:gd name="connsiteX4257" fmla="*/ 2465057 w 6268558"/>
              <a:gd name="connsiteY4257" fmla="*/ 3148025 h 5142621"/>
              <a:gd name="connsiteX4258" fmla="*/ 2108148 w 6268558"/>
              <a:gd name="connsiteY4258" fmla="*/ 3141682 h 5142621"/>
              <a:gd name="connsiteX4259" fmla="*/ 1454988 w 6268558"/>
              <a:gd name="connsiteY4259" fmla="*/ 2862881 h 5142621"/>
              <a:gd name="connsiteX4260" fmla="*/ 379121 w 6268558"/>
              <a:gd name="connsiteY4260" fmla="*/ 2005300 h 5142621"/>
              <a:gd name="connsiteX4261" fmla="*/ 1455365 w 6268558"/>
              <a:gd name="connsiteY4261" fmla="*/ 2862904 h 5142621"/>
              <a:gd name="connsiteX4262" fmla="*/ 2108337 w 6268558"/>
              <a:gd name="connsiteY4262" fmla="*/ 3141304 h 5142621"/>
              <a:gd name="connsiteX4263" fmla="*/ 2464868 w 6268558"/>
              <a:gd name="connsiteY4263" fmla="*/ 3147247 h 5142621"/>
              <a:gd name="connsiteX4264" fmla="*/ 2480481 w 6268558"/>
              <a:gd name="connsiteY4264" fmla="*/ 3142483 h 5142621"/>
              <a:gd name="connsiteX4265" fmla="*/ 2488051 w 6268558"/>
              <a:gd name="connsiteY4265" fmla="*/ 3139913 h 5142621"/>
              <a:gd name="connsiteX4266" fmla="*/ 2495432 w 6268558"/>
              <a:gd name="connsiteY4266" fmla="*/ 3137177 h 5142621"/>
              <a:gd name="connsiteX4267" fmla="*/ 2502649 w 6268558"/>
              <a:gd name="connsiteY4267" fmla="*/ 3134300 h 5142621"/>
              <a:gd name="connsiteX4268" fmla="*/ 2509653 w 6268558"/>
              <a:gd name="connsiteY4268" fmla="*/ 3131163 h 5142621"/>
              <a:gd name="connsiteX4269" fmla="*/ 2523166 w 6268558"/>
              <a:gd name="connsiteY4269" fmla="*/ 3124442 h 5142621"/>
              <a:gd name="connsiteX4270" fmla="*/ 2569861 w 6268558"/>
              <a:gd name="connsiteY4270" fmla="*/ 3090978 h 5142621"/>
              <a:gd name="connsiteX4271" fmla="*/ 2587713 w 6268558"/>
              <a:gd name="connsiteY4271" fmla="*/ 3069587 h 5142621"/>
              <a:gd name="connsiteX4272" fmla="*/ 2600142 w 6268558"/>
              <a:gd name="connsiteY4272" fmla="*/ 3044872 h 5142621"/>
              <a:gd name="connsiteX4273" fmla="*/ 2604599 w 6268558"/>
              <a:gd name="connsiteY4273" fmla="*/ 2991645 h 5142621"/>
              <a:gd name="connsiteX4274" fmla="*/ 2590873 w 6268558"/>
              <a:gd name="connsiteY4274" fmla="*/ 2942734 h 5142621"/>
              <a:gd name="connsiteX4275" fmla="*/ 2569955 w 6268558"/>
              <a:gd name="connsiteY4275" fmla="*/ 2897406 h 5142621"/>
              <a:gd name="connsiteX4276" fmla="*/ 2519369 w 6268558"/>
              <a:gd name="connsiteY4276" fmla="*/ 2809017 h 5142621"/>
              <a:gd name="connsiteX4277" fmla="*/ 2491753 w 6268558"/>
              <a:gd name="connsiteY4277" fmla="*/ 2763807 h 5142621"/>
              <a:gd name="connsiteX4278" fmla="*/ 2463005 w 6268558"/>
              <a:gd name="connsiteY4278" fmla="*/ 2717537 h 5142621"/>
              <a:gd name="connsiteX4279" fmla="*/ 2403175 w 6268558"/>
              <a:gd name="connsiteY4279" fmla="*/ 2621082 h 5142621"/>
              <a:gd name="connsiteX4280" fmla="*/ 2167555 w 6268558"/>
              <a:gd name="connsiteY4280" fmla="*/ 2173614 h 5142621"/>
              <a:gd name="connsiteX4281" fmla="*/ 2044922 w 6268558"/>
              <a:gd name="connsiteY4281" fmla="*/ 1621862 h 5142621"/>
              <a:gd name="connsiteX4282" fmla="*/ 2048294 w 6268558"/>
              <a:gd name="connsiteY4282" fmla="*/ 1470528 h 5142621"/>
              <a:gd name="connsiteX4283" fmla="*/ 2068670 w 6268558"/>
              <a:gd name="connsiteY4283" fmla="*/ 1315469 h 5142621"/>
              <a:gd name="connsiteX4284" fmla="*/ 2111238 w 6268558"/>
              <a:gd name="connsiteY4284" fmla="*/ 1155032 h 5142621"/>
              <a:gd name="connsiteX4285" fmla="*/ 2148004 w 6268558"/>
              <a:gd name="connsiteY4285" fmla="*/ 1069944 h 5142621"/>
              <a:gd name="connsiteX4286" fmla="*/ 2174205 w 6268558"/>
              <a:gd name="connsiteY4286" fmla="*/ 1025277 h 5142621"/>
              <a:gd name="connsiteX4287" fmla="*/ 2208566 w 6268558"/>
              <a:gd name="connsiteY4287" fmla="*/ 979832 h 5142621"/>
              <a:gd name="connsiteX4288" fmla="*/ 2251157 w 6268558"/>
              <a:gd name="connsiteY4288" fmla="*/ 936746 h 5142621"/>
              <a:gd name="connsiteX4289" fmla="*/ 2298441 w 6268558"/>
              <a:gd name="connsiteY4289" fmla="*/ 899272 h 5142621"/>
              <a:gd name="connsiteX4290" fmla="*/ 2347447 w 6268558"/>
              <a:gd name="connsiteY4290" fmla="*/ 867293 h 5142621"/>
              <a:gd name="connsiteX4291" fmla="*/ 2397397 w 6268558"/>
              <a:gd name="connsiteY4291" fmla="*/ 839111 h 5142621"/>
              <a:gd name="connsiteX4292" fmla="*/ 2500786 w 6268558"/>
              <a:gd name="connsiteY4292" fmla="*/ 789256 h 5142621"/>
              <a:gd name="connsiteX4293" fmla="*/ 2610943 w 6268558"/>
              <a:gd name="connsiteY4293" fmla="*/ 743906 h 5142621"/>
              <a:gd name="connsiteX4294" fmla="*/ 3162483 w 6268558"/>
              <a:gd name="connsiteY4294" fmla="*/ 583941 h 5142621"/>
              <a:gd name="connsiteX4295" fmla="*/ 4762649 w 6268558"/>
              <a:gd name="connsiteY4295" fmla="*/ 451263 h 5142621"/>
              <a:gd name="connsiteX4296" fmla="*/ 4707320 w 6268558"/>
              <a:gd name="connsiteY4296" fmla="*/ 399570 h 5142621"/>
              <a:gd name="connsiteX4297" fmla="*/ 5271200 w 6268558"/>
              <a:gd name="connsiteY4297" fmla="*/ 411194 h 5142621"/>
              <a:gd name="connsiteX4298" fmla="*/ 5253914 w 6268558"/>
              <a:gd name="connsiteY4298" fmla="*/ 415321 h 5142621"/>
              <a:gd name="connsiteX4299" fmla="*/ 3139112 w 6268558"/>
              <a:gd name="connsiteY4299" fmla="*/ 538261 h 5142621"/>
              <a:gd name="connsiteX4300" fmla="*/ 2598352 w 6268558"/>
              <a:gd name="connsiteY4300" fmla="*/ 691740 h 5142621"/>
              <a:gd name="connsiteX4301" fmla="*/ 2489680 w 6268558"/>
              <a:gd name="connsiteY4301" fmla="*/ 734709 h 5142621"/>
              <a:gd name="connsiteX4302" fmla="*/ 2387612 w 6268558"/>
              <a:gd name="connsiteY4302" fmla="*/ 781734 h 5142621"/>
              <a:gd name="connsiteX4303" fmla="*/ 2338394 w 6268558"/>
              <a:gd name="connsiteY4303" fmla="*/ 808241 h 5142621"/>
              <a:gd name="connsiteX4304" fmla="*/ 2290331 w 6268558"/>
              <a:gd name="connsiteY4304" fmla="*/ 838169 h 5142621"/>
              <a:gd name="connsiteX4305" fmla="*/ 2244273 w 6268558"/>
              <a:gd name="connsiteY4305" fmla="*/ 873025 h 5142621"/>
              <a:gd name="connsiteX4306" fmla="*/ 2202790 w 6268558"/>
              <a:gd name="connsiteY4306" fmla="*/ 913092 h 5142621"/>
              <a:gd name="connsiteX4307" fmla="*/ 2168548 w 6268558"/>
              <a:gd name="connsiteY4307" fmla="*/ 956108 h 5142621"/>
              <a:gd name="connsiteX4308" fmla="*/ 2141521 w 6268558"/>
              <a:gd name="connsiteY4308" fmla="*/ 999383 h 5142621"/>
              <a:gd name="connsiteX4309" fmla="*/ 2102043 w 6268558"/>
              <a:gd name="connsiteY4309" fmla="*/ 1083670 h 5142621"/>
              <a:gd name="connsiteX4310" fmla="*/ 2053108 w 6268558"/>
              <a:gd name="connsiteY4310" fmla="*/ 1245523 h 5142621"/>
              <a:gd name="connsiteX4311" fmla="*/ 2026341 w 6268558"/>
              <a:gd name="connsiteY4311" fmla="*/ 1403341 h 5142621"/>
              <a:gd name="connsiteX4312" fmla="*/ 2016931 w 6268558"/>
              <a:gd name="connsiteY4312" fmla="*/ 1558000 h 5142621"/>
              <a:gd name="connsiteX4313" fmla="*/ 2122702 w 6268558"/>
              <a:gd name="connsiteY4313" fmla="*/ 2125339 h 5142621"/>
              <a:gd name="connsiteX4314" fmla="*/ 2354218 w 6268558"/>
              <a:gd name="connsiteY4314" fmla="*/ 2587027 h 5142621"/>
              <a:gd name="connsiteX4315" fmla="*/ 2414568 w 6268558"/>
              <a:gd name="connsiteY4315" fmla="*/ 2686195 h 5142621"/>
              <a:gd name="connsiteX4316" fmla="*/ 2443717 w 6268558"/>
              <a:gd name="connsiteY4316" fmla="*/ 2733668 h 5142621"/>
              <a:gd name="connsiteX4317" fmla="*/ 2471852 w 6268558"/>
              <a:gd name="connsiteY4317" fmla="*/ 2779962 h 5142621"/>
              <a:gd name="connsiteX4318" fmla="*/ 2523687 w 6268558"/>
              <a:gd name="connsiteY4318" fmla="*/ 2870144 h 5142621"/>
              <a:gd name="connsiteX4319" fmla="*/ 2545290 w 6268558"/>
              <a:gd name="connsiteY4319" fmla="*/ 2916155 h 5142621"/>
              <a:gd name="connsiteX4320" fmla="*/ 2559605 w 6268558"/>
              <a:gd name="connsiteY4320" fmla="*/ 2965538 h 5142621"/>
              <a:gd name="connsiteX4321" fmla="*/ 2560760 w 6268558"/>
              <a:gd name="connsiteY4321" fmla="*/ 2992140 h 5142621"/>
              <a:gd name="connsiteX4322" fmla="*/ 2555100 w 6268558"/>
              <a:gd name="connsiteY4322" fmla="*/ 3018766 h 5142621"/>
              <a:gd name="connsiteX4323" fmla="*/ 2542177 w 6268558"/>
              <a:gd name="connsiteY4323" fmla="*/ 3042985 h 5142621"/>
              <a:gd name="connsiteX4324" fmla="*/ 2523664 w 6268558"/>
              <a:gd name="connsiteY4324" fmla="*/ 3063503 h 5142621"/>
              <a:gd name="connsiteX4325" fmla="*/ 2475389 w 6268558"/>
              <a:gd name="connsiteY4325" fmla="*/ 3094633 h 5142621"/>
              <a:gd name="connsiteX4326" fmla="*/ 2461428 w 6268558"/>
              <a:gd name="connsiteY4326" fmla="*/ 3100670 h 5142621"/>
              <a:gd name="connsiteX4327" fmla="*/ 2454188 w 6268558"/>
              <a:gd name="connsiteY4327" fmla="*/ 3103453 h 5142621"/>
              <a:gd name="connsiteX4328" fmla="*/ 2446735 w 6268558"/>
              <a:gd name="connsiteY4328" fmla="*/ 3105976 h 5142621"/>
              <a:gd name="connsiteX4329" fmla="*/ 2439094 w 6268558"/>
              <a:gd name="connsiteY4329" fmla="*/ 3108358 h 5142621"/>
              <a:gd name="connsiteX4330" fmla="*/ 2431288 w 6268558"/>
              <a:gd name="connsiteY4330" fmla="*/ 3110551 h 5142621"/>
              <a:gd name="connsiteX4331" fmla="*/ 2415205 w 6268558"/>
              <a:gd name="connsiteY4331" fmla="*/ 3114561 h 5142621"/>
              <a:gd name="connsiteX4332" fmla="*/ 2048981 w 6268558"/>
              <a:gd name="connsiteY4332" fmla="*/ 3092298 h 5142621"/>
              <a:gd name="connsiteX4333" fmla="*/ 1386599 w 6268558"/>
              <a:gd name="connsiteY4333" fmla="*/ 2787296 h 5142621"/>
              <a:gd name="connsiteX4334" fmla="*/ 324551 w 6268558"/>
              <a:gd name="connsiteY4334" fmla="*/ 1909623 h 5142621"/>
              <a:gd name="connsiteX4335" fmla="*/ 1386976 w 6268558"/>
              <a:gd name="connsiteY4335" fmla="*/ 2787320 h 5142621"/>
              <a:gd name="connsiteX4336" fmla="*/ 2049169 w 6268558"/>
              <a:gd name="connsiteY4336" fmla="*/ 3091920 h 5142621"/>
              <a:gd name="connsiteX4337" fmla="*/ 2415016 w 6268558"/>
              <a:gd name="connsiteY4337" fmla="*/ 3113782 h 5142621"/>
              <a:gd name="connsiteX4338" fmla="*/ 2431076 w 6268558"/>
              <a:gd name="connsiteY4338" fmla="*/ 3109749 h 5142621"/>
              <a:gd name="connsiteX4339" fmla="*/ 2438859 w 6268558"/>
              <a:gd name="connsiteY4339" fmla="*/ 3107556 h 5142621"/>
              <a:gd name="connsiteX4340" fmla="*/ 2446452 w 6268558"/>
              <a:gd name="connsiteY4340" fmla="*/ 3105174 h 5142621"/>
              <a:gd name="connsiteX4341" fmla="*/ 2453881 w 6268558"/>
              <a:gd name="connsiteY4341" fmla="*/ 3102651 h 5142621"/>
              <a:gd name="connsiteX4342" fmla="*/ 2461097 w 6268558"/>
              <a:gd name="connsiteY4342" fmla="*/ 3099868 h 5142621"/>
              <a:gd name="connsiteX4343" fmla="*/ 2475012 w 6268558"/>
              <a:gd name="connsiteY4343" fmla="*/ 3093831 h 5142621"/>
              <a:gd name="connsiteX4344" fmla="*/ 2523003 w 6268558"/>
              <a:gd name="connsiteY4344" fmla="*/ 3062772 h 5142621"/>
              <a:gd name="connsiteX4345" fmla="*/ 2541351 w 6268558"/>
              <a:gd name="connsiteY4345" fmla="*/ 3042419 h 5142621"/>
              <a:gd name="connsiteX4346" fmla="*/ 2554086 w 6268558"/>
              <a:gd name="connsiteY4346" fmla="*/ 3018529 h 5142621"/>
              <a:gd name="connsiteX4347" fmla="*/ 2558544 w 6268558"/>
              <a:gd name="connsiteY4347" fmla="*/ 2966128 h 5142621"/>
              <a:gd name="connsiteX4348" fmla="*/ 2544346 w 6268558"/>
              <a:gd name="connsiteY4348" fmla="*/ 2917169 h 5142621"/>
              <a:gd name="connsiteX4349" fmla="*/ 2522815 w 6268558"/>
              <a:gd name="connsiteY4349" fmla="*/ 2871394 h 5142621"/>
              <a:gd name="connsiteX4350" fmla="*/ 2471026 w 6268558"/>
              <a:gd name="connsiteY4350" fmla="*/ 2781495 h 5142621"/>
              <a:gd name="connsiteX4351" fmla="*/ 2442891 w 6268558"/>
              <a:gd name="connsiteY4351" fmla="*/ 2735319 h 5142621"/>
              <a:gd name="connsiteX4352" fmla="*/ 2413742 w 6268558"/>
              <a:gd name="connsiteY4352" fmla="*/ 2687964 h 5142621"/>
              <a:gd name="connsiteX4353" fmla="*/ 2353393 w 6268558"/>
              <a:gd name="connsiteY4353" fmla="*/ 2589008 h 5142621"/>
              <a:gd name="connsiteX4354" fmla="*/ 2121240 w 6268558"/>
              <a:gd name="connsiteY4354" fmla="*/ 2128239 h 5142621"/>
              <a:gd name="connsiteX4355" fmla="*/ 2013464 w 6268558"/>
              <a:gd name="connsiteY4355" fmla="*/ 1561538 h 5142621"/>
              <a:gd name="connsiteX4356" fmla="*/ 2022143 w 6268558"/>
              <a:gd name="connsiteY4356" fmla="*/ 1406950 h 5142621"/>
              <a:gd name="connsiteX4357" fmla="*/ 2048132 w 6268558"/>
              <a:gd name="connsiteY4357" fmla="*/ 1249084 h 5142621"/>
              <a:gd name="connsiteX4358" fmla="*/ 2096407 w 6268558"/>
              <a:gd name="connsiteY4358" fmla="*/ 1086618 h 5142621"/>
              <a:gd name="connsiteX4359" fmla="*/ 2136003 w 6268558"/>
              <a:gd name="connsiteY4359" fmla="*/ 1001152 h 5142621"/>
              <a:gd name="connsiteX4360" fmla="*/ 2163595 w 6268558"/>
              <a:gd name="connsiteY4360" fmla="*/ 956627 h 5142621"/>
              <a:gd name="connsiteX4361" fmla="*/ 2199229 w 6268558"/>
              <a:gd name="connsiteY4361" fmla="*/ 911701 h 5142621"/>
              <a:gd name="connsiteX4362" fmla="*/ 2242858 w 6268558"/>
              <a:gd name="connsiteY4362" fmla="*/ 869534 h 5142621"/>
              <a:gd name="connsiteX4363" fmla="*/ 2290850 w 6268558"/>
              <a:gd name="connsiteY4363" fmla="*/ 833263 h 5142621"/>
              <a:gd name="connsiteX4364" fmla="*/ 2340257 w 6268558"/>
              <a:gd name="connsiteY4364" fmla="*/ 802605 h 5142621"/>
              <a:gd name="connsiteX4365" fmla="*/ 2390372 w 6268558"/>
              <a:gd name="connsiteY4365" fmla="*/ 775720 h 5142621"/>
              <a:gd name="connsiteX4366" fmla="*/ 2493595 w 6268558"/>
              <a:gd name="connsiteY4366" fmla="*/ 728389 h 5142621"/>
              <a:gd name="connsiteX4367" fmla="*/ 2603021 w 6268558"/>
              <a:gd name="connsiteY4367" fmla="*/ 685373 h 5142621"/>
              <a:gd name="connsiteX4368" fmla="*/ 3146163 w 6268558"/>
              <a:gd name="connsiteY4368" fmla="*/ 532247 h 5142621"/>
              <a:gd name="connsiteX4369" fmla="*/ 4707320 w 6268558"/>
              <a:gd name="connsiteY4369" fmla="*/ 399570 h 5142621"/>
              <a:gd name="connsiteX4370" fmla="*/ 4649296 w 6268558"/>
              <a:gd name="connsiteY4370" fmla="*/ 348123 h 5142621"/>
              <a:gd name="connsiteX4371" fmla="*/ 5197220 w 6268558"/>
              <a:gd name="connsiteY4371" fmla="*/ 357027 h 5142621"/>
              <a:gd name="connsiteX4372" fmla="*/ 5180924 w 6268558"/>
              <a:gd name="connsiteY4372" fmla="*/ 361225 h 5142621"/>
              <a:gd name="connsiteX4373" fmla="*/ 3123054 w 6268558"/>
              <a:gd name="connsiteY4373" fmla="*/ 485933 h 5142621"/>
              <a:gd name="connsiteX4374" fmla="*/ 2591539 w 6268558"/>
              <a:gd name="connsiteY4374" fmla="*/ 631819 h 5142621"/>
              <a:gd name="connsiteX4375" fmla="*/ 2483787 w 6268558"/>
              <a:gd name="connsiteY4375" fmla="*/ 672264 h 5142621"/>
              <a:gd name="connsiteX4376" fmla="*/ 2382073 w 6268558"/>
              <a:gd name="connsiteY4376" fmla="*/ 716553 h 5142621"/>
              <a:gd name="connsiteX4377" fmla="*/ 2332808 w 6268558"/>
              <a:gd name="connsiteY4377" fmla="*/ 741646 h 5142621"/>
              <a:gd name="connsiteX4378" fmla="*/ 2284463 w 6268558"/>
              <a:gd name="connsiteY4378" fmla="*/ 770182 h 5142621"/>
              <a:gd name="connsiteX4379" fmla="*/ 2237862 w 6268558"/>
              <a:gd name="connsiteY4379" fmla="*/ 803741 h 5142621"/>
              <a:gd name="connsiteX4380" fmla="*/ 2195507 w 6268558"/>
              <a:gd name="connsiteY4380" fmla="*/ 842771 h 5142621"/>
              <a:gd name="connsiteX4381" fmla="*/ 2160132 w 6268558"/>
              <a:gd name="connsiteY4381" fmla="*/ 885151 h 5142621"/>
              <a:gd name="connsiteX4382" fmla="*/ 2131856 w 6268558"/>
              <a:gd name="connsiteY4382" fmla="*/ 928167 h 5142621"/>
              <a:gd name="connsiteX4383" fmla="*/ 2089665 w 6268558"/>
              <a:gd name="connsiteY4383" fmla="*/ 1012595 h 5142621"/>
              <a:gd name="connsiteX4384" fmla="*/ 2034976 w 6268558"/>
              <a:gd name="connsiteY4384" fmla="*/ 1176122 h 5142621"/>
              <a:gd name="connsiteX4385" fmla="*/ 2002360 w 6268558"/>
              <a:gd name="connsiteY4385" fmla="*/ 1336535 h 5142621"/>
              <a:gd name="connsiteX4386" fmla="*/ 1987314 w 6268558"/>
              <a:gd name="connsiteY4386" fmla="*/ 1494307 h 5142621"/>
              <a:gd name="connsiteX4387" fmla="*/ 2076600 w 6268558"/>
              <a:gd name="connsiteY4387" fmla="*/ 2076616 h 5142621"/>
              <a:gd name="connsiteX4388" fmla="*/ 2303447 w 6268558"/>
              <a:gd name="connsiteY4388" fmla="*/ 2552313 h 5142621"/>
              <a:gd name="connsiteX4389" fmla="*/ 2364127 w 6268558"/>
              <a:gd name="connsiteY4389" fmla="*/ 2654193 h 5142621"/>
              <a:gd name="connsiteX4390" fmla="*/ 2393629 w 6268558"/>
              <a:gd name="connsiteY4390" fmla="*/ 2702869 h 5142621"/>
              <a:gd name="connsiteX4391" fmla="*/ 2422189 w 6268558"/>
              <a:gd name="connsiteY4391" fmla="*/ 2750247 h 5142621"/>
              <a:gd name="connsiteX4392" fmla="*/ 2475085 w 6268558"/>
              <a:gd name="connsiteY4392" fmla="*/ 2842175 h 5142621"/>
              <a:gd name="connsiteX4393" fmla="*/ 2497230 w 6268558"/>
              <a:gd name="connsiteY4393" fmla="*/ 2888752 h 5142621"/>
              <a:gd name="connsiteX4394" fmla="*/ 2511969 w 6268558"/>
              <a:gd name="connsiteY4394" fmla="*/ 2938277 h 5142621"/>
              <a:gd name="connsiteX4395" fmla="*/ 2513172 w 6268558"/>
              <a:gd name="connsiteY4395" fmla="*/ 2964642 h 5142621"/>
              <a:gd name="connsiteX4396" fmla="*/ 2507371 w 6268558"/>
              <a:gd name="connsiteY4396" fmla="*/ 2990726 h 5142621"/>
              <a:gd name="connsiteX4397" fmla="*/ 2494093 w 6268558"/>
              <a:gd name="connsiteY4397" fmla="*/ 3014073 h 5142621"/>
              <a:gd name="connsiteX4398" fmla="*/ 2475039 w 6268558"/>
              <a:gd name="connsiteY4398" fmla="*/ 3033529 h 5142621"/>
              <a:gd name="connsiteX4399" fmla="*/ 2425349 w 6268558"/>
              <a:gd name="connsiteY4399" fmla="*/ 3062135 h 5142621"/>
              <a:gd name="connsiteX4400" fmla="*/ 2410987 w 6268558"/>
              <a:gd name="connsiteY4400" fmla="*/ 3067489 h 5142621"/>
              <a:gd name="connsiteX4401" fmla="*/ 2403534 w 6268558"/>
              <a:gd name="connsiteY4401" fmla="*/ 3069918 h 5142621"/>
              <a:gd name="connsiteX4402" fmla="*/ 2395846 w 6268558"/>
              <a:gd name="connsiteY4402" fmla="*/ 3072088 h 5142621"/>
              <a:gd name="connsiteX4403" fmla="*/ 2387993 w 6268558"/>
              <a:gd name="connsiteY4403" fmla="*/ 3074092 h 5142621"/>
              <a:gd name="connsiteX4404" fmla="*/ 2379974 w 6268558"/>
              <a:gd name="connsiteY4404" fmla="*/ 3075908 h 5142621"/>
              <a:gd name="connsiteX4405" fmla="*/ 2363418 w 6268558"/>
              <a:gd name="connsiteY4405" fmla="*/ 3079163 h 5142621"/>
              <a:gd name="connsiteX4406" fmla="*/ 1987880 w 6268558"/>
              <a:gd name="connsiteY4406" fmla="*/ 3040368 h 5142621"/>
              <a:gd name="connsiteX4407" fmla="*/ 1317645 w 6268558"/>
              <a:gd name="connsiteY4407" fmla="*/ 2709330 h 5142621"/>
              <a:gd name="connsiteX4408" fmla="*/ 272931 w 6268558"/>
              <a:gd name="connsiteY4408" fmla="*/ 1815819 h 5142621"/>
              <a:gd name="connsiteX4409" fmla="*/ 1317999 w 6268558"/>
              <a:gd name="connsiteY4409" fmla="*/ 2709378 h 5142621"/>
              <a:gd name="connsiteX4410" fmla="*/ 1988045 w 6268558"/>
              <a:gd name="connsiteY4410" fmla="*/ 3040015 h 5142621"/>
              <a:gd name="connsiteX4411" fmla="*/ 2363207 w 6268558"/>
              <a:gd name="connsiteY4411" fmla="*/ 3078408 h 5142621"/>
              <a:gd name="connsiteX4412" fmla="*/ 2379738 w 6268558"/>
              <a:gd name="connsiteY4412" fmla="*/ 3075130 h 5142621"/>
              <a:gd name="connsiteX4413" fmla="*/ 2387757 w 6268558"/>
              <a:gd name="connsiteY4413" fmla="*/ 3073314 h 5142621"/>
              <a:gd name="connsiteX4414" fmla="*/ 2395563 w 6268558"/>
              <a:gd name="connsiteY4414" fmla="*/ 3071309 h 5142621"/>
              <a:gd name="connsiteX4415" fmla="*/ 2403203 w 6268558"/>
              <a:gd name="connsiteY4415" fmla="*/ 3069140 h 5142621"/>
              <a:gd name="connsiteX4416" fmla="*/ 2410632 w 6268558"/>
              <a:gd name="connsiteY4416" fmla="*/ 3066711 h 5142621"/>
              <a:gd name="connsiteX4417" fmla="*/ 2424948 w 6268558"/>
              <a:gd name="connsiteY4417" fmla="*/ 3061357 h 5142621"/>
              <a:gd name="connsiteX4418" fmla="*/ 2474377 w 6268558"/>
              <a:gd name="connsiteY4418" fmla="*/ 3032798 h 5142621"/>
              <a:gd name="connsiteX4419" fmla="*/ 2493244 w 6268558"/>
              <a:gd name="connsiteY4419" fmla="*/ 3013483 h 5142621"/>
              <a:gd name="connsiteX4420" fmla="*/ 2506334 w 6268558"/>
              <a:gd name="connsiteY4420" fmla="*/ 2990443 h 5142621"/>
              <a:gd name="connsiteX4421" fmla="*/ 2510861 w 6268558"/>
              <a:gd name="connsiteY4421" fmla="*/ 2938819 h 5142621"/>
              <a:gd name="connsiteX4422" fmla="*/ 2496240 w 6268558"/>
              <a:gd name="connsiteY4422" fmla="*/ 2889742 h 5142621"/>
              <a:gd name="connsiteX4423" fmla="*/ 2474166 w 6268558"/>
              <a:gd name="connsiteY4423" fmla="*/ 2843401 h 5142621"/>
              <a:gd name="connsiteX4424" fmla="*/ 2421315 w 6268558"/>
              <a:gd name="connsiteY4424" fmla="*/ 2751733 h 5142621"/>
              <a:gd name="connsiteX4425" fmla="*/ 2392757 w 6268558"/>
              <a:gd name="connsiteY4425" fmla="*/ 2704472 h 5142621"/>
              <a:gd name="connsiteX4426" fmla="*/ 2363254 w 6268558"/>
              <a:gd name="connsiteY4426" fmla="*/ 2655914 h 5142621"/>
              <a:gd name="connsiteX4427" fmla="*/ 2302551 w 6268558"/>
              <a:gd name="connsiteY4427" fmla="*/ 2554247 h 5142621"/>
              <a:gd name="connsiteX4428" fmla="*/ 2075020 w 6268558"/>
              <a:gd name="connsiteY4428" fmla="*/ 2079423 h 5142621"/>
              <a:gd name="connsiteX4429" fmla="*/ 1983682 w 6268558"/>
              <a:gd name="connsiteY4429" fmla="*/ 1497703 h 5142621"/>
              <a:gd name="connsiteX4430" fmla="*/ 1997998 w 6268558"/>
              <a:gd name="connsiteY4430" fmla="*/ 1339954 h 5142621"/>
              <a:gd name="connsiteX4431" fmla="*/ 2029835 w 6268558"/>
              <a:gd name="connsiteY4431" fmla="*/ 1179470 h 5142621"/>
              <a:gd name="connsiteX4432" fmla="*/ 2083911 w 6268558"/>
              <a:gd name="connsiteY4432" fmla="*/ 1015307 h 5142621"/>
              <a:gd name="connsiteX4433" fmla="*/ 2126290 w 6268558"/>
              <a:gd name="connsiteY4433" fmla="*/ 929699 h 5142621"/>
              <a:gd name="connsiteX4434" fmla="*/ 2155203 w 6268558"/>
              <a:gd name="connsiteY4434" fmla="*/ 885457 h 5142621"/>
              <a:gd name="connsiteX4435" fmla="*/ 2192017 w 6268558"/>
              <a:gd name="connsiteY4435" fmla="*/ 841191 h 5142621"/>
              <a:gd name="connsiteX4436" fmla="*/ 2236565 w 6268558"/>
              <a:gd name="connsiteY4436" fmla="*/ 800109 h 5142621"/>
              <a:gd name="connsiteX4437" fmla="*/ 2285123 w 6268558"/>
              <a:gd name="connsiteY4437" fmla="*/ 765206 h 5142621"/>
              <a:gd name="connsiteX4438" fmla="*/ 2334789 w 6268558"/>
              <a:gd name="connsiteY4438" fmla="*/ 735986 h 5142621"/>
              <a:gd name="connsiteX4439" fmla="*/ 2384951 w 6268558"/>
              <a:gd name="connsiteY4439" fmla="*/ 710540 h 5142621"/>
              <a:gd name="connsiteX4440" fmla="*/ 2487774 w 6268558"/>
              <a:gd name="connsiteY4440" fmla="*/ 665967 h 5142621"/>
              <a:gd name="connsiteX4441" fmla="*/ 2596257 w 6268558"/>
              <a:gd name="connsiteY4441" fmla="*/ 625475 h 5142621"/>
              <a:gd name="connsiteX4442" fmla="*/ 3129964 w 6268558"/>
              <a:gd name="connsiteY4442" fmla="*/ 479967 h 5142621"/>
              <a:gd name="connsiteX4443" fmla="*/ 4649296 w 6268558"/>
              <a:gd name="connsiteY4443" fmla="*/ 348123 h 5142621"/>
              <a:gd name="connsiteX4444" fmla="*/ 4754113 w 6268558"/>
              <a:gd name="connsiteY4444" fmla="*/ 296607 h 5142621"/>
              <a:gd name="connsiteX4445" fmla="*/ 5119182 w 6268558"/>
              <a:gd name="connsiteY4445" fmla="*/ 303347 h 5142621"/>
              <a:gd name="connsiteX4446" fmla="*/ 5104089 w 6268558"/>
              <a:gd name="connsiteY4446" fmla="*/ 307544 h 5142621"/>
              <a:gd name="connsiteX4447" fmla="*/ 3879342 w 6268558"/>
              <a:gd name="connsiteY4447" fmla="*/ 329312 h 5142621"/>
              <a:gd name="connsiteX4448" fmla="*/ 3106898 w 6268558"/>
              <a:gd name="connsiteY4448" fmla="*/ 433101 h 5142621"/>
              <a:gd name="connsiteX4449" fmla="*/ 2585684 w 6268558"/>
              <a:gd name="connsiteY4449" fmla="*/ 570662 h 5142621"/>
              <a:gd name="connsiteX4450" fmla="*/ 2479088 w 6268558"/>
              <a:gd name="connsiteY4450" fmla="*/ 608372 h 5142621"/>
              <a:gd name="connsiteX4451" fmla="*/ 2378010 w 6268558"/>
              <a:gd name="connsiteY4451" fmla="*/ 649737 h 5142621"/>
              <a:gd name="connsiteX4452" fmla="*/ 2328816 w 6268558"/>
              <a:gd name="connsiteY4452" fmla="*/ 673296 h 5142621"/>
              <a:gd name="connsiteX4453" fmla="*/ 2280352 w 6268558"/>
              <a:gd name="connsiteY4453" fmla="*/ 700299 h 5142621"/>
              <a:gd name="connsiteX4454" fmla="*/ 2233351 w 6268558"/>
              <a:gd name="connsiteY4454" fmla="*/ 732420 h 5142621"/>
              <a:gd name="connsiteX4455" fmla="*/ 2190264 w 6268558"/>
              <a:gd name="connsiteY4455" fmla="*/ 770271 h 5142621"/>
              <a:gd name="connsiteX4456" fmla="*/ 2153899 w 6268558"/>
              <a:gd name="connsiteY4456" fmla="*/ 811848 h 5142621"/>
              <a:gd name="connsiteX4457" fmla="*/ 2124443 w 6268558"/>
              <a:gd name="connsiteY4457" fmla="*/ 854439 h 5142621"/>
              <a:gd name="connsiteX4458" fmla="*/ 2079635 w 6268558"/>
              <a:gd name="connsiteY4458" fmla="*/ 938749 h 5142621"/>
              <a:gd name="connsiteX4459" fmla="*/ 2019191 w 6268558"/>
              <a:gd name="connsiteY4459" fmla="*/ 1103572 h 5142621"/>
              <a:gd name="connsiteX4460" fmla="*/ 1980539 w 6268558"/>
              <a:gd name="connsiteY4460" fmla="*/ 1266297 h 5142621"/>
              <a:gd name="connsiteX4461" fmla="*/ 1959526 w 6268558"/>
              <a:gd name="connsiteY4461" fmla="*/ 1427017 h 5142621"/>
              <a:gd name="connsiteX4462" fmla="*/ 2030653 w 6268558"/>
              <a:gd name="connsiteY4462" fmla="*/ 2024261 h 5142621"/>
              <a:gd name="connsiteX4463" fmla="*/ 2251581 w 6268558"/>
              <a:gd name="connsiteY4463" fmla="*/ 2514604 h 5142621"/>
              <a:gd name="connsiteX4464" fmla="*/ 2312402 w 6268558"/>
              <a:gd name="connsiteY4464" fmla="*/ 2619454 h 5142621"/>
              <a:gd name="connsiteX4465" fmla="*/ 2342140 w 6268558"/>
              <a:gd name="connsiteY4465" fmla="*/ 2669451 h 5142621"/>
              <a:gd name="connsiteX4466" fmla="*/ 2371053 w 6268558"/>
              <a:gd name="connsiteY4466" fmla="*/ 2718032 h 5142621"/>
              <a:gd name="connsiteX4467" fmla="*/ 2424894 w 6268558"/>
              <a:gd name="connsiteY4467" fmla="*/ 2811964 h 5142621"/>
              <a:gd name="connsiteX4468" fmla="*/ 2447533 w 6268558"/>
              <a:gd name="connsiteY4468" fmla="*/ 2859202 h 5142621"/>
              <a:gd name="connsiteX4469" fmla="*/ 2462627 w 6268558"/>
              <a:gd name="connsiteY4469" fmla="*/ 2908962 h 5142621"/>
              <a:gd name="connsiteX4470" fmla="*/ 2463830 w 6268558"/>
              <a:gd name="connsiteY4470" fmla="*/ 2935116 h 5142621"/>
              <a:gd name="connsiteX4471" fmla="*/ 2457816 w 6268558"/>
              <a:gd name="connsiteY4471" fmla="*/ 2960633 h 5142621"/>
              <a:gd name="connsiteX4472" fmla="*/ 2444114 w 6268558"/>
              <a:gd name="connsiteY4472" fmla="*/ 2983108 h 5142621"/>
              <a:gd name="connsiteX4473" fmla="*/ 2424446 w 6268558"/>
              <a:gd name="connsiteY4473" fmla="*/ 3001455 h 5142621"/>
              <a:gd name="connsiteX4474" fmla="*/ 2373223 w 6268558"/>
              <a:gd name="connsiteY4474" fmla="*/ 3027444 h 5142621"/>
              <a:gd name="connsiteX4475" fmla="*/ 2358413 w 6268558"/>
              <a:gd name="connsiteY4475" fmla="*/ 3032066 h 5142621"/>
              <a:gd name="connsiteX4476" fmla="*/ 2350725 w 6268558"/>
              <a:gd name="connsiteY4476" fmla="*/ 3034118 h 5142621"/>
              <a:gd name="connsiteX4477" fmla="*/ 2342800 w 6268558"/>
              <a:gd name="connsiteY4477" fmla="*/ 3035887 h 5142621"/>
              <a:gd name="connsiteX4478" fmla="*/ 2334711 w 6268558"/>
              <a:gd name="connsiteY4478" fmla="*/ 3037514 h 5142621"/>
              <a:gd name="connsiteX4479" fmla="*/ 2326434 w 6268558"/>
              <a:gd name="connsiteY4479" fmla="*/ 3038929 h 5142621"/>
              <a:gd name="connsiteX4480" fmla="*/ 2309383 w 6268558"/>
              <a:gd name="connsiteY4480" fmla="*/ 3041358 h 5142621"/>
              <a:gd name="connsiteX4481" fmla="*/ 1924599 w 6268558"/>
              <a:gd name="connsiteY4481" fmla="*/ 2985443 h 5142621"/>
              <a:gd name="connsiteX4482" fmla="*/ 1248067 w 6268558"/>
              <a:gd name="connsiteY4482" fmla="*/ 2628817 h 5142621"/>
              <a:gd name="connsiteX4483" fmla="*/ 224131 w 6268558"/>
              <a:gd name="connsiteY4483" fmla="*/ 1723883 h 5142621"/>
              <a:gd name="connsiteX4484" fmla="*/ 1248421 w 6268558"/>
              <a:gd name="connsiteY4484" fmla="*/ 2628864 h 5142621"/>
              <a:gd name="connsiteX4485" fmla="*/ 1924764 w 6268558"/>
              <a:gd name="connsiteY4485" fmla="*/ 2985089 h 5142621"/>
              <a:gd name="connsiteX4486" fmla="*/ 2309171 w 6268558"/>
              <a:gd name="connsiteY4486" fmla="*/ 3040580 h 5142621"/>
              <a:gd name="connsiteX4487" fmla="*/ 2326174 w 6268558"/>
              <a:gd name="connsiteY4487" fmla="*/ 3038127 h 5142621"/>
              <a:gd name="connsiteX4488" fmla="*/ 2334428 w 6268558"/>
              <a:gd name="connsiteY4488" fmla="*/ 3036689 h 5142621"/>
              <a:gd name="connsiteX4489" fmla="*/ 2342470 w 6268558"/>
              <a:gd name="connsiteY4489" fmla="*/ 3035062 h 5142621"/>
              <a:gd name="connsiteX4490" fmla="*/ 2350347 w 6268558"/>
              <a:gd name="connsiteY4490" fmla="*/ 3033269 h 5142621"/>
              <a:gd name="connsiteX4491" fmla="*/ 2357988 w 6268558"/>
              <a:gd name="connsiteY4491" fmla="*/ 3031194 h 5142621"/>
              <a:gd name="connsiteX4492" fmla="*/ 2372728 w 6268558"/>
              <a:gd name="connsiteY4492" fmla="*/ 3026572 h 5142621"/>
              <a:gd name="connsiteX4493" fmla="*/ 2423667 w 6268558"/>
              <a:gd name="connsiteY4493" fmla="*/ 3000630 h 5142621"/>
              <a:gd name="connsiteX4494" fmla="*/ 2443123 w 6268558"/>
              <a:gd name="connsiteY4494" fmla="*/ 2982424 h 5142621"/>
              <a:gd name="connsiteX4495" fmla="*/ 2456637 w 6268558"/>
              <a:gd name="connsiteY4495" fmla="*/ 2960232 h 5142621"/>
              <a:gd name="connsiteX4496" fmla="*/ 2461353 w 6268558"/>
              <a:gd name="connsiteY4496" fmla="*/ 2909363 h 5142621"/>
              <a:gd name="connsiteX4497" fmla="*/ 2446378 w 6268558"/>
              <a:gd name="connsiteY4497" fmla="*/ 2860051 h 5142621"/>
              <a:gd name="connsiteX4498" fmla="*/ 2423809 w 6268558"/>
              <a:gd name="connsiteY4498" fmla="*/ 2813026 h 5142621"/>
              <a:gd name="connsiteX4499" fmla="*/ 2370016 w 6268558"/>
              <a:gd name="connsiteY4499" fmla="*/ 2719353 h 5142621"/>
              <a:gd name="connsiteX4500" fmla="*/ 2341103 w 6268558"/>
              <a:gd name="connsiteY4500" fmla="*/ 2670890 h 5142621"/>
              <a:gd name="connsiteX4501" fmla="*/ 2311340 w 6268558"/>
              <a:gd name="connsiteY4501" fmla="*/ 2621011 h 5142621"/>
              <a:gd name="connsiteX4502" fmla="*/ 2250472 w 6268558"/>
              <a:gd name="connsiteY4502" fmla="*/ 2516372 h 5142621"/>
              <a:gd name="connsiteX4503" fmla="*/ 2028790 w 6268558"/>
              <a:gd name="connsiteY4503" fmla="*/ 2026855 h 5142621"/>
              <a:gd name="connsiteX4504" fmla="*/ 1955587 w 6268558"/>
              <a:gd name="connsiteY4504" fmla="*/ 1430130 h 5142621"/>
              <a:gd name="connsiteX4505" fmla="*/ 1975893 w 6268558"/>
              <a:gd name="connsiteY4505" fmla="*/ 1269433 h 5142621"/>
              <a:gd name="connsiteX4506" fmla="*/ 2013791 w 6268558"/>
              <a:gd name="connsiteY4506" fmla="*/ 1106615 h 5142621"/>
              <a:gd name="connsiteX4507" fmla="*/ 2073669 w 6268558"/>
              <a:gd name="connsiteY4507" fmla="*/ 941131 h 5142621"/>
              <a:gd name="connsiteX4508" fmla="*/ 2118736 w 6268558"/>
              <a:gd name="connsiteY4508" fmla="*/ 855642 h 5142621"/>
              <a:gd name="connsiteX4509" fmla="*/ 2148876 w 6268558"/>
              <a:gd name="connsiteY4509" fmla="*/ 811848 h 5142621"/>
              <a:gd name="connsiteX4510" fmla="*/ 2186750 w 6268558"/>
              <a:gd name="connsiteY4510" fmla="*/ 768431 h 5142621"/>
              <a:gd name="connsiteX4511" fmla="*/ 2232054 w 6268558"/>
              <a:gd name="connsiteY4511" fmla="*/ 728623 h 5142621"/>
              <a:gd name="connsiteX4512" fmla="*/ 2281012 w 6268558"/>
              <a:gd name="connsiteY4512" fmla="*/ 695229 h 5142621"/>
              <a:gd name="connsiteX4513" fmla="*/ 2330797 w 6268558"/>
              <a:gd name="connsiteY4513" fmla="*/ 667589 h 5142621"/>
              <a:gd name="connsiteX4514" fmla="*/ 2380864 w 6268558"/>
              <a:gd name="connsiteY4514" fmla="*/ 643723 h 5142621"/>
              <a:gd name="connsiteX4515" fmla="*/ 2483003 w 6268558"/>
              <a:gd name="connsiteY4515" fmla="*/ 602146 h 5142621"/>
              <a:gd name="connsiteX4516" fmla="*/ 2590259 w 6268558"/>
              <a:gd name="connsiteY4516" fmla="*/ 564413 h 5142621"/>
              <a:gd name="connsiteX4517" fmla="*/ 3113453 w 6268558"/>
              <a:gd name="connsiteY4517" fmla="*/ 427253 h 5142621"/>
              <a:gd name="connsiteX4518" fmla="*/ 3888940 w 6268558"/>
              <a:gd name="connsiteY4518" fmla="*/ 324076 h 5142621"/>
              <a:gd name="connsiteX4519" fmla="*/ 4754113 w 6268558"/>
              <a:gd name="connsiteY4519" fmla="*/ 296607 h 5142621"/>
              <a:gd name="connsiteX4520" fmla="*/ 4684345 w 6268558"/>
              <a:gd name="connsiteY4520" fmla="*/ 245201 h 5142621"/>
              <a:gd name="connsiteX4521" fmla="*/ 5037184 w 6268558"/>
              <a:gd name="connsiteY4521" fmla="*/ 250076 h 5142621"/>
              <a:gd name="connsiteX4522" fmla="*/ 5023152 w 6268558"/>
              <a:gd name="connsiteY4522" fmla="*/ 254416 h 5142621"/>
              <a:gd name="connsiteX4523" fmla="*/ 3839204 w 6268558"/>
              <a:gd name="connsiteY4523" fmla="*/ 279933 h 5142621"/>
              <a:gd name="connsiteX4524" fmla="*/ 3090297 w 6268558"/>
              <a:gd name="connsiteY4524" fmla="*/ 379926 h 5142621"/>
              <a:gd name="connsiteX4525" fmla="*/ 2580479 w 6268558"/>
              <a:gd name="connsiteY4525" fmla="*/ 508478 h 5142621"/>
              <a:gd name="connsiteX4526" fmla="*/ 2475321 w 6268558"/>
              <a:gd name="connsiteY4526" fmla="*/ 543286 h 5142621"/>
              <a:gd name="connsiteX4527" fmla="*/ 2375140 w 6268558"/>
              <a:gd name="connsiteY4527" fmla="*/ 581491 h 5142621"/>
              <a:gd name="connsiteX4528" fmla="*/ 2326157 w 6268558"/>
              <a:gd name="connsiteY4528" fmla="*/ 603400 h 5142621"/>
              <a:gd name="connsiteX4529" fmla="*/ 2277718 w 6268558"/>
              <a:gd name="connsiteY4529" fmla="*/ 628752 h 5142621"/>
              <a:gd name="connsiteX4530" fmla="*/ 2230480 w 6268558"/>
              <a:gd name="connsiteY4530" fmla="*/ 659292 h 5142621"/>
              <a:gd name="connsiteX4531" fmla="*/ 2186875 w 6268558"/>
              <a:gd name="connsiteY4531" fmla="*/ 695775 h 5142621"/>
              <a:gd name="connsiteX4532" fmla="*/ 2149661 w 6268558"/>
              <a:gd name="connsiteY4532" fmla="*/ 736362 h 5142621"/>
              <a:gd name="connsiteX4533" fmla="*/ 2119168 w 6268558"/>
              <a:gd name="connsiteY4533" fmla="*/ 778340 h 5142621"/>
              <a:gd name="connsiteX4534" fmla="*/ 2071930 w 6268558"/>
              <a:gd name="connsiteY4534" fmla="*/ 862226 h 5142621"/>
              <a:gd name="connsiteX4535" fmla="*/ 2005850 w 6268558"/>
              <a:gd name="connsiteY4535" fmla="*/ 1027828 h 5142621"/>
              <a:gd name="connsiteX4536" fmla="*/ 1961042 w 6268558"/>
              <a:gd name="connsiteY4536" fmla="*/ 1192511 h 5142621"/>
              <a:gd name="connsiteX4537" fmla="*/ 1933780 w 6268558"/>
              <a:gd name="connsiteY4537" fmla="*/ 1355943 h 5142621"/>
              <a:gd name="connsiteX4538" fmla="*/ 1985026 w 6268558"/>
              <a:gd name="connsiteY4538" fmla="*/ 1967968 h 5142621"/>
              <a:gd name="connsiteX4539" fmla="*/ 2198690 w 6268558"/>
              <a:gd name="connsiteY4539" fmla="*/ 2473593 h 5142621"/>
              <a:gd name="connsiteX4540" fmla="*/ 2259417 w 6268558"/>
              <a:gd name="connsiteY4540" fmla="*/ 2581627 h 5142621"/>
              <a:gd name="connsiteX4541" fmla="*/ 2289320 w 6268558"/>
              <a:gd name="connsiteY4541" fmla="*/ 2633062 h 5142621"/>
              <a:gd name="connsiteX4542" fmla="*/ 2318517 w 6268558"/>
              <a:gd name="connsiteY4542" fmla="*/ 2682964 h 5142621"/>
              <a:gd name="connsiteX4543" fmla="*/ 2373159 w 6268558"/>
              <a:gd name="connsiteY4543" fmla="*/ 2779160 h 5142621"/>
              <a:gd name="connsiteX4544" fmla="*/ 2396223 w 6268558"/>
              <a:gd name="connsiteY4544" fmla="*/ 2827199 h 5142621"/>
              <a:gd name="connsiteX4545" fmla="*/ 2411576 w 6268558"/>
              <a:gd name="connsiteY4545" fmla="*/ 2877290 h 5142621"/>
              <a:gd name="connsiteX4546" fmla="*/ 2412755 w 6268558"/>
              <a:gd name="connsiteY4546" fmla="*/ 2903255 h 5142621"/>
              <a:gd name="connsiteX4547" fmla="*/ 2406506 w 6268558"/>
              <a:gd name="connsiteY4547" fmla="*/ 2928254 h 5142621"/>
              <a:gd name="connsiteX4548" fmla="*/ 2392332 w 6268558"/>
              <a:gd name="connsiteY4548" fmla="*/ 2949856 h 5142621"/>
              <a:gd name="connsiteX4549" fmla="*/ 2372027 w 6268558"/>
              <a:gd name="connsiteY4549" fmla="*/ 2967071 h 5142621"/>
              <a:gd name="connsiteX4550" fmla="*/ 2319177 w 6268558"/>
              <a:gd name="connsiteY4550" fmla="*/ 2990324 h 5142621"/>
              <a:gd name="connsiteX4551" fmla="*/ 2303919 w 6268558"/>
              <a:gd name="connsiteY4551" fmla="*/ 2994192 h 5142621"/>
              <a:gd name="connsiteX4552" fmla="*/ 2296018 w 6268558"/>
              <a:gd name="connsiteY4552" fmla="*/ 2995866 h 5142621"/>
              <a:gd name="connsiteX4553" fmla="*/ 2287858 w 6268558"/>
              <a:gd name="connsiteY4553" fmla="*/ 2997258 h 5142621"/>
              <a:gd name="connsiteX4554" fmla="*/ 2279534 w 6268558"/>
              <a:gd name="connsiteY4554" fmla="*/ 2998484 h 5142621"/>
              <a:gd name="connsiteX4555" fmla="*/ 2271020 w 6268558"/>
              <a:gd name="connsiteY4555" fmla="*/ 2999498 h 5142621"/>
              <a:gd name="connsiteX4556" fmla="*/ 2253474 w 6268558"/>
              <a:gd name="connsiteY4556" fmla="*/ 3001102 h 5142621"/>
              <a:gd name="connsiteX4557" fmla="*/ 1859611 w 6268558"/>
              <a:gd name="connsiteY4557" fmla="*/ 2927522 h 5142621"/>
              <a:gd name="connsiteX4558" fmla="*/ 1178456 w 6268558"/>
              <a:gd name="connsiteY4558" fmla="*/ 2545969 h 5142621"/>
              <a:gd name="connsiteX4559" fmla="*/ 178572 w 6268558"/>
              <a:gd name="connsiteY4559" fmla="*/ 1634203 h 5142621"/>
              <a:gd name="connsiteX4560" fmla="*/ 1178787 w 6268558"/>
              <a:gd name="connsiteY4560" fmla="*/ 2545946 h 5142621"/>
              <a:gd name="connsiteX4561" fmla="*/ 1859729 w 6268558"/>
              <a:gd name="connsiteY4561" fmla="*/ 2927098 h 5142621"/>
              <a:gd name="connsiteX4562" fmla="*/ 2253191 w 6268558"/>
              <a:gd name="connsiteY4562" fmla="*/ 3000253 h 5142621"/>
              <a:gd name="connsiteX4563" fmla="*/ 2270713 w 6268558"/>
              <a:gd name="connsiteY4563" fmla="*/ 2998626 h 5142621"/>
              <a:gd name="connsiteX4564" fmla="*/ 2279203 w 6268558"/>
              <a:gd name="connsiteY4564" fmla="*/ 2997612 h 5142621"/>
              <a:gd name="connsiteX4565" fmla="*/ 2287481 w 6268558"/>
              <a:gd name="connsiteY4565" fmla="*/ 2996385 h 5142621"/>
              <a:gd name="connsiteX4566" fmla="*/ 2295594 w 6268558"/>
              <a:gd name="connsiteY4566" fmla="*/ 2994994 h 5142621"/>
              <a:gd name="connsiteX4567" fmla="*/ 2303470 w 6268558"/>
              <a:gd name="connsiteY4567" fmla="*/ 2993320 h 5142621"/>
              <a:gd name="connsiteX4568" fmla="*/ 2318682 w 6268558"/>
              <a:gd name="connsiteY4568" fmla="*/ 2989452 h 5142621"/>
              <a:gd name="connsiteX4569" fmla="*/ 2371249 w 6268558"/>
              <a:gd name="connsiteY4569" fmla="*/ 2966222 h 5142621"/>
              <a:gd name="connsiteX4570" fmla="*/ 2391365 w 6268558"/>
              <a:gd name="connsiteY4570" fmla="*/ 2949125 h 5142621"/>
              <a:gd name="connsiteX4571" fmla="*/ 2405350 w 6268558"/>
              <a:gd name="connsiteY4571" fmla="*/ 2927829 h 5142621"/>
              <a:gd name="connsiteX4572" fmla="*/ 2410350 w 6268558"/>
              <a:gd name="connsiteY4572" fmla="*/ 2877667 h 5142621"/>
              <a:gd name="connsiteX4573" fmla="*/ 2395091 w 6268558"/>
              <a:gd name="connsiteY4573" fmla="*/ 2828025 h 5142621"/>
              <a:gd name="connsiteX4574" fmla="*/ 2372098 w 6268558"/>
              <a:gd name="connsiteY4574" fmla="*/ 2780198 h 5142621"/>
              <a:gd name="connsiteX4575" fmla="*/ 2317502 w 6268558"/>
              <a:gd name="connsiteY4575" fmla="*/ 2684261 h 5142621"/>
              <a:gd name="connsiteX4576" fmla="*/ 2288306 w 6268558"/>
              <a:gd name="connsiteY4576" fmla="*/ 2634454 h 5142621"/>
              <a:gd name="connsiteX4577" fmla="*/ 2258379 w 6268558"/>
              <a:gd name="connsiteY4577" fmla="*/ 2583113 h 5142621"/>
              <a:gd name="connsiteX4578" fmla="*/ 2197582 w 6268558"/>
              <a:gd name="connsiteY4578" fmla="*/ 2475290 h 5142621"/>
              <a:gd name="connsiteX4579" fmla="*/ 1983116 w 6268558"/>
              <a:gd name="connsiteY4579" fmla="*/ 1970468 h 5142621"/>
              <a:gd name="connsiteX4580" fmla="*/ 1929747 w 6268558"/>
              <a:gd name="connsiteY4580" fmla="*/ 1358891 h 5142621"/>
              <a:gd name="connsiteX4581" fmla="*/ 1956302 w 6268558"/>
              <a:gd name="connsiteY4581" fmla="*/ 1195459 h 5142621"/>
              <a:gd name="connsiteX4582" fmla="*/ 2000402 w 6268558"/>
              <a:gd name="connsiteY4582" fmla="*/ 1030635 h 5142621"/>
              <a:gd name="connsiteX4583" fmla="*/ 2065987 w 6268558"/>
              <a:gd name="connsiteY4583" fmla="*/ 864349 h 5142621"/>
              <a:gd name="connsiteX4584" fmla="*/ 2113531 w 6268558"/>
              <a:gd name="connsiteY4584" fmla="*/ 779284 h 5142621"/>
              <a:gd name="connsiteX4585" fmla="*/ 2144732 w 6268558"/>
              <a:gd name="connsiteY4585" fmla="*/ 736103 h 5142621"/>
              <a:gd name="connsiteX4586" fmla="*/ 2183479 w 6268558"/>
              <a:gd name="connsiteY4586" fmla="*/ 693700 h 5142621"/>
              <a:gd name="connsiteX4587" fmla="*/ 2229348 w 6268558"/>
              <a:gd name="connsiteY4587" fmla="*/ 655330 h 5142621"/>
              <a:gd name="connsiteX4588" fmla="*/ 2278519 w 6268558"/>
              <a:gd name="connsiteY4588" fmla="*/ 623587 h 5142621"/>
              <a:gd name="connsiteX4589" fmla="*/ 2328256 w 6268558"/>
              <a:gd name="connsiteY4589" fmla="*/ 597646 h 5142621"/>
              <a:gd name="connsiteX4590" fmla="*/ 2378088 w 6268558"/>
              <a:gd name="connsiteY4590" fmla="*/ 575454 h 5142621"/>
              <a:gd name="connsiteX4591" fmla="*/ 2479283 w 6268558"/>
              <a:gd name="connsiteY4591" fmla="*/ 537037 h 5142621"/>
              <a:gd name="connsiteX4592" fmla="*/ 2585078 w 6268558"/>
              <a:gd name="connsiteY4592" fmla="*/ 502228 h 5142621"/>
              <a:gd name="connsiteX4593" fmla="*/ 3096643 w 6268558"/>
              <a:gd name="connsiteY4593" fmla="*/ 374078 h 5142621"/>
              <a:gd name="connsiteX4594" fmla="*/ 3848260 w 6268558"/>
              <a:gd name="connsiteY4594" fmla="*/ 274650 h 5142621"/>
              <a:gd name="connsiteX4595" fmla="*/ 4684345 w 6268558"/>
              <a:gd name="connsiteY4595" fmla="*/ 245201 h 5142621"/>
              <a:gd name="connsiteX4596" fmla="*/ 4610730 w 6268558"/>
              <a:gd name="connsiteY4596" fmla="*/ 194546 h 5142621"/>
              <a:gd name="connsiteX4597" fmla="*/ 4950681 w 6268558"/>
              <a:gd name="connsiteY4597" fmla="*/ 197599 h 5142621"/>
              <a:gd name="connsiteX4598" fmla="*/ 4937875 w 6268558"/>
              <a:gd name="connsiteY4598" fmla="*/ 202009 h 5142621"/>
              <a:gd name="connsiteX4599" fmla="*/ 3796895 w 6268558"/>
              <a:gd name="connsiteY4599" fmla="*/ 230946 h 5142621"/>
              <a:gd name="connsiteX4600" fmla="*/ 3072914 w 6268558"/>
              <a:gd name="connsiteY4600" fmla="*/ 326623 h 5142621"/>
              <a:gd name="connsiteX4601" fmla="*/ 2575592 w 6268558"/>
              <a:gd name="connsiteY4601" fmla="*/ 445529 h 5142621"/>
              <a:gd name="connsiteX4602" fmla="*/ 2472131 w 6268558"/>
              <a:gd name="connsiteY4602" fmla="*/ 477249 h 5142621"/>
              <a:gd name="connsiteX4603" fmla="*/ 2373153 w 6268558"/>
              <a:gd name="connsiteY4603" fmla="*/ 512152 h 5142621"/>
              <a:gd name="connsiteX4604" fmla="*/ 2324572 w 6268558"/>
              <a:gd name="connsiteY4604" fmla="*/ 532316 h 5142621"/>
              <a:gd name="connsiteX4605" fmla="*/ 2276367 w 6268558"/>
              <a:gd name="connsiteY4605" fmla="*/ 555899 h 5142621"/>
              <a:gd name="connsiteX4606" fmla="*/ 2229130 w 6268558"/>
              <a:gd name="connsiteY4606" fmla="*/ 584694 h 5142621"/>
              <a:gd name="connsiteX4607" fmla="*/ 2185195 w 6268558"/>
              <a:gd name="connsiteY4607" fmla="*/ 619644 h 5142621"/>
              <a:gd name="connsiteX4608" fmla="*/ 2147367 w 6268558"/>
              <a:gd name="connsiteY4608" fmla="*/ 659075 h 5142621"/>
              <a:gd name="connsiteX4609" fmla="*/ 2116001 w 6268558"/>
              <a:gd name="connsiteY4609" fmla="*/ 700275 h 5142621"/>
              <a:gd name="connsiteX4610" fmla="*/ 2066594 w 6268558"/>
              <a:gd name="connsiteY4610" fmla="*/ 783359 h 5142621"/>
              <a:gd name="connsiteX4611" fmla="*/ 1995114 w 6268558"/>
              <a:gd name="connsiteY4611" fmla="*/ 949196 h 5142621"/>
              <a:gd name="connsiteX4612" fmla="*/ 1944104 w 6268558"/>
              <a:gd name="connsiteY4612" fmla="*/ 1115434 h 5142621"/>
              <a:gd name="connsiteX4613" fmla="*/ 1910355 w 6268558"/>
              <a:gd name="connsiteY4613" fmla="*/ 1281272 h 5142621"/>
              <a:gd name="connsiteX4614" fmla="*/ 1940000 w 6268558"/>
              <a:gd name="connsiteY4614" fmla="*/ 1907783 h 5142621"/>
              <a:gd name="connsiteX4615" fmla="*/ 2144892 w 6268558"/>
              <a:gd name="connsiteY4615" fmla="*/ 2429209 h 5142621"/>
              <a:gd name="connsiteX4616" fmla="*/ 2205287 w 6268558"/>
              <a:gd name="connsiteY4616" fmla="*/ 2540639 h 5142621"/>
              <a:gd name="connsiteX4617" fmla="*/ 2235238 w 6268558"/>
              <a:gd name="connsiteY4617" fmla="*/ 2593631 h 5142621"/>
              <a:gd name="connsiteX4618" fmla="*/ 2264599 w 6268558"/>
              <a:gd name="connsiteY4618" fmla="*/ 2644995 h 5142621"/>
              <a:gd name="connsiteX4619" fmla="*/ 2319856 w 6268558"/>
              <a:gd name="connsiteY4619" fmla="*/ 2743714 h 5142621"/>
              <a:gd name="connsiteX4620" fmla="*/ 2343273 w 6268558"/>
              <a:gd name="connsiteY4620" fmla="*/ 2792673 h 5142621"/>
              <a:gd name="connsiteX4621" fmla="*/ 2358814 w 6268558"/>
              <a:gd name="connsiteY4621" fmla="*/ 2843188 h 5142621"/>
              <a:gd name="connsiteX4622" fmla="*/ 2359899 w 6268558"/>
              <a:gd name="connsiteY4622" fmla="*/ 2869012 h 5142621"/>
              <a:gd name="connsiteX4623" fmla="*/ 2353344 w 6268558"/>
              <a:gd name="connsiteY4623" fmla="*/ 2893468 h 5142621"/>
              <a:gd name="connsiteX4624" fmla="*/ 2338628 w 6268558"/>
              <a:gd name="connsiteY4624" fmla="*/ 2914150 h 5142621"/>
              <a:gd name="connsiteX4625" fmla="*/ 2317614 w 6268558"/>
              <a:gd name="connsiteY4625" fmla="*/ 2930187 h 5142621"/>
              <a:gd name="connsiteX4626" fmla="*/ 2263043 w 6268558"/>
              <a:gd name="connsiteY4626" fmla="*/ 2950610 h 5142621"/>
              <a:gd name="connsiteX4627" fmla="*/ 2247313 w 6268558"/>
              <a:gd name="connsiteY4627" fmla="*/ 2953675 h 5142621"/>
              <a:gd name="connsiteX4628" fmla="*/ 2239153 w 6268558"/>
              <a:gd name="connsiteY4628" fmla="*/ 2954949 h 5142621"/>
              <a:gd name="connsiteX4629" fmla="*/ 2230757 w 6268558"/>
              <a:gd name="connsiteY4629" fmla="*/ 2955916 h 5142621"/>
              <a:gd name="connsiteX4630" fmla="*/ 2222173 w 6268558"/>
              <a:gd name="connsiteY4630" fmla="*/ 2956718 h 5142621"/>
              <a:gd name="connsiteX4631" fmla="*/ 2213400 w 6268558"/>
              <a:gd name="connsiteY4631" fmla="*/ 2957307 h 5142621"/>
              <a:gd name="connsiteX4632" fmla="*/ 2195336 w 6268558"/>
              <a:gd name="connsiteY4632" fmla="*/ 2958039 h 5142621"/>
              <a:gd name="connsiteX4633" fmla="*/ 1792652 w 6268558"/>
              <a:gd name="connsiteY4633" fmla="*/ 2866323 h 5142621"/>
              <a:gd name="connsiteX4634" fmla="*/ 1108738 w 6268558"/>
              <a:gd name="connsiteY4634" fmla="*/ 2460810 h 5142621"/>
              <a:gd name="connsiteX4635" fmla="*/ 136120 w 6268558"/>
              <a:gd name="connsiteY4635" fmla="*/ 1547055 h 5142621"/>
              <a:gd name="connsiteX4636" fmla="*/ 1109068 w 6268558"/>
              <a:gd name="connsiteY4636" fmla="*/ 2460810 h 5142621"/>
              <a:gd name="connsiteX4637" fmla="*/ 1792794 w 6268558"/>
              <a:gd name="connsiteY4637" fmla="*/ 2865899 h 5142621"/>
              <a:gd name="connsiteX4638" fmla="*/ 2195052 w 6268558"/>
              <a:gd name="connsiteY4638" fmla="*/ 2957166 h 5142621"/>
              <a:gd name="connsiteX4639" fmla="*/ 2213070 w 6268558"/>
              <a:gd name="connsiteY4639" fmla="*/ 2956411 h 5142621"/>
              <a:gd name="connsiteX4640" fmla="*/ 2221820 w 6268558"/>
              <a:gd name="connsiteY4640" fmla="*/ 2955822 h 5142621"/>
              <a:gd name="connsiteX4641" fmla="*/ 2230357 w 6268558"/>
              <a:gd name="connsiteY4641" fmla="*/ 2955020 h 5142621"/>
              <a:gd name="connsiteX4642" fmla="*/ 2238705 w 6268558"/>
              <a:gd name="connsiteY4642" fmla="*/ 2954053 h 5142621"/>
              <a:gd name="connsiteX4643" fmla="*/ 2246841 w 6268558"/>
              <a:gd name="connsiteY4643" fmla="*/ 2952779 h 5142621"/>
              <a:gd name="connsiteX4644" fmla="*/ 2262524 w 6268558"/>
              <a:gd name="connsiteY4644" fmla="*/ 2949690 h 5142621"/>
              <a:gd name="connsiteX4645" fmla="*/ 2316789 w 6268558"/>
              <a:gd name="connsiteY4645" fmla="*/ 2929291 h 5142621"/>
              <a:gd name="connsiteX4646" fmla="*/ 2337613 w 6268558"/>
              <a:gd name="connsiteY4646" fmla="*/ 2913372 h 5142621"/>
              <a:gd name="connsiteX4647" fmla="*/ 2352116 w 6268558"/>
              <a:gd name="connsiteY4647" fmla="*/ 2892972 h 5142621"/>
              <a:gd name="connsiteX4648" fmla="*/ 2357517 w 6268558"/>
              <a:gd name="connsiteY4648" fmla="*/ 2843495 h 5142621"/>
              <a:gd name="connsiteX4649" fmla="*/ 2342070 w 6268558"/>
              <a:gd name="connsiteY4649" fmla="*/ 2793404 h 5142621"/>
              <a:gd name="connsiteX4650" fmla="*/ 2318723 w 6268558"/>
              <a:gd name="connsiteY4650" fmla="*/ 2744657 h 5142621"/>
              <a:gd name="connsiteX4651" fmla="*/ 2263492 w 6268558"/>
              <a:gd name="connsiteY4651" fmla="*/ 2646197 h 5142621"/>
              <a:gd name="connsiteX4652" fmla="*/ 2234131 w 6268558"/>
              <a:gd name="connsiteY4652" fmla="*/ 2594951 h 5142621"/>
              <a:gd name="connsiteX4653" fmla="*/ 2204155 w 6268558"/>
              <a:gd name="connsiteY4653" fmla="*/ 2542054 h 5142621"/>
              <a:gd name="connsiteX4654" fmla="*/ 2143688 w 6268558"/>
              <a:gd name="connsiteY4654" fmla="*/ 2430836 h 5142621"/>
              <a:gd name="connsiteX4655" fmla="*/ 1937924 w 6268558"/>
              <a:gd name="connsiteY4655" fmla="*/ 1910165 h 5142621"/>
              <a:gd name="connsiteX4656" fmla="*/ 1906158 w 6268558"/>
              <a:gd name="connsiteY4656" fmla="*/ 1284007 h 5142621"/>
              <a:gd name="connsiteX4657" fmla="*/ 1939222 w 6268558"/>
              <a:gd name="connsiteY4657" fmla="*/ 1118123 h 5142621"/>
              <a:gd name="connsiteX4658" fmla="*/ 1989548 w 6268558"/>
              <a:gd name="connsiteY4658" fmla="*/ 951743 h 5142621"/>
              <a:gd name="connsiteX4659" fmla="*/ 2060604 w 6268558"/>
              <a:gd name="connsiteY4659" fmla="*/ 785199 h 5142621"/>
              <a:gd name="connsiteX4660" fmla="*/ 2110388 w 6268558"/>
              <a:gd name="connsiteY4660" fmla="*/ 700912 h 5142621"/>
              <a:gd name="connsiteX4661" fmla="*/ 2142485 w 6268558"/>
              <a:gd name="connsiteY4661" fmla="*/ 658557 h 5142621"/>
              <a:gd name="connsiteX4662" fmla="*/ 2181894 w 6268558"/>
              <a:gd name="connsiteY4662" fmla="*/ 617380 h 5142621"/>
              <a:gd name="connsiteX4663" fmla="*/ 2228092 w 6268558"/>
              <a:gd name="connsiteY4663" fmla="*/ 580614 h 5142621"/>
              <a:gd name="connsiteX4664" fmla="*/ 2277264 w 6268558"/>
              <a:gd name="connsiteY4664" fmla="*/ 550687 h 5142621"/>
              <a:gd name="connsiteX4665" fmla="*/ 2326742 w 6268558"/>
              <a:gd name="connsiteY4665" fmla="*/ 526561 h 5142621"/>
              <a:gd name="connsiteX4666" fmla="*/ 2376149 w 6268558"/>
              <a:gd name="connsiteY4666" fmla="*/ 506138 h 5142621"/>
              <a:gd name="connsiteX4667" fmla="*/ 2476093 w 6268558"/>
              <a:gd name="connsiteY4667" fmla="*/ 471070 h 5142621"/>
              <a:gd name="connsiteX4668" fmla="*/ 2580119 w 6268558"/>
              <a:gd name="connsiteY4668" fmla="*/ 439351 h 5142621"/>
              <a:gd name="connsiteX4669" fmla="*/ 3078951 w 6268558"/>
              <a:gd name="connsiteY4669" fmla="*/ 320845 h 5142621"/>
              <a:gd name="connsiteX4670" fmla="*/ 3805291 w 6268558"/>
              <a:gd name="connsiteY4670" fmla="*/ 225710 h 5142621"/>
              <a:gd name="connsiteX4671" fmla="*/ 4610730 w 6268558"/>
              <a:gd name="connsiteY4671" fmla="*/ 194546 h 5142621"/>
              <a:gd name="connsiteX4672" fmla="*/ 4556794 w 6268558"/>
              <a:gd name="connsiteY4672" fmla="*/ 0 h 5142621"/>
              <a:gd name="connsiteX4673" fmla="*/ 4549342 w 6268558"/>
              <a:gd name="connsiteY4673" fmla="*/ 4339 h 5142621"/>
              <a:gd name="connsiteX4674" fmla="*/ 3599646 w 6268558"/>
              <a:gd name="connsiteY4674" fmla="*/ 43535 h 5142621"/>
              <a:gd name="connsiteX4675" fmla="*/ 2986886 w 6268558"/>
              <a:gd name="connsiteY4675" fmla="*/ 117327 h 5142621"/>
              <a:gd name="connsiteX4676" fmla="*/ 2549090 w 6268558"/>
              <a:gd name="connsiteY4676" fmla="*/ 193665 h 5142621"/>
              <a:gd name="connsiteX4677" fmla="*/ 2455087 w 6268558"/>
              <a:gd name="connsiteY4677" fmla="*/ 212225 h 5142621"/>
              <a:gd name="connsiteX4678" fmla="*/ 2364032 w 6268558"/>
              <a:gd name="connsiteY4678" fmla="*/ 232861 h 5142621"/>
              <a:gd name="connsiteX4679" fmla="*/ 2318918 w 6268558"/>
              <a:gd name="connsiteY4679" fmla="*/ 245407 h 5142621"/>
              <a:gd name="connsiteX4680" fmla="*/ 2273803 w 6268558"/>
              <a:gd name="connsiteY4680" fmla="*/ 260995 h 5142621"/>
              <a:gd name="connsiteX4681" fmla="*/ 2229160 w 6268558"/>
              <a:gd name="connsiteY4681" fmla="*/ 281584 h 5142621"/>
              <a:gd name="connsiteX4682" fmla="*/ 2186993 w 6268558"/>
              <a:gd name="connsiteY4682" fmla="*/ 308634 h 5142621"/>
              <a:gd name="connsiteX4683" fmla="*/ 2149779 w 6268558"/>
              <a:gd name="connsiteY4683" fmla="*/ 341202 h 5142621"/>
              <a:gd name="connsiteX4684" fmla="*/ 2117871 w 6268558"/>
              <a:gd name="connsiteY4684" fmla="*/ 376883 h 5142621"/>
              <a:gd name="connsiteX4685" fmla="*/ 2064596 w 6268558"/>
              <a:gd name="connsiteY4685" fmla="*/ 452232 h 5142621"/>
              <a:gd name="connsiteX4686" fmla="*/ 1977598 w 6268558"/>
              <a:gd name="connsiteY4686" fmla="*/ 610829 h 5142621"/>
              <a:gd name="connsiteX4687" fmla="*/ 1904065 w 6268558"/>
              <a:gd name="connsiteY4687" fmla="*/ 776830 h 5142621"/>
              <a:gd name="connsiteX4688" fmla="*/ 1843786 w 6268558"/>
              <a:gd name="connsiteY4688" fmla="*/ 947574 h 5142621"/>
              <a:gd name="connsiteX4689" fmla="*/ 1770160 w 6268558"/>
              <a:gd name="connsiteY4689" fmla="*/ 1624934 h 5142621"/>
              <a:gd name="connsiteX4690" fmla="*/ 1922224 w 6268558"/>
              <a:gd name="connsiteY4690" fmla="*/ 2213257 h 5142621"/>
              <a:gd name="connsiteX4691" fmla="*/ 1978116 w 6268558"/>
              <a:gd name="connsiteY4691" fmla="*/ 2340229 h 5142621"/>
              <a:gd name="connsiteX4692" fmla="*/ 2006888 w 6268558"/>
              <a:gd name="connsiteY4692" fmla="*/ 2400554 h 5142621"/>
              <a:gd name="connsiteX4693" fmla="*/ 2035707 w 6268558"/>
              <a:gd name="connsiteY4693" fmla="*/ 2458876 h 5142621"/>
              <a:gd name="connsiteX4694" fmla="*/ 2091363 w 6268558"/>
              <a:gd name="connsiteY4694" fmla="*/ 2570000 h 5142621"/>
              <a:gd name="connsiteX4695" fmla="*/ 2115206 w 6268558"/>
              <a:gd name="connsiteY4695" fmla="*/ 2623817 h 5142621"/>
              <a:gd name="connsiteX4696" fmla="*/ 2130511 w 6268558"/>
              <a:gd name="connsiteY4696" fmla="*/ 2677021 h 5142621"/>
              <a:gd name="connsiteX4697" fmla="*/ 2130700 w 6268558"/>
              <a:gd name="connsiteY4697" fmla="*/ 2702514 h 5142621"/>
              <a:gd name="connsiteX4698" fmla="*/ 2122328 w 6268558"/>
              <a:gd name="connsiteY4698" fmla="*/ 2724894 h 5142621"/>
              <a:gd name="connsiteX4699" fmla="*/ 2106824 w 6268558"/>
              <a:gd name="connsiteY4699" fmla="*/ 2739874 h 5142621"/>
              <a:gd name="connsiteX4700" fmla="*/ 2121617 w 6268558"/>
              <a:gd name="connsiteY4700" fmla="*/ 2779561 h 5142621"/>
              <a:gd name="connsiteX4701" fmla="*/ 2120131 w 6268558"/>
              <a:gd name="connsiteY4701" fmla="*/ 2779655 h 5142621"/>
              <a:gd name="connsiteX4702" fmla="*/ 2105697 w 6268558"/>
              <a:gd name="connsiteY4702" fmla="*/ 2740964 h 5142621"/>
              <a:gd name="connsiteX4703" fmla="*/ 2104900 w 6268558"/>
              <a:gd name="connsiteY4703" fmla="*/ 2741733 h 5142621"/>
              <a:gd name="connsiteX4704" fmla="*/ 2092562 w 6268558"/>
              <a:gd name="connsiteY4704" fmla="*/ 2747281 h 5142621"/>
              <a:gd name="connsiteX4705" fmla="*/ 2106548 w 6268558"/>
              <a:gd name="connsiteY4705" fmla="*/ 2771448 h 5142621"/>
              <a:gd name="connsiteX4706" fmla="*/ 2120278 w 6268558"/>
              <a:gd name="connsiteY4706" fmla="*/ 2805061 h 5142621"/>
              <a:gd name="connsiteX4707" fmla="*/ 2141849 w 6268558"/>
              <a:gd name="connsiteY4707" fmla="*/ 2800998 h 5142621"/>
              <a:gd name="connsiteX4708" fmla="*/ 2165054 w 6268558"/>
              <a:gd name="connsiteY4708" fmla="*/ 2788806 h 5142621"/>
              <a:gd name="connsiteX4709" fmla="*/ 2181492 w 6268558"/>
              <a:gd name="connsiteY4709" fmla="*/ 2771213 h 5142621"/>
              <a:gd name="connsiteX4710" fmla="*/ 2188708 w 6268558"/>
              <a:gd name="connsiteY4710" fmla="*/ 2723528 h 5142621"/>
              <a:gd name="connsiteX4711" fmla="*/ 2173261 w 6268558"/>
              <a:gd name="connsiteY4711" fmla="*/ 2671574 h 5142621"/>
              <a:gd name="connsiteX4712" fmla="*/ 2149395 w 6268558"/>
              <a:gd name="connsiteY4712" fmla="*/ 2619360 h 5142621"/>
              <a:gd name="connsiteX4713" fmla="*/ 2093456 w 6268558"/>
              <a:gd name="connsiteY4713" fmla="*/ 2511915 h 5142621"/>
              <a:gd name="connsiteX4714" fmla="*/ 2064260 w 6268558"/>
              <a:gd name="connsiteY4714" fmla="*/ 2455599 h 5142621"/>
              <a:gd name="connsiteX4715" fmla="*/ 2034899 w 6268558"/>
              <a:gd name="connsiteY4715" fmla="*/ 2397348 h 5142621"/>
              <a:gd name="connsiteX4716" fmla="*/ 1977214 w 6268558"/>
              <a:gd name="connsiteY4716" fmla="*/ 2274692 h 5142621"/>
              <a:gd name="connsiteX4717" fmla="*/ 1807910 w 6268558"/>
              <a:gd name="connsiteY4717" fmla="*/ 1704025 h 5142621"/>
              <a:gd name="connsiteX4718" fmla="*/ 1851280 w 6268558"/>
              <a:gd name="connsiteY4718" fmla="*/ 1037893 h 5142621"/>
              <a:gd name="connsiteX4719" fmla="*/ 1904483 w 6268558"/>
              <a:gd name="connsiteY4719" fmla="*/ 867340 h 5142621"/>
              <a:gd name="connsiteX4720" fmla="*/ 1972544 w 6268558"/>
              <a:gd name="connsiteY4720" fmla="*/ 699828 h 5142621"/>
              <a:gd name="connsiteX4721" fmla="*/ 2056807 w 6268558"/>
              <a:gd name="connsiteY4721" fmla="*/ 537198 h 5142621"/>
              <a:gd name="connsiteX4722" fmla="*/ 2110577 w 6268558"/>
              <a:gd name="connsiteY4722" fmla="*/ 457982 h 5142621"/>
              <a:gd name="connsiteX4723" fmla="*/ 2143712 w 6268558"/>
              <a:gd name="connsiteY4723" fmla="*/ 419471 h 5142621"/>
              <a:gd name="connsiteX4724" fmla="*/ 2183237 w 6268558"/>
              <a:gd name="connsiteY4724" fmla="*/ 383317 h 5142621"/>
              <a:gd name="connsiteX4725" fmla="*/ 2228564 w 6268558"/>
              <a:gd name="connsiteY4725" fmla="*/ 352541 h 5142621"/>
              <a:gd name="connsiteX4726" fmla="*/ 2276131 w 6268558"/>
              <a:gd name="connsiteY4726" fmla="*/ 328887 h 5142621"/>
              <a:gd name="connsiteX4727" fmla="*/ 2323534 w 6268558"/>
              <a:gd name="connsiteY4727" fmla="*/ 310846 h 5142621"/>
              <a:gd name="connsiteX4728" fmla="*/ 2370535 w 6268558"/>
              <a:gd name="connsiteY4728" fmla="*/ 296177 h 5142621"/>
              <a:gd name="connsiteX4729" fmla="*/ 2464797 w 6268558"/>
              <a:gd name="connsiteY4729" fmla="*/ 271863 h 5142621"/>
              <a:gd name="connsiteX4730" fmla="*/ 2561936 w 6268558"/>
              <a:gd name="connsiteY4730" fmla="*/ 250002 h 5142621"/>
              <a:gd name="connsiteX4731" fmla="*/ 3016645 w 6268558"/>
              <a:gd name="connsiteY4731" fmla="*/ 163097 h 5142621"/>
              <a:gd name="connsiteX4732" fmla="*/ 3659924 w 6268558"/>
              <a:gd name="connsiteY4732" fmla="*/ 83716 h 5142621"/>
              <a:gd name="connsiteX4733" fmla="*/ 4662730 w 6268558"/>
              <a:gd name="connsiteY4733" fmla="*/ 47021 h 5142621"/>
              <a:gd name="connsiteX4734" fmla="*/ 4653933 w 6268558"/>
              <a:gd name="connsiteY4734" fmla="*/ 51431 h 5142621"/>
              <a:gd name="connsiteX4735" fmla="*/ 3653863 w 6268558"/>
              <a:gd name="connsiteY4735" fmla="*/ 88622 h 5142621"/>
              <a:gd name="connsiteX4736" fmla="*/ 3011904 w 6268558"/>
              <a:gd name="connsiteY4736" fmla="*/ 168427 h 5142621"/>
              <a:gd name="connsiteX4737" fmla="*/ 2558022 w 6268558"/>
              <a:gd name="connsiteY4737" fmla="*/ 255709 h 5142621"/>
              <a:gd name="connsiteX4738" fmla="*/ 2461307 w 6268558"/>
              <a:gd name="connsiteY4738" fmla="*/ 277594 h 5142621"/>
              <a:gd name="connsiteX4739" fmla="*/ 2367823 w 6268558"/>
              <a:gd name="connsiteY4739" fmla="*/ 301837 h 5142621"/>
              <a:gd name="connsiteX4740" fmla="*/ 2321553 w 6268558"/>
              <a:gd name="connsiteY4740" fmla="*/ 316341 h 5142621"/>
              <a:gd name="connsiteX4741" fmla="*/ 2275306 w 6268558"/>
              <a:gd name="connsiteY4741" fmla="*/ 334005 h 5142621"/>
              <a:gd name="connsiteX4742" fmla="*/ 2229555 w 6268558"/>
              <a:gd name="connsiteY4742" fmla="*/ 356810 h 5142621"/>
              <a:gd name="connsiteX4743" fmla="*/ 2186397 w 6268558"/>
              <a:gd name="connsiteY4743" fmla="*/ 386100 h 5142621"/>
              <a:gd name="connsiteX4744" fmla="*/ 2148452 w 6268558"/>
              <a:gd name="connsiteY4744" fmla="*/ 420744 h 5142621"/>
              <a:gd name="connsiteX4745" fmla="*/ 2116119 w 6268558"/>
              <a:gd name="connsiteY4745" fmla="*/ 458194 h 5142621"/>
              <a:gd name="connsiteX4746" fmla="*/ 2062821 w 6268558"/>
              <a:gd name="connsiteY4746" fmla="*/ 536278 h 5142621"/>
              <a:gd name="connsiteX4747" fmla="*/ 1978322 w 6268558"/>
              <a:gd name="connsiteY4747" fmla="*/ 698177 h 5142621"/>
              <a:gd name="connsiteX4748" fmla="*/ 1909719 w 6268558"/>
              <a:gd name="connsiteY4748" fmla="*/ 865453 h 5142621"/>
              <a:gd name="connsiteX4749" fmla="*/ 1855925 w 6268558"/>
              <a:gd name="connsiteY4749" fmla="*/ 1035889 h 5142621"/>
              <a:gd name="connsiteX4750" fmla="*/ 1810433 w 6268558"/>
              <a:gd name="connsiteY4750" fmla="*/ 1702115 h 5142621"/>
              <a:gd name="connsiteX4751" fmla="*/ 1978653 w 6268558"/>
              <a:gd name="connsiteY4751" fmla="*/ 2273371 h 5142621"/>
              <a:gd name="connsiteX4752" fmla="*/ 2036219 w 6268558"/>
              <a:gd name="connsiteY4752" fmla="*/ 2396192 h 5142621"/>
              <a:gd name="connsiteX4753" fmla="*/ 2065533 w 6268558"/>
              <a:gd name="connsiteY4753" fmla="*/ 2454537 h 5142621"/>
              <a:gd name="connsiteX4754" fmla="*/ 2094706 w 6268558"/>
              <a:gd name="connsiteY4754" fmla="*/ 2510948 h 5142621"/>
              <a:gd name="connsiteX4755" fmla="*/ 2150645 w 6268558"/>
              <a:gd name="connsiteY4755" fmla="*/ 2618629 h 5142621"/>
              <a:gd name="connsiteX4756" fmla="*/ 2174558 w 6268558"/>
              <a:gd name="connsiteY4756" fmla="*/ 2671055 h 5142621"/>
              <a:gd name="connsiteX4757" fmla="*/ 2190100 w 6268558"/>
              <a:gd name="connsiteY4757" fmla="*/ 2723457 h 5142621"/>
              <a:gd name="connsiteX4758" fmla="*/ 2190595 w 6268558"/>
              <a:gd name="connsiteY4758" fmla="*/ 2748998 h 5142621"/>
              <a:gd name="connsiteX4759" fmla="*/ 2182765 w 6268558"/>
              <a:gd name="connsiteY4759" fmla="*/ 2771897 h 5142621"/>
              <a:gd name="connsiteX4760" fmla="*/ 2166092 w 6268558"/>
              <a:gd name="connsiteY4760" fmla="*/ 2789726 h 5142621"/>
              <a:gd name="connsiteX4761" fmla="*/ 2142650 w 6268558"/>
              <a:gd name="connsiteY4761" fmla="*/ 2802013 h 5142621"/>
              <a:gd name="connsiteX4762" fmla="*/ 2120709 w 6268558"/>
              <a:gd name="connsiteY4762" fmla="*/ 2806116 h 5142621"/>
              <a:gd name="connsiteX4763" fmla="*/ 2127490 w 6268558"/>
              <a:gd name="connsiteY4763" fmla="*/ 2822718 h 5142621"/>
              <a:gd name="connsiteX4764" fmla="*/ 2126004 w 6268558"/>
              <a:gd name="connsiteY4764" fmla="*/ 2822859 h 5142621"/>
              <a:gd name="connsiteX4765" fmla="*/ 2119265 w 6268558"/>
              <a:gd name="connsiteY4765" fmla="*/ 2806386 h 5142621"/>
              <a:gd name="connsiteX4766" fmla="*/ 2087229 w 6268558"/>
              <a:gd name="connsiteY4766" fmla="*/ 2812376 h 5142621"/>
              <a:gd name="connsiteX4767" fmla="*/ 2090442 w 6268558"/>
              <a:gd name="connsiteY4767" fmla="*/ 2820242 h 5142621"/>
              <a:gd name="connsiteX4768" fmla="*/ 2088957 w 6268558"/>
              <a:gd name="connsiteY4768" fmla="*/ 2820384 h 5142621"/>
              <a:gd name="connsiteX4769" fmla="*/ 2085791 w 6268558"/>
              <a:gd name="connsiteY4769" fmla="*/ 2812645 h 5142621"/>
              <a:gd name="connsiteX4770" fmla="*/ 2082489 w 6268558"/>
              <a:gd name="connsiteY4770" fmla="*/ 2813262 h 5142621"/>
              <a:gd name="connsiteX4771" fmla="*/ 2065274 w 6268558"/>
              <a:gd name="connsiteY4771" fmla="*/ 2813781 h 5142621"/>
              <a:gd name="connsiteX4772" fmla="*/ 2056359 w 6268558"/>
              <a:gd name="connsiteY4772" fmla="*/ 2813733 h 5142621"/>
              <a:gd name="connsiteX4773" fmla="*/ 2051756 w 6268558"/>
              <a:gd name="connsiteY4773" fmla="*/ 2813544 h 5142621"/>
              <a:gd name="connsiteX4774" fmla="*/ 2054078 w 6268558"/>
              <a:gd name="connsiteY4774" fmla="*/ 2819228 h 5142621"/>
              <a:gd name="connsiteX4775" fmla="*/ 2052592 w 6268558"/>
              <a:gd name="connsiteY4775" fmla="*/ 2819369 h 5142621"/>
              <a:gd name="connsiteX4776" fmla="*/ 2050183 w 6268558"/>
              <a:gd name="connsiteY4776" fmla="*/ 2813479 h 5142621"/>
              <a:gd name="connsiteX4777" fmla="*/ 2047185 w 6268558"/>
              <a:gd name="connsiteY4777" fmla="*/ 2813356 h 5142621"/>
              <a:gd name="connsiteX4778" fmla="*/ 2037823 w 6268558"/>
              <a:gd name="connsiteY4778" fmla="*/ 2812790 h 5142621"/>
              <a:gd name="connsiteX4779" fmla="*/ 2028272 w 6268558"/>
              <a:gd name="connsiteY4779" fmla="*/ 2811988 h 5142621"/>
              <a:gd name="connsiteX4780" fmla="*/ 2013849 w 6268558"/>
              <a:gd name="connsiteY4780" fmla="*/ 2810445 h 5142621"/>
              <a:gd name="connsiteX4781" fmla="*/ 2018679 w 6268558"/>
              <a:gd name="connsiteY4781" fmla="*/ 2822270 h 5142621"/>
              <a:gd name="connsiteX4782" fmla="*/ 2017193 w 6268558"/>
              <a:gd name="connsiteY4782" fmla="*/ 2822411 h 5142621"/>
              <a:gd name="connsiteX4783" fmla="*/ 2012227 w 6268558"/>
              <a:gd name="connsiteY4783" fmla="*/ 2810272 h 5142621"/>
              <a:gd name="connsiteX4784" fmla="*/ 2008650 w 6268558"/>
              <a:gd name="connsiteY4784" fmla="*/ 2809889 h 5142621"/>
              <a:gd name="connsiteX4785" fmla="*/ 1974284 w 6268558"/>
              <a:gd name="connsiteY4785" fmla="*/ 2803606 h 5142621"/>
              <a:gd name="connsiteX4786" fmla="*/ 1981936 w 6268558"/>
              <a:gd name="connsiteY4786" fmla="*/ 2822341 h 5142621"/>
              <a:gd name="connsiteX4787" fmla="*/ 1980451 w 6268558"/>
              <a:gd name="connsiteY4787" fmla="*/ 2822482 h 5142621"/>
              <a:gd name="connsiteX4788" fmla="*/ 1972603 w 6268558"/>
              <a:gd name="connsiteY4788" fmla="*/ 2803299 h 5142621"/>
              <a:gd name="connsiteX4789" fmla="*/ 1934157 w 6268558"/>
              <a:gd name="connsiteY4789" fmla="*/ 2796270 h 5142621"/>
              <a:gd name="connsiteX4790" fmla="*/ 1948890 w 6268558"/>
              <a:gd name="connsiteY4790" fmla="*/ 2832340 h 5142621"/>
              <a:gd name="connsiteX4791" fmla="*/ 1947405 w 6268558"/>
              <a:gd name="connsiteY4791" fmla="*/ 2832482 h 5142621"/>
              <a:gd name="connsiteX4792" fmla="*/ 1932465 w 6268558"/>
              <a:gd name="connsiteY4792" fmla="*/ 2795961 h 5142621"/>
              <a:gd name="connsiteX4793" fmla="*/ 1922609 w 6268558"/>
              <a:gd name="connsiteY4793" fmla="*/ 2794159 h 5142621"/>
              <a:gd name="connsiteX4794" fmla="*/ 1892844 w 6268558"/>
              <a:gd name="connsiteY4794" fmla="*/ 2785605 h 5142621"/>
              <a:gd name="connsiteX4795" fmla="*/ 1910758 w 6268558"/>
              <a:gd name="connsiteY4795" fmla="*/ 2829463 h 5142621"/>
              <a:gd name="connsiteX4796" fmla="*/ 1909273 w 6268558"/>
              <a:gd name="connsiteY4796" fmla="*/ 2829604 h 5142621"/>
              <a:gd name="connsiteX4797" fmla="*/ 1891064 w 6268558"/>
              <a:gd name="connsiteY4797" fmla="*/ 2785093 h 5142621"/>
              <a:gd name="connsiteX4798" fmla="*/ 1844561 w 6268558"/>
              <a:gd name="connsiteY4798" fmla="*/ 2771728 h 5142621"/>
              <a:gd name="connsiteX4799" fmla="*/ 1858757 w 6268558"/>
              <a:gd name="connsiteY4799" fmla="*/ 2796258 h 5142621"/>
              <a:gd name="connsiteX4800" fmla="*/ 1868144 w 6268558"/>
              <a:gd name="connsiteY4800" fmla="*/ 2819240 h 5142621"/>
              <a:gd name="connsiteX4801" fmla="*/ 1942093 w 6268558"/>
              <a:gd name="connsiteY4801" fmla="*/ 2840181 h 5142621"/>
              <a:gd name="connsiteX4802" fmla="*/ 2072635 w 6268558"/>
              <a:gd name="connsiteY4802" fmla="*/ 2861843 h 5142621"/>
              <a:gd name="connsiteX4803" fmla="*/ 2091714 w 6268558"/>
              <a:gd name="connsiteY4803" fmla="*/ 2862951 h 5142621"/>
              <a:gd name="connsiteX4804" fmla="*/ 2100983 w 6268558"/>
              <a:gd name="connsiteY4804" fmla="*/ 2863258 h 5142621"/>
              <a:gd name="connsiteX4805" fmla="*/ 2110038 w 6268558"/>
              <a:gd name="connsiteY4805" fmla="*/ 2863352 h 5142621"/>
              <a:gd name="connsiteX4806" fmla="*/ 2118906 w 6268558"/>
              <a:gd name="connsiteY4806" fmla="*/ 2863258 h 5142621"/>
              <a:gd name="connsiteX4807" fmla="*/ 2127537 w 6268558"/>
              <a:gd name="connsiteY4807" fmla="*/ 2862833 h 5142621"/>
              <a:gd name="connsiteX4808" fmla="*/ 2144187 w 6268558"/>
              <a:gd name="connsiteY4808" fmla="*/ 2861394 h 5142621"/>
              <a:gd name="connsiteX4809" fmla="*/ 2202107 w 6268558"/>
              <a:gd name="connsiteY4809" fmla="*/ 2846961 h 5142621"/>
              <a:gd name="connsiteX4810" fmla="*/ 2224464 w 6268558"/>
              <a:gd name="connsiteY4810" fmla="*/ 2833472 h 5142621"/>
              <a:gd name="connsiteX4811" fmla="*/ 2240218 w 6268558"/>
              <a:gd name="connsiteY4811" fmla="*/ 2814912 h 5142621"/>
              <a:gd name="connsiteX4812" fmla="*/ 2246727 w 6268558"/>
              <a:gd name="connsiteY4812" fmla="*/ 2766661 h 5142621"/>
              <a:gd name="connsiteX4813" fmla="*/ 2231186 w 6268558"/>
              <a:gd name="connsiteY4813" fmla="*/ 2715415 h 5142621"/>
              <a:gd name="connsiteX4814" fmla="*/ 2207390 w 6268558"/>
              <a:gd name="connsiteY4814" fmla="*/ 2664475 h 5142621"/>
              <a:gd name="connsiteX4815" fmla="*/ 2151451 w 6268558"/>
              <a:gd name="connsiteY4815" fmla="*/ 2560260 h 5142621"/>
              <a:gd name="connsiteX4816" fmla="*/ 2122066 w 6268558"/>
              <a:gd name="connsiteY4816" fmla="*/ 2505736 h 5142621"/>
              <a:gd name="connsiteX4817" fmla="*/ 2092351 w 6268558"/>
              <a:gd name="connsiteY4817" fmla="*/ 2449372 h 5142621"/>
              <a:gd name="connsiteX4818" fmla="*/ 2033393 w 6268558"/>
              <a:gd name="connsiteY4818" fmla="*/ 2330701 h 5142621"/>
              <a:gd name="connsiteX4819" fmla="*/ 1850057 w 6268558"/>
              <a:gd name="connsiteY4819" fmla="*/ 1776996 h 5142621"/>
              <a:gd name="connsiteX4820" fmla="*/ 1866730 w 6268558"/>
              <a:gd name="connsiteY4820" fmla="*/ 1123339 h 5142621"/>
              <a:gd name="connsiteX4821" fmla="*/ 1913213 w 6268558"/>
              <a:gd name="connsiteY4821" fmla="*/ 953798 h 5142621"/>
              <a:gd name="connsiteX4822" fmla="*/ 1975685 w 6268558"/>
              <a:gd name="connsiteY4822" fmla="*/ 785956 h 5142621"/>
              <a:gd name="connsiteX4823" fmla="*/ 2056292 w 6268558"/>
              <a:gd name="connsiteY4823" fmla="*/ 621110 h 5142621"/>
              <a:gd name="connsiteX4824" fmla="*/ 2109307 w 6268558"/>
              <a:gd name="connsiteY4824" fmla="*/ 539700 h 5142621"/>
              <a:gd name="connsiteX4825" fmla="*/ 2142442 w 6268558"/>
              <a:gd name="connsiteY4825" fmla="*/ 499632 h 5142621"/>
              <a:gd name="connsiteX4826" fmla="*/ 2182298 w 6268558"/>
              <a:gd name="connsiteY4826" fmla="*/ 461569 h 5142621"/>
              <a:gd name="connsiteX4827" fmla="*/ 2228261 w 6268558"/>
              <a:gd name="connsiteY4827" fmla="*/ 428623 h 5142621"/>
              <a:gd name="connsiteX4828" fmla="*/ 2276654 w 6268558"/>
              <a:gd name="connsiteY4828" fmla="*/ 402753 h 5142621"/>
              <a:gd name="connsiteX4829" fmla="*/ 2325000 w 6268558"/>
              <a:gd name="connsiteY4829" fmla="*/ 382589 h 5142621"/>
              <a:gd name="connsiteX4830" fmla="*/ 2372991 w 6268558"/>
              <a:gd name="connsiteY4830" fmla="*/ 365963 h 5142621"/>
              <a:gd name="connsiteX4831" fmla="*/ 2469470 w 6268558"/>
              <a:gd name="connsiteY4831" fmla="*/ 337993 h 5142621"/>
              <a:gd name="connsiteX4832" fmla="*/ 2569157 w 6268558"/>
              <a:gd name="connsiteY4832" fmla="*/ 312783 h 5142621"/>
              <a:gd name="connsiteX4833" fmla="*/ 3039473 w 6268558"/>
              <a:gd name="connsiteY4833" fmla="*/ 215030 h 5142621"/>
              <a:gd name="connsiteX4834" fmla="*/ 3711500 w 6268558"/>
              <a:gd name="connsiteY4834" fmla="*/ 129965 h 5142621"/>
              <a:gd name="connsiteX4835" fmla="*/ 4763689 w 6268558"/>
              <a:gd name="connsiteY4835" fmla="*/ 95770 h 5142621"/>
              <a:gd name="connsiteX4836" fmla="*/ 4753454 w 6268558"/>
              <a:gd name="connsiteY4836" fmla="*/ 100251 h 5142621"/>
              <a:gd name="connsiteX4837" fmla="*/ 3704567 w 6268558"/>
              <a:gd name="connsiteY4837" fmla="*/ 135059 h 5142621"/>
              <a:gd name="connsiteX4838" fmla="*/ 3034192 w 6268558"/>
              <a:gd name="connsiteY4838" fmla="*/ 220572 h 5142621"/>
              <a:gd name="connsiteX4839" fmla="*/ 2564935 w 6268558"/>
              <a:gd name="connsiteY4839" fmla="*/ 318702 h 5142621"/>
              <a:gd name="connsiteX4840" fmla="*/ 2465721 w 6268558"/>
              <a:gd name="connsiteY4840" fmla="*/ 343912 h 5142621"/>
              <a:gd name="connsiteX4841" fmla="*/ 2370114 w 6268558"/>
              <a:gd name="connsiteY4841" fmla="*/ 371764 h 5142621"/>
              <a:gd name="connsiteX4842" fmla="*/ 2322901 w 6268558"/>
              <a:gd name="connsiteY4842" fmla="*/ 388202 h 5142621"/>
              <a:gd name="connsiteX4843" fmla="*/ 2275781 w 6268558"/>
              <a:gd name="connsiteY4843" fmla="*/ 407917 h 5142621"/>
              <a:gd name="connsiteX4844" fmla="*/ 2229252 w 6268558"/>
              <a:gd name="connsiteY4844" fmla="*/ 432845 h 5142621"/>
              <a:gd name="connsiteX4845" fmla="*/ 2185505 w 6268558"/>
              <a:gd name="connsiteY4845" fmla="*/ 464210 h 5142621"/>
              <a:gd name="connsiteX4846" fmla="*/ 2147253 w 6268558"/>
              <a:gd name="connsiteY4846" fmla="*/ 500670 h 5142621"/>
              <a:gd name="connsiteX4847" fmla="*/ 2114920 w 6268558"/>
              <a:gd name="connsiteY4847" fmla="*/ 539630 h 5142621"/>
              <a:gd name="connsiteX4848" fmla="*/ 2062353 w 6268558"/>
              <a:gd name="connsiteY4848" fmla="*/ 619883 h 5142621"/>
              <a:gd name="connsiteX4849" fmla="*/ 1981463 w 6268558"/>
              <a:gd name="connsiteY4849" fmla="*/ 783975 h 5142621"/>
              <a:gd name="connsiteX4850" fmla="*/ 1918401 w 6268558"/>
              <a:gd name="connsiteY4850" fmla="*/ 951605 h 5142621"/>
              <a:gd name="connsiteX4851" fmla="*/ 1871282 w 6268558"/>
              <a:gd name="connsiteY4851" fmla="*/ 1121050 h 5142621"/>
              <a:gd name="connsiteX4852" fmla="*/ 1852486 w 6268558"/>
              <a:gd name="connsiteY4852" fmla="*/ 1774897 h 5142621"/>
              <a:gd name="connsiteX4853" fmla="*/ 2034808 w 6268558"/>
              <a:gd name="connsiteY4853" fmla="*/ 2329239 h 5142621"/>
              <a:gd name="connsiteX4854" fmla="*/ 2093648 w 6268558"/>
              <a:gd name="connsiteY4854" fmla="*/ 2448075 h 5142621"/>
              <a:gd name="connsiteX4855" fmla="*/ 2123316 w 6268558"/>
              <a:gd name="connsiteY4855" fmla="*/ 2504533 h 5142621"/>
              <a:gd name="connsiteX4856" fmla="*/ 2152677 w 6268558"/>
              <a:gd name="connsiteY4856" fmla="*/ 2559152 h 5142621"/>
              <a:gd name="connsiteX4857" fmla="*/ 2208616 w 6268558"/>
              <a:gd name="connsiteY4857" fmla="*/ 2663602 h 5142621"/>
              <a:gd name="connsiteX4858" fmla="*/ 2232459 w 6268558"/>
              <a:gd name="connsiteY4858" fmla="*/ 2714754 h 5142621"/>
              <a:gd name="connsiteX4859" fmla="*/ 2248118 w 6268558"/>
              <a:gd name="connsiteY4859" fmla="*/ 2766425 h 5142621"/>
              <a:gd name="connsiteX4860" fmla="*/ 2248873 w 6268558"/>
              <a:gd name="connsiteY4860" fmla="*/ 2792036 h 5142621"/>
              <a:gd name="connsiteX4861" fmla="*/ 2241515 w 6268558"/>
              <a:gd name="connsiteY4861" fmla="*/ 2815454 h 5142621"/>
              <a:gd name="connsiteX4862" fmla="*/ 2225549 w 6268558"/>
              <a:gd name="connsiteY4862" fmla="*/ 2834274 h 5142621"/>
              <a:gd name="connsiteX4863" fmla="*/ 2202956 w 6268558"/>
              <a:gd name="connsiteY4863" fmla="*/ 2847858 h 5142621"/>
              <a:gd name="connsiteX4864" fmla="*/ 2144706 w 6268558"/>
              <a:gd name="connsiteY4864" fmla="*/ 2862267 h 5142621"/>
              <a:gd name="connsiteX4865" fmla="*/ 2127985 w 6268558"/>
              <a:gd name="connsiteY4865" fmla="*/ 2863682 h 5142621"/>
              <a:gd name="connsiteX4866" fmla="*/ 2119330 w 6268558"/>
              <a:gd name="connsiteY4866" fmla="*/ 2864083 h 5142621"/>
              <a:gd name="connsiteX4867" fmla="*/ 2110416 w 6268558"/>
              <a:gd name="connsiteY4867" fmla="*/ 2864177 h 5142621"/>
              <a:gd name="connsiteX4868" fmla="*/ 2101313 w 6268558"/>
              <a:gd name="connsiteY4868" fmla="*/ 2864083 h 5142621"/>
              <a:gd name="connsiteX4869" fmla="*/ 2092021 w 6268558"/>
              <a:gd name="connsiteY4869" fmla="*/ 2863753 h 5142621"/>
              <a:gd name="connsiteX4870" fmla="*/ 2072918 w 6268558"/>
              <a:gd name="connsiteY4870" fmla="*/ 2862621 h 5142621"/>
              <a:gd name="connsiteX4871" fmla="*/ 1942200 w 6268558"/>
              <a:gd name="connsiteY4871" fmla="*/ 2840792 h 5142621"/>
              <a:gd name="connsiteX4872" fmla="*/ 1868382 w 6268558"/>
              <a:gd name="connsiteY4872" fmla="*/ 2819824 h 5142621"/>
              <a:gd name="connsiteX4873" fmla="*/ 1879699 w 6268558"/>
              <a:gd name="connsiteY4873" fmla="*/ 2847528 h 5142621"/>
              <a:gd name="connsiteX4874" fmla="*/ 1878213 w 6268558"/>
              <a:gd name="connsiteY4874" fmla="*/ 2847669 h 5142621"/>
              <a:gd name="connsiteX4875" fmla="*/ 1866616 w 6268558"/>
              <a:gd name="connsiteY4875" fmla="*/ 2819322 h 5142621"/>
              <a:gd name="connsiteX4876" fmla="*/ 1865621 w 6268558"/>
              <a:gd name="connsiteY4876" fmla="*/ 2819040 h 5142621"/>
              <a:gd name="connsiteX4877" fmla="*/ 1821671 w 6268558"/>
              <a:gd name="connsiteY4877" fmla="*/ 2803366 h 5142621"/>
              <a:gd name="connsiteX4878" fmla="*/ 1826306 w 6268558"/>
              <a:gd name="connsiteY4878" fmla="*/ 2811375 h 5142621"/>
              <a:gd name="connsiteX4879" fmla="*/ 1841217 w 6268558"/>
              <a:gd name="connsiteY4879" fmla="*/ 2847880 h 5142621"/>
              <a:gd name="connsiteX4880" fmla="*/ 1849286 w 6268558"/>
              <a:gd name="connsiteY4880" fmla="*/ 2851088 h 5142621"/>
              <a:gd name="connsiteX4881" fmla="*/ 2134870 w 6268558"/>
              <a:gd name="connsiteY4881" fmla="*/ 2911131 h 5142621"/>
              <a:gd name="connsiteX4882" fmla="*/ 2153430 w 6268558"/>
              <a:gd name="connsiteY4882" fmla="*/ 2911296 h 5142621"/>
              <a:gd name="connsiteX4883" fmla="*/ 2162439 w 6268558"/>
              <a:gd name="connsiteY4883" fmla="*/ 2911155 h 5142621"/>
              <a:gd name="connsiteX4884" fmla="*/ 2171235 w 6268558"/>
              <a:gd name="connsiteY4884" fmla="*/ 2910778 h 5142621"/>
              <a:gd name="connsiteX4885" fmla="*/ 2179843 w 6268558"/>
              <a:gd name="connsiteY4885" fmla="*/ 2910235 h 5142621"/>
              <a:gd name="connsiteX4886" fmla="*/ 2188215 w 6268558"/>
              <a:gd name="connsiteY4886" fmla="*/ 2909386 h 5142621"/>
              <a:gd name="connsiteX4887" fmla="*/ 2204370 w 6268558"/>
              <a:gd name="connsiteY4887" fmla="*/ 2907122 h 5142621"/>
              <a:gd name="connsiteX4888" fmla="*/ 2260427 w 6268558"/>
              <a:gd name="connsiteY4888" fmla="*/ 2889647 h 5142621"/>
              <a:gd name="connsiteX4889" fmla="*/ 2282006 w 6268558"/>
              <a:gd name="connsiteY4889" fmla="*/ 2874931 h 5142621"/>
              <a:gd name="connsiteX4890" fmla="*/ 2297099 w 6268558"/>
              <a:gd name="connsiteY4890" fmla="*/ 2855428 h 5142621"/>
              <a:gd name="connsiteX4891" fmla="*/ 2302995 w 6268558"/>
              <a:gd name="connsiteY4891" fmla="*/ 2806587 h 5142621"/>
              <a:gd name="connsiteX4892" fmla="*/ 2287453 w 6268558"/>
              <a:gd name="connsiteY4892" fmla="*/ 2755977 h 5142621"/>
              <a:gd name="connsiteX4893" fmla="*/ 2263823 w 6268558"/>
              <a:gd name="connsiteY4893" fmla="*/ 2706193 h 5142621"/>
              <a:gd name="connsiteX4894" fmla="*/ 2208119 w 6268558"/>
              <a:gd name="connsiteY4894" fmla="*/ 2604974 h 5142621"/>
              <a:gd name="connsiteX4895" fmla="*/ 2178688 w 6268558"/>
              <a:gd name="connsiteY4895" fmla="*/ 2552147 h 5142621"/>
              <a:gd name="connsiteX4896" fmla="*/ 2148784 w 6268558"/>
              <a:gd name="connsiteY4896" fmla="*/ 2497576 h 5142621"/>
              <a:gd name="connsiteX4897" fmla="*/ 2088930 w 6268558"/>
              <a:gd name="connsiteY4897" fmla="*/ 2382726 h 5142621"/>
              <a:gd name="connsiteX4898" fmla="*/ 1893496 w 6268558"/>
              <a:gd name="connsiteY4898" fmla="*/ 1845739 h 5142621"/>
              <a:gd name="connsiteX4899" fmla="*/ 1885076 w 6268558"/>
              <a:gd name="connsiteY4899" fmla="*/ 1205477 h 5142621"/>
              <a:gd name="connsiteX4900" fmla="*/ 1924814 w 6268558"/>
              <a:gd name="connsiteY4900" fmla="*/ 1037541 h 5142621"/>
              <a:gd name="connsiteX4901" fmla="*/ 1981320 w 6268558"/>
              <a:gd name="connsiteY4901" fmla="*/ 870123 h 5142621"/>
              <a:gd name="connsiteX4902" fmla="*/ 2057446 w 6268558"/>
              <a:gd name="connsiteY4902" fmla="*/ 704026 h 5142621"/>
              <a:gd name="connsiteX4903" fmla="*/ 2109070 w 6268558"/>
              <a:gd name="connsiteY4903" fmla="*/ 620942 h 5142621"/>
              <a:gd name="connsiteX4904" fmla="*/ 2141827 w 6268558"/>
              <a:gd name="connsiteY4904" fmla="*/ 579602 h 5142621"/>
              <a:gd name="connsiteX4905" fmla="*/ 2181612 w 6268558"/>
              <a:gd name="connsiteY4905" fmla="*/ 539864 h 5142621"/>
              <a:gd name="connsiteX4906" fmla="*/ 2227859 w 6268558"/>
              <a:gd name="connsiteY4906" fmla="*/ 504914 h 5142621"/>
              <a:gd name="connsiteX4907" fmla="*/ 2276794 w 6268558"/>
              <a:gd name="connsiteY4907" fmla="*/ 476943 h 5142621"/>
              <a:gd name="connsiteX4908" fmla="*/ 2325823 w 6268558"/>
              <a:gd name="connsiteY4908" fmla="*/ 454752 h 5142621"/>
              <a:gd name="connsiteX4909" fmla="*/ 2374617 w 6268558"/>
              <a:gd name="connsiteY4909" fmla="*/ 436192 h 5142621"/>
              <a:gd name="connsiteX4910" fmla="*/ 2472983 w 6268558"/>
              <a:gd name="connsiteY4910" fmla="*/ 404614 h 5142621"/>
              <a:gd name="connsiteX4911" fmla="*/ 2574980 w 6268558"/>
              <a:gd name="connsiteY4911" fmla="*/ 376102 h 5142621"/>
              <a:gd name="connsiteX4912" fmla="*/ 3060038 w 6268558"/>
              <a:gd name="connsiteY4912" fmla="*/ 267761 h 5142621"/>
              <a:gd name="connsiteX4913" fmla="*/ 3759799 w 6268558"/>
              <a:gd name="connsiteY4913" fmla="*/ 177437 h 5142621"/>
              <a:gd name="connsiteX4914" fmla="*/ 4859579 w 6268558"/>
              <a:gd name="connsiteY4914" fmla="*/ 146119 h 5142621"/>
              <a:gd name="connsiteX4915" fmla="*/ 4848047 w 6268558"/>
              <a:gd name="connsiteY4915" fmla="*/ 150552 h 5142621"/>
              <a:gd name="connsiteX4916" fmla="*/ 3752135 w 6268558"/>
              <a:gd name="connsiteY4916" fmla="*/ 182602 h 5142621"/>
              <a:gd name="connsiteX4917" fmla="*/ 3054356 w 6268558"/>
              <a:gd name="connsiteY4917" fmla="*/ 273421 h 5142621"/>
              <a:gd name="connsiteX4918" fmla="*/ 2570570 w 6268558"/>
              <a:gd name="connsiteY4918" fmla="*/ 382163 h 5142621"/>
              <a:gd name="connsiteX4919" fmla="*/ 2469091 w 6268558"/>
              <a:gd name="connsiteY4919" fmla="*/ 410674 h 5142621"/>
              <a:gd name="connsiteX4920" fmla="*/ 2371646 w 6268558"/>
              <a:gd name="connsiteY4920" fmla="*/ 442112 h 5142621"/>
              <a:gd name="connsiteX4921" fmla="*/ 2323654 w 6268558"/>
              <a:gd name="connsiteY4921" fmla="*/ 460459 h 5142621"/>
              <a:gd name="connsiteX4922" fmla="*/ 2275874 w 6268558"/>
              <a:gd name="connsiteY4922" fmla="*/ 482156 h 5142621"/>
              <a:gd name="connsiteX4923" fmla="*/ 2228849 w 6268558"/>
              <a:gd name="connsiteY4923" fmla="*/ 509088 h 5142621"/>
              <a:gd name="connsiteX4924" fmla="*/ 2184866 w 6268558"/>
              <a:gd name="connsiteY4924" fmla="*/ 542340 h 5142621"/>
              <a:gd name="connsiteX4925" fmla="*/ 2146662 w 6268558"/>
              <a:gd name="connsiteY4925" fmla="*/ 580404 h 5142621"/>
              <a:gd name="connsiteX4926" fmla="*/ 2114659 w 6268558"/>
              <a:gd name="connsiteY4926" fmla="*/ 620589 h 5142621"/>
              <a:gd name="connsiteX4927" fmla="*/ 2063436 w 6268558"/>
              <a:gd name="connsiteY4927" fmla="*/ 702493 h 5142621"/>
              <a:gd name="connsiteX4928" fmla="*/ 1986956 w 6268558"/>
              <a:gd name="connsiteY4928" fmla="*/ 867859 h 5142621"/>
              <a:gd name="connsiteX4929" fmla="*/ 1929814 w 6268558"/>
              <a:gd name="connsiteY4929" fmla="*/ 1035112 h 5142621"/>
              <a:gd name="connsiteX4930" fmla="*/ 1889416 w 6268558"/>
              <a:gd name="connsiteY4930" fmla="*/ 1203001 h 5142621"/>
              <a:gd name="connsiteX4931" fmla="*/ 1895689 w 6268558"/>
              <a:gd name="connsiteY4931" fmla="*/ 1843522 h 5142621"/>
              <a:gd name="connsiteX4932" fmla="*/ 2090180 w 6268558"/>
              <a:gd name="connsiteY4932" fmla="*/ 2381216 h 5142621"/>
              <a:gd name="connsiteX4933" fmla="*/ 2149963 w 6268558"/>
              <a:gd name="connsiteY4933" fmla="*/ 2496255 h 5142621"/>
              <a:gd name="connsiteX4934" fmla="*/ 2179843 w 6268558"/>
              <a:gd name="connsiteY4934" fmla="*/ 2550921 h 5142621"/>
              <a:gd name="connsiteX4935" fmla="*/ 2209275 w 6268558"/>
              <a:gd name="connsiteY4935" fmla="*/ 2603842 h 5142621"/>
              <a:gd name="connsiteX4936" fmla="*/ 2264979 w 6268558"/>
              <a:gd name="connsiteY4936" fmla="*/ 2705297 h 5142621"/>
              <a:gd name="connsiteX4937" fmla="*/ 2288656 w 6268558"/>
              <a:gd name="connsiteY4937" fmla="*/ 2755293 h 5142621"/>
              <a:gd name="connsiteX4938" fmla="*/ 2304315 w 6268558"/>
              <a:gd name="connsiteY4938" fmla="*/ 2806327 h 5142621"/>
              <a:gd name="connsiteX4939" fmla="*/ 2305259 w 6268558"/>
              <a:gd name="connsiteY4939" fmla="*/ 2832009 h 5142621"/>
              <a:gd name="connsiteX4940" fmla="*/ 2298325 w 6268558"/>
              <a:gd name="connsiteY4940" fmla="*/ 2855947 h 5142621"/>
              <a:gd name="connsiteX4941" fmla="*/ 2282996 w 6268558"/>
              <a:gd name="connsiteY4941" fmla="*/ 2875709 h 5142621"/>
              <a:gd name="connsiteX4942" fmla="*/ 2261205 w 6268558"/>
              <a:gd name="connsiteY4942" fmla="*/ 2890543 h 5142621"/>
              <a:gd name="connsiteX4943" fmla="*/ 2204818 w 6268558"/>
              <a:gd name="connsiteY4943" fmla="*/ 2908018 h 5142621"/>
              <a:gd name="connsiteX4944" fmla="*/ 2188593 w 6268558"/>
              <a:gd name="connsiteY4944" fmla="*/ 2910282 h 5142621"/>
              <a:gd name="connsiteX4945" fmla="*/ 2180197 w 6268558"/>
              <a:gd name="connsiteY4945" fmla="*/ 2911131 h 5142621"/>
              <a:gd name="connsiteX4946" fmla="*/ 2171542 w 6268558"/>
              <a:gd name="connsiteY4946" fmla="*/ 2911674 h 5142621"/>
              <a:gd name="connsiteX4947" fmla="*/ 2162698 w 6268558"/>
              <a:gd name="connsiteY4947" fmla="*/ 2912027 h 5142621"/>
              <a:gd name="connsiteX4948" fmla="*/ 2153666 w 6268558"/>
              <a:gd name="connsiteY4948" fmla="*/ 2912169 h 5142621"/>
              <a:gd name="connsiteX4949" fmla="*/ 2135082 w 6268558"/>
              <a:gd name="connsiteY4949" fmla="*/ 2911980 h 5142621"/>
              <a:gd name="connsiteX4950" fmla="*/ 1849179 w 6268558"/>
              <a:gd name="connsiteY4950" fmla="*/ 2851609 h 5142621"/>
              <a:gd name="connsiteX4951" fmla="*/ 1841489 w 6268558"/>
              <a:gd name="connsiteY4951" fmla="*/ 2848546 h 5142621"/>
              <a:gd name="connsiteX4952" fmla="*/ 1847248 w 6268558"/>
              <a:gd name="connsiteY4952" fmla="*/ 2862645 h 5142621"/>
              <a:gd name="connsiteX4953" fmla="*/ 1845762 w 6268558"/>
              <a:gd name="connsiteY4953" fmla="*/ 2862786 h 5142621"/>
              <a:gd name="connsiteX4954" fmla="*/ 1839634 w 6268558"/>
              <a:gd name="connsiteY4954" fmla="*/ 2847808 h 5142621"/>
              <a:gd name="connsiteX4955" fmla="*/ 1795852 w 6268558"/>
              <a:gd name="connsiteY4955" fmla="*/ 2830373 h 5142621"/>
              <a:gd name="connsiteX4956" fmla="*/ 1811760 w 6268558"/>
              <a:gd name="connsiteY4956" fmla="*/ 2869319 h 5142621"/>
              <a:gd name="connsiteX4957" fmla="*/ 1810274 w 6268558"/>
              <a:gd name="connsiteY4957" fmla="*/ 2869460 h 5142621"/>
              <a:gd name="connsiteX4958" fmla="*/ 1793979 w 6268558"/>
              <a:gd name="connsiteY4958" fmla="*/ 2829627 h 5142621"/>
              <a:gd name="connsiteX4959" fmla="*/ 1723979 w 6268558"/>
              <a:gd name="connsiteY4959" fmla="*/ 2801752 h 5142621"/>
              <a:gd name="connsiteX4960" fmla="*/ 1039264 w 6268558"/>
              <a:gd name="connsiteY4960" fmla="*/ 2373528 h 5142621"/>
              <a:gd name="connsiteX4961" fmla="*/ 96974 w 6268558"/>
              <a:gd name="connsiteY4961" fmla="*/ 1462605 h 5142621"/>
              <a:gd name="connsiteX4962" fmla="*/ 1039665 w 6268558"/>
              <a:gd name="connsiteY4962" fmla="*/ 2373552 h 5142621"/>
              <a:gd name="connsiteX4963" fmla="*/ 1724192 w 6268558"/>
              <a:gd name="connsiteY4963" fmla="*/ 2801351 h 5142621"/>
              <a:gd name="connsiteX4964" fmla="*/ 1793721 w 6268558"/>
              <a:gd name="connsiteY4964" fmla="*/ 2828996 h 5142621"/>
              <a:gd name="connsiteX4965" fmla="*/ 1789474 w 6268558"/>
              <a:gd name="connsiteY4965" fmla="*/ 2818615 h 5142621"/>
              <a:gd name="connsiteX4966" fmla="*/ 1769278 w 6268558"/>
              <a:gd name="connsiteY4966" fmla="*/ 2783778 h 5142621"/>
              <a:gd name="connsiteX4967" fmla="*/ 1653915 w 6268558"/>
              <a:gd name="connsiteY4967" fmla="*/ 2733597 h 5142621"/>
              <a:gd name="connsiteX4968" fmla="*/ 970474 w 6268558"/>
              <a:gd name="connsiteY4968" fmla="*/ 2284242 h 5142621"/>
              <a:gd name="connsiteX4969" fmla="*/ 61198 w 6268558"/>
              <a:gd name="connsiteY4969" fmla="*/ 1381056 h 5142621"/>
              <a:gd name="connsiteX4970" fmla="*/ 970804 w 6268558"/>
              <a:gd name="connsiteY4970" fmla="*/ 2284360 h 5142621"/>
              <a:gd name="connsiteX4971" fmla="*/ 1654057 w 6268558"/>
              <a:gd name="connsiteY4971" fmla="*/ 2733290 h 5142621"/>
              <a:gd name="connsiteX4972" fmla="*/ 1768934 w 6268558"/>
              <a:gd name="connsiteY4972" fmla="*/ 2783185 h 5142621"/>
              <a:gd name="connsiteX4973" fmla="*/ 1760066 w 6268558"/>
              <a:gd name="connsiteY4973" fmla="*/ 2767888 h 5142621"/>
              <a:gd name="connsiteX4974" fmla="*/ 1737306 w 6268558"/>
              <a:gd name="connsiteY4974" fmla="*/ 2732598 h 5142621"/>
              <a:gd name="connsiteX4975" fmla="*/ 1710666 w 6268558"/>
              <a:gd name="connsiteY4975" fmla="*/ 2722380 h 5142621"/>
              <a:gd name="connsiteX4976" fmla="*/ 1582360 w 6268558"/>
              <a:gd name="connsiteY4976" fmla="*/ 2661905 h 5142621"/>
              <a:gd name="connsiteX4977" fmla="*/ 902385 w 6268558"/>
              <a:gd name="connsiteY4977" fmla="*/ 2193306 h 5142621"/>
              <a:gd name="connsiteX4978" fmla="*/ 28839 w 6268558"/>
              <a:gd name="connsiteY4978" fmla="*/ 1302473 h 5142621"/>
              <a:gd name="connsiteX4979" fmla="*/ 902739 w 6268558"/>
              <a:gd name="connsiteY4979" fmla="*/ 2193377 h 5142621"/>
              <a:gd name="connsiteX4980" fmla="*/ 1582502 w 6268558"/>
              <a:gd name="connsiteY4980" fmla="*/ 2661551 h 5142621"/>
              <a:gd name="connsiteX4981" fmla="*/ 1710725 w 6268558"/>
              <a:gd name="connsiteY4981" fmla="*/ 2721892 h 5142621"/>
              <a:gd name="connsiteX4982" fmla="*/ 1736852 w 6268558"/>
              <a:gd name="connsiteY4982" fmla="*/ 2731894 h 5142621"/>
              <a:gd name="connsiteX4983" fmla="*/ 1702690 w 6268558"/>
              <a:gd name="connsiteY4983" fmla="*/ 2678927 h 5142621"/>
              <a:gd name="connsiteX4984" fmla="*/ 1639100 w 6268558"/>
              <a:gd name="connsiteY4984" fmla="*/ 2652135 h 5142621"/>
              <a:gd name="connsiteX4985" fmla="*/ 1509684 w 6268558"/>
              <a:gd name="connsiteY4985" fmla="*/ 2586508 h 5142621"/>
              <a:gd name="connsiteX4986" fmla="*/ 835463 w 6268558"/>
              <a:gd name="connsiteY4986" fmla="*/ 2100859 h 5142621"/>
              <a:gd name="connsiteX4987" fmla="*/ 0 w 6268558"/>
              <a:gd name="connsiteY4987" fmla="*/ 1227036 h 5142621"/>
              <a:gd name="connsiteX4988" fmla="*/ 835817 w 6268558"/>
              <a:gd name="connsiteY4988" fmla="*/ 2100953 h 5142621"/>
              <a:gd name="connsiteX4989" fmla="*/ 1509825 w 6268558"/>
              <a:gd name="connsiteY4989" fmla="*/ 2586178 h 5142621"/>
              <a:gd name="connsiteX4990" fmla="*/ 1639145 w 6268558"/>
              <a:gd name="connsiteY4990" fmla="*/ 2651680 h 5142621"/>
              <a:gd name="connsiteX4991" fmla="*/ 1702233 w 6268558"/>
              <a:gd name="connsiteY4991" fmla="*/ 2678218 h 5142621"/>
              <a:gd name="connsiteX4992" fmla="*/ 1692806 w 6268558"/>
              <a:gd name="connsiteY4992" fmla="*/ 2663602 h 5142621"/>
              <a:gd name="connsiteX4993" fmla="*/ 1657880 w 6268558"/>
              <a:gd name="connsiteY4993" fmla="*/ 2608819 h 5142621"/>
              <a:gd name="connsiteX4994" fmla="*/ 1622741 w 6268558"/>
              <a:gd name="connsiteY4994" fmla="*/ 2552007 h 5142621"/>
              <a:gd name="connsiteX4995" fmla="*/ 1553430 w 6268558"/>
              <a:gd name="connsiteY4995" fmla="*/ 2431944 h 5142621"/>
              <a:gd name="connsiteX4996" fmla="*/ 1337998 w 6268558"/>
              <a:gd name="connsiteY4996" fmla="*/ 1863990 h 5142621"/>
              <a:gd name="connsiteX4997" fmla="*/ 1336417 w 6268558"/>
              <a:gd name="connsiteY4997" fmla="*/ 1182865 h 5142621"/>
              <a:gd name="connsiteX4998" fmla="*/ 1341017 w 6268558"/>
              <a:gd name="connsiteY4998" fmla="*/ 1180672 h 5142621"/>
              <a:gd name="connsiteX4999" fmla="*/ 1340544 w 6268558"/>
              <a:gd name="connsiteY4999" fmla="*/ 1862009 h 5142621"/>
              <a:gd name="connsiteX5000" fmla="*/ 1554892 w 6268558"/>
              <a:gd name="connsiteY5000" fmla="*/ 2430600 h 5142621"/>
              <a:gd name="connsiteX5001" fmla="*/ 1624085 w 6268558"/>
              <a:gd name="connsiteY5001" fmla="*/ 2550827 h 5142621"/>
              <a:gd name="connsiteX5002" fmla="*/ 1659177 w 6268558"/>
              <a:gd name="connsiteY5002" fmla="*/ 2607710 h 5142621"/>
              <a:gd name="connsiteX5003" fmla="*/ 1694080 w 6268558"/>
              <a:gd name="connsiteY5003" fmla="*/ 2662588 h 5142621"/>
              <a:gd name="connsiteX5004" fmla="*/ 1704845 w 6268558"/>
              <a:gd name="connsiteY5004" fmla="*/ 2679316 h 5142621"/>
              <a:gd name="connsiteX5005" fmla="*/ 1753616 w 6268558"/>
              <a:gd name="connsiteY5005" fmla="*/ 2699831 h 5142621"/>
              <a:gd name="connsiteX5006" fmla="*/ 1756592 w 6268558"/>
              <a:gd name="connsiteY5006" fmla="*/ 2700805 h 5142621"/>
              <a:gd name="connsiteX5007" fmla="*/ 1728294 w 6268558"/>
              <a:gd name="connsiteY5007" fmla="*/ 2656928 h 5142621"/>
              <a:gd name="connsiteX5008" fmla="*/ 1693367 w 6268558"/>
              <a:gd name="connsiteY5008" fmla="*/ 2602145 h 5142621"/>
              <a:gd name="connsiteX5009" fmla="*/ 1658228 w 6268558"/>
              <a:gd name="connsiteY5009" fmla="*/ 2545333 h 5142621"/>
              <a:gd name="connsiteX5010" fmla="*/ 1588917 w 6268558"/>
              <a:gd name="connsiteY5010" fmla="*/ 2425271 h 5142621"/>
              <a:gd name="connsiteX5011" fmla="*/ 1373485 w 6268558"/>
              <a:gd name="connsiteY5011" fmla="*/ 1857317 h 5142621"/>
              <a:gd name="connsiteX5012" fmla="*/ 1371904 w 6268558"/>
              <a:gd name="connsiteY5012" fmla="*/ 1176186 h 5142621"/>
              <a:gd name="connsiteX5013" fmla="*/ 1376503 w 6268558"/>
              <a:gd name="connsiteY5013" fmla="*/ 1173993 h 5142621"/>
              <a:gd name="connsiteX5014" fmla="*/ 1376031 w 6268558"/>
              <a:gd name="connsiteY5014" fmla="*/ 1855336 h 5142621"/>
              <a:gd name="connsiteX5015" fmla="*/ 1590379 w 6268558"/>
              <a:gd name="connsiteY5015" fmla="*/ 2423926 h 5142621"/>
              <a:gd name="connsiteX5016" fmla="*/ 1659573 w 6268558"/>
              <a:gd name="connsiteY5016" fmla="*/ 2544154 h 5142621"/>
              <a:gd name="connsiteX5017" fmla="*/ 1694664 w 6268558"/>
              <a:gd name="connsiteY5017" fmla="*/ 2601036 h 5142621"/>
              <a:gd name="connsiteX5018" fmla="*/ 1729568 w 6268558"/>
              <a:gd name="connsiteY5018" fmla="*/ 2655914 h 5142621"/>
              <a:gd name="connsiteX5019" fmla="*/ 1758951 w 6268558"/>
              <a:gd name="connsiteY5019" fmla="*/ 2701576 h 5142621"/>
              <a:gd name="connsiteX5020" fmla="*/ 1810076 w 6268558"/>
              <a:gd name="connsiteY5020" fmla="*/ 2718300 h 5142621"/>
              <a:gd name="connsiteX5021" fmla="*/ 1760745 w 6268558"/>
              <a:gd name="connsiteY5021" fmla="*/ 2641811 h 5142621"/>
              <a:gd name="connsiteX5022" fmla="*/ 1725819 w 6268558"/>
              <a:gd name="connsiteY5022" fmla="*/ 2587028 h 5142621"/>
              <a:gd name="connsiteX5023" fmla="*/ 1690680 w 6268558"/>
              <a:gd name="connsiteY5023" fmla="*/ 2530216 h 5142621"/>
              <a:gd name="connsiteX5024" fmla="*/ 1621369 w 6268558"/>
              <a:gd name="connsiteY5024" fmla="*/ 2410153 h 5142621"/>
              <a:gd name="connsiteX5025" fmla="*/ 1405936 w 6268558"/>
              <a:gd name="connsiteY5025" fmla="*/ 1842201 h 5142621"/>
              <a:gd name="connsiteX5026" fmla="*/ 1404356 w 6268558"/>
              <a:gd name="connsiteY5026" fmla="*/ 1161069 h 5142621"/>
              <a:gd name="connsiteX5027" fmla="*/ 1408955 w 6268558"/>
              <a:gd name="connsiteY5027" fmla="*/ 1158876 h 5142621"/>
              <a:gd name="connsiteX5028" fmla="*/ 1408483 w 6268558"/>
              <a:gd name="connsiteY5028" fmla="*/ 1840220 h 5142621"/>
              <a:gd name="connsiteX5029" fmla="*/ 1622831 w 6268558"/>
              <a:gd name="connsiteY5029" fmla="*/ 2408809 h 5142621"/>
              <a:gd name="connsiteX5030" fmla="*/ 1692024 w 6268558"/>
              <a:gd name="connsiteY5030" fmla="*/ 2529037 h 5142621"/>
              <a:gd name="connsiteX5031" fmla="*/ 1727116 w 6268558"/>
              <a:gd name="connsiteY5031" fmla="*/ 2585919 h 5142621"/>
              <a:gd name="connsiteX5032" fmla="*/ 1762019 w 6268558"/>
              <a:gd name="connsiteY5032" fmla="*/ 2640797 h 5142621"/>
              <a:gd name="connsiteX5033" fmla="*/ 1812375 w 6268558"/>
              <a:gd name="connsiteY5033" fmla="*/ 2719052 h 5142621"/>
              <a:gd name="connsiteX5034" fmla="*/ 1854292 w 6268558"/>
              <a:gd name="connsiteY5034" fmla="*/ 2732763 h 5142621"/>
              <a:gd name="connsiteX5035" fmla="*/ 1862938 w 6268558"/>
              <a:gd name="connsiteY5035" fmla="*/ 2734714 h 5142621"/>
              <a:gd name="connsiteX5036" fmla="*/ 1859064 w 6268558"/>
              <a:gd name="connsiteY5036" fmla="*/ 2728032 h 5142621"/>
              <a:gd name="connsiteX5037" fmla="*/ 1791805 w 6268558"/>
              <a:gd name="connsiteY5037" fmla="*/ 2623747 h 5142621"/>
              <a:gd name="connsiteX5038" fmla="*/ 1756878 w 6268558"/>
              <a:gd name="connsiteY5038" fmla="*/ 2568963 h 5142621"/>
              <a:gd name="connsiteX5039" fmla="*/ 1721739 w 6268558"/>
              <a:gd name="connsiteY5039" fmla="*/ 2512151 h 5142621"/>
              <a:gd name="connsiteX5040" fmla="*/ 1652428 w 6268558"/>
              <a:gd name="connsiteY5040" fmla="*/ 2392089 h 5142621"/>
              <a:gd name="connsiteX5041" fmla="*/ 1436995 w 6268558"/>
              <a:gd name="connsiteY5041" fmla="*/ 1824137 h 5142621"/>
              <a:gd name="connsiteX5042" fmla="*/ 1435415 w 6268558"/>
              <a:gd name="connsiteY5042" fmla="*/ 1143005 h 5142621"/>
              <a:gd name="connsiteX5043" fmla="*/ 1440014 w 6268558"/>
              <a:gd name="connsiteY5043" fmla="*/ 1140812 h 5142621"/>
              <a:gd name="connsiteX5044" fmla="*/ 1439542 w 6268558"/>
              <a:gd name="connsiteY5044" fmla="*/ 1822156 h 5142621"/>
              <a:gd name="connsiteX5045" fmla="*/ 1653890 w 6268558"/>
              <a:gd name="connsiteY5045" fmla="*/ 2390744 h 5142621"/>
              <a:gd name="connsiteX5046" fmla="*/ 1723083 w 6268558"/>
              <a:gd name="connsiteY5046" fmla="*/ 2510971 h 5142621"/>
              <a:gd name="connsiteX5047" fmla="*/ 1758175 w 6268558"/>
              <a:gd name="connsiteY5047" fmla="*/ 2567854 h 5142621"/>
              <a:gd name="connsiteX5048" fmla="*/ 1793078 w 6268558"/>
              <a:gd name="connsiteY5048" fmla="*/ 2622732 h 5142621"/>
              <a:gd name="connsiteX5049" fmla="*/ 1860337 w 6268558"/>
              <a:gd name="connsiteY5049" fmla="*/ 2727253 h 5142621"/>
              <a:gd name="connsiteX5050" fmla="*/ 1864913 w 6268558"/>
              <a:gd name="connsiteY5050" fmla="*/ 2735159 h 5142621"/>
              <a:gd name="connsiteX5051" fmla="*/ 1904891 w 6268558"/>
              <a:gd name="connsiteY5051" fmla="*/ 2744181 h 5142621"/>
              <a:gd name="connsiteX5052" fmla="*/ 1897196 w 6268558"/>
              <a:gd name="connsiteY5052" fmla="*/ 2730908 h 5142621"/>
              <a:gd name="connsiteX5053" fmla="*/ 1829937 w 6268558"/>
              <a:gd name="connsiteY5053" fmla="*/ 2626624 h 5142621"/>
              <a:gd name="connsiteX5054" fmla="*/ 1795010 w 6268558"/>
              <a:gd name="connsiteY5054" fmla="*/ 2571840 h 5142621"/>
              <a:gd name="connsiteX5055" fmla="*/ 1759871 w 6268558"/>
              <a:gd name="connsiteY5055" fmla="*/ 2515028 h 5142621"/>
              <a:gd name="connsiteX5056" fmla="*/ 1690560 w 6268558"/>
              <a:gd name="connsiteY5056" fmla="*/ 2394965 h 5142621"/>
              <a:gd name="connsiteX5057" fmla="*/ 1475127 w 6268558"/>
              <a:gd name="connsiteY5057" fmla="*/ 1827011 h 5142621"/>
              <a:gd name="connsiteX5058" fmla="*/ 1473547 w 6268558"/>
              <a:gd name="connsiteY5058" fmla="*/ 1145880 h 5142621"/>
              <a:gd name="connsiteX5059" fmla="*/ 1478146 w 6268558"/>
              <a:gd name="connsiteY5059" fmla="*/ 1143687 h 5142621"/>
              <a:gd name="connsiteX5060" fmla="*/ 1477674 w 6268558"/>
              <a:gd name="connsiteY5060" fmla="*/ 1825030 h 5142621"/>
              <a:gd name="connsiteX5061" fmla="*/ 1692022 w 6268558"/>
              <a:gd name="connsiteY5061" fmla="*/ 2393621 h 5142621"/>
              <a:gd name="connsiteX5062" fmla="*/ 1761215 w 6268558"/>
              <a:gd name="connsiteY5062" fmla="*/ 2513848 h 5142621"/>
              <a:gd name="connsiteX5063" fmla="*/ 1796307 w 6268558"/>
              <a:gd name="connsiteY5063" fmla="*/ 2570731 h 5142621"/>
              <a:gd name="connsiteX5064" fmla="*/ 1831210 w 6268558"/>
              <a:gd name="connsiteY5064" fmla="*/ 2625609 h 5142621"/>
              <a:gd name="connsiteX5065" fmla="*/ 1898469 w 6268558"/>
              <a:gd name="connsiteY5065" fmla="*/ 2730130 h 5142621"/>
              <a:gd name="connsiteX5066" fmla="*/ 1906857 w 6268558"/>
              <a:gd name="connsiteY5066" fmla="*/ 2744624 h 5142621"/>
              <a:gd name="connsiteX5067" fmla="*/ 1942223 w 6268558"/>
              <a:gd name="connsiteY5067" fmla="*/ 2752605 h 5142621"/>
              <a:gd name="connsiteX5068" fmla="*/ 1949237 w 6268558"/>
              <a:gd name="connsiteY5068" fmla="*/ 2753674 h 5142621"/>
              <a:gd name="connsiteX5069" fmla="*/ 1930242 w 6268558"/>
              <a:gd name="connsiteY5069" fmla="*/ 2720909 h 5142621"/>
              <a:gd name="connsiteX5070" fmla="*/ 1862983 w 6268558"/>
              <a:gd name="connsiteY5070" fmla="*/ 2616625 h 5142621"/>
              <a:gd name="connsiteX5071" fmla="*/ 1828056 w 6268558"/>
              <a:gd name="connsiteY5071" fmla="*/ 2561841 h 5142621"/>
              <a:gd name="connsiteX5072" fmla="*/ 1792917 w 6268558"/>
              <a:gd name="connsiteY5072" fmla="*/ 2505029 h 5142621"/>
              <a:gd name="connsiteX5073" fmla="*/ 1723606 w 6268558"/>
              <a:gd name="connsiteY5073" fmla="*/ 2384966 h 5142621"/>
              <a:gd name="connsiteX5074" fmla="*/ 1508173 w 6268558"/>
              <a:gd name="connsiteY5074" fmla="*/ 1817020 h 5142621"/>
              <a:gd name="connsiteX5075" fmla="*/ 1506593 w 6268558"/>
              <a:gd name="connsiteY5075" fmla="*/ 1135887 h 5142621"/>
              <a:gd name="connsiteX5076" fmla="*/ 1511192 w 6268558"/>
              <a:gd name="connsiteY5076" fmla="*/ 1133694 h 5142621"/>
              <a:gd name="connsiteX5077" fmla="*/ 1510720 w 6268558"/>
              <a:gd name="connsiteY5077" fmla="*/ 1815039 h 5142621"/>
              <a:gd name="connsiteX5078" fmla="*/ 1725068 w 6268558"/>
              <a:gd name="connsiteY5078" fmla="*/ 2383622 h 5142621"/>
              <a:gd name="connsiteX5079" fmla="*/ 1794261 w 6268558"/>
              <a:gd name="connsiteY5079" fmla="*/ 2503849 h 5142621"/>
              <a:gd name="connsiteX5080" fmla="*/ 1829353 w 6268558"/>
              <a:gd name="connsiteY5080" fmla="*/ 2560732 h 5142621"/>
              <a:gd name="connsiteX5081" fmla="*/ 1864256 w 6268558"/>
              <a:gd name="connsiteY5081" fmla="*/ 2615610 h 5142621"/>
              <a:gd name="connsiteX5082" fmla="*/ 1931515 w 6268558"/>
              <a:gd name="connsiteY5082" fmla="*/ 2720131 h 5142621"/>
              <a:gd name="connsiteX5083" fmla="*/ 1951090 w 6268558"/>
              <a:gd name="connsiteY5083" fmla="*/ 2753957 h 5142621"/>
              <a:gd name="connsiteX5084" fmla="*/ 1962339 w 6268558"/>
              <a:gd name="connsiteY5084" fmla="*/ 2755671 h 5142621"/>
              <a:gd name="connsiteX5085" fmla="*/ 1972126 w 6268558"/>
              <a:gd name="connsiteY5085" fmla="*/ 2756944 h 5142621"/>
              <a:gd name="connsiteX5086" fmla="*/ 1981701 w 6268558"/>
              <a:gd name="connsiteY5086" fmla="*/ 2757982 h 5142621"/>
              <a:gd name="connsiteX5087" fmla="*/ 1988884 w 6268558"/>
              <a:gd name="connsiteY5087" fmla="*/ 2758613 h 5142621"/>
              <a:gd name="connsiteX5088" fmla="*/ 1966985 w 6268558"/>
              <a:gd name="connsiteY5088" fmla="*/ 2720838 h 5142621"/>
              <a:gd name="connsiteX5089" fmla="*/ 1899725 w 6268558"/>
              <a:gd name="connsiteY5089" fmla="*/ 2616553 h 5142621"/>
              <a:gd name="connsiteX5090" fmla="*/ 1864799 w 6268558"/>
              <a:gd name="connsiteY5090" fmla="*/ 2561770 h 5142621"/>
              <a:gd name="connsiteX5091" fmla="*/ 1829660 w 6268558"/>
              <a:gd name="connsiteY5091" fmla="*/ 2504958 h 5142621"/>
              <a:gd name="connsiteX5092" fmla="*/ 1760349 w 6268558"/>
              <a:gd name="connsiteY5092" fmla="*/ 2384896 h 5142621"/>
              <a:gd name="connsiteX5093" fmla="*/ 1544916 w 6268558"/>
              <a:gd name="connsiteY5093" fmla="*/ 1816949 h 5142621"/>
              <a:gd name="connsiteX5094" fmla="*/ 1543336 w 6268558"/>
              <a:gd name="connsiteY5094" fmla="*/ 1135815 h 5142621"/>
              <a:gd name="connsiteX5095" fmla="*/ 1547935 w 6268558"/>
              <a:gd name="connsiteY5095" fmla="*/ 1133622 h 5142621"/>
              <a:gd name="connsiteX5096" fmla="*/ 1547463 w 6268558"/>
              <a:gd name="connsiteY5096" fmla="*/ 1814968 h 5142621"/>
              <a:gd name="connsiteX5097" fmla="*/ 1761811 w 6268558"/>
              <a:gd name="connsiteY5097" fmla="*/ 2383551 h 5142621"/>
              <a:gd name="connsiteX5098" fmla="*/ 1831004 w 6268558"/>
              <a:gd name="connsiteY5098" fmla="*/ 2503779 h 5142621"/>
              <a:gd name="connsiteX5099" fmla="*/ 1866096 w 6268558"/>
              <a:gd name="connsiteY5099" fmla="*/ 2560661 h 5142621"/>
              <a:gd name="connsiteX5100" fmla="*/ 1900999 w 6268558"/>
              <a:gd name="connsiteY5100" fmla="*/ 2615539 h 5142621"/>
              <a:gd name="connsiteX5101" fmla="*/ 1968258 w 6268558"/>
              <a:gd name="connsiteY5101" fmla="*/ 2720060 h 5142621"/>
              <a:gd name="connsiteX5102" fmla="*/ 1990659 w 6268558"/>
              <a:gd name="connsiteY5102" fmla="*/ 2758770 h 5142621"/>
              <a:gd name="connsiteX5103" fmla="*/ 1991087 w 6268558"/>
              <a:gd name="connsiteY5103" fmla="*/ 2758807 h 5142621"/>
              <a:gd name="connsiteX5104" fmla="*/ 2000214 w 6268558"/>
              <a:gd name="connsiteY5104" fmla="*/ 2759303 h 5142621"/>
              <a:gd name="connsiteX5105" fmla="*/ 2017878 w 6268558"/>
              <a:gd name="connsiteY5105" fmla="*/ 2759656 h 5142621"/>
              <a:gd name="connsiteX5106" fmla="*/ 2026037 w 6268558"/>
              <a:gd name="connsiteY5106" fmla="*/ 2758598 h 5142621"/>
              <a:gd name="connsiteX5107" fmla="*/ 2002384 w 6268558"/>
              <a:gd name="connsiteY5107" fmla="*/ 2717797 h 5142621"/>
              <a:gd name="connsiteX5108" fmla="*/ 1935124 w 6268558"/>
              <a:gd name="connsiteY5108" fmla="*/ 2613511 h 5142621"/>
              <a:gd name="connsiteX5109" fmla="*/ 1900198 w 6268558"/>
              <a:gd name="connsiteY5109" fmla="*/ 2558728 h 5142621"/>
              <a:gd name="connsiteX5110" fmla="*/ 1865059 w 6268558"/>
              <a:gd name="connsiteY5110" fmla="*/ 2501916 h 5142621"/>
              <a:gd name="connsiteX5111" fmla="*/ 1795748 w 6268558"/>
              <a:gd name="connsiteY5111" fmla="*/ 2381853 h 5142621"/>
              <a:gd name="connsiteX5112" fmla="*/ 1580315 w 6268558"/>
              <a:gd name="connsiteY5112" fmla="*/ 1813908 h 5142621"/>
              <a:gd name="connsiteX5113" fmla="*/ 1578735 w 6268558"/>
              <a:gd name="connsiteY5113" fmla="*/ 1132774 h 5142621"/>
              <a:gd name="connsiteX5114" fmla="*/ 1583334 w 6268558"/>
              <a:gd name="connsiteY5114" fmla="*/ 1130582 h 5142621"/>
              <a:gd name="connsiteX5115" fmla="*/ 1582862 w 6268558"/>
              <a:gd name="connsiteY5115" fmla="*/ 1811927 h 5142621"/>
              <a:gd name="connsiteX5116" fmla="*/ 1797210 w 6268558"/>
              <a:gd name="connsiteY5116" fmla="*/ 2380509 h 5142621"/>
              <a:gd name="connsiteX5117" fmla="*/ 1866403 w 6268558"/>
              <a:gd name="connsiteY5117" fmla="*/ 2500737 h 5142621"/>
              <a:gd name="connsiteX5118" fmla="*/ 1901495 w 6268558"/>
              <a:gd name="connsiteY5118" fmla="*/ 2557619 h 5142621"/>
              <a:gd name="connsiteX5119" fmla="*/ 1936398 w 6268558"/>
              <a:gd name="connsiteY5119" fmla="*/ 2612497 h 5142621"/>
              <a:gd name="connsiteX5120" fmla="*/ 2003657 w 6268558"/>
              <a:gd name="connsiteY5120" fmla="*/ 2717018 h 5142621"/>
              <a:gd name="connsiteX5121" fmla="*/ 2027602 w 6268558"/>
              <a:gd name="connsiteY5121" fmla="*/ 2758395 h 5142621"/>
              <a:gd name="connsiteX5122" fmla="*/ 2059311 w 6268558"/>
              <a:gd name="connsiteY5122" fmla="*/ 2754282 h 5142621"/>
              <a:gd name="connsiteX5123" fmla="*/ 2038748 w 6268558"/>
              <a:gd name="connsiteY5123" fmla="*/ 2718810 h 5142621"/>
              <a:gd name="connsiteX5124" fmla="*/ 1971488 w 6268558"/>
              <a:gd name="connsiteY5124" fmla="*/ 2614526 h 5142621"/>
              <a:gd name="connsiteX5125" fmla="*/ 1936562 w 6268558"/>
              <a:gd name="connsiteY5125" fmla="*/ 2559742 h 5142621"/>
              <a:gd name="connsiteX5126" fmla="*/ 1901423 w 6268558"/>
              <a:gd name="connsiteY5126" fmla="*/ 2502930 h 5142621"/>
              <a:gd name="connsiteX5127" fmla="*/ 1832112 w 6268558"/>
              <a:gd name="connsiteY5127" fmla="*/ 2382867 h 5142621"/>
              <a:gd name="connsiteX5128" fmla="*/ 1616679 w 6268558"/>
              <a:gd name="connsiteY5128" fmla="*/ 1814920 h 5142621"/>
              <a:gd name="connsiteX5129" fmla="*/ 1615099 w 6268558"/>
              <a:gd name="connsiteY5129" fmla="*/ 1133787 h 5142621"/>
              <a:gd name="connsiteX5130" fmla="*/ 1619698 w 6268558"/>
              <a:gd name="connsiteY5130" fmla="*/ 1131594 h 5142621"/>
              <a:gd name="connsiteX5131" fmla="*/ 1619226 w 6268558"/>
              <a:gd name="connsiteY5131" fmla="*/ 1812939 h 5142621"/>
              <a:gd name="connsiteX5132" fmla="*/ 1833574 w 6268558"/>
              <a:gd name="connsiteY5132" fmla="*/ 2381523 h 5142621"/>
              <a:gd name="connsiteX5133" fmla="*/ 1902767 w 6268558"/>
              <a:gd name="connsiteY5133" fmla="*/ 2501750 h 5142621"/>
              <a:gd name="connsiteX5134" fmla="*/ 1937859 w 6268558"/>
              <a:gd name="connsiteY5134" fmla="*/ 2558633 h 5142621"/>
              <a:gd name="connsiteX5135" fmla="*/ 1972762 w 6268558"/>
              <a:gd name="connsiteY5135" fmla="*/ 2613511 h 5142621"/>
              <a:gd name="connsiteX5136" fmla="*/ 2040021 w 6268558"/>
              <a:gd name="connsiteY5136" fmla="*/ 2718032 h 5142621"/>
              <a:gd name="connsiteX5137" fmla="*/ 2060881 w 6268558"/>
              <a:gd name="connsiteY5137" fmla="*/ 2754078 h 5142621"/>
              <a:gd name="connsiteX5138" fmla="*/ 2079689 w 6268558"/>
              <a:gd name="connsiteY5138" fmla="*/ 2751638 h 5142621"/>
              <a:gd name="connsiteX5139" fmla="*/ 2090551 w 6268558"/>
              <a:gd name="connsiteY5139" fmla="*/ 2746739 h 5142621"/>
              <a:gd name="connsiteX5140" fmla="*/ 2075796 w 6268558"/>
              <a:gd name="connsiteY5140" fmla="*/ 2721287 h 5142621"/>
              <a:gd name="connsiteX5141" fmla="*/ 2008536 w 6268558"/>
              <a:gd name="connsiteY5141" fmla="*/ 2617001 h 5142621"/>
              <a:gd name="connsiteX5142" fmla="*/ 1973610 w 6268558"/>
              <a:gd name="connsiteY5142" fmla="*/ 2562218 h 5142621"/>
              <a:gd name="connsiteX5143" fmla="*/ 1938471 w 6268558"/>
              <a:gd name="connsiteY5143" fmla="*/ 2505406 h 5142621"/>
              <a:gd name="connsiteX5144" fmla="*/ 1869160 w 6268558"/>
              <a:gd name="connsiteY5144" fmla="*/ 2385344 h 5142621"/>
              <a:gd name="connsiteX5145" fmla="*/ 1653727 w 6268558"/>
              <a:gd name="connsiteY5145" fmla="*/ 1817394 h 5142621"/>
              <a:gd name="connsiteX5146" fmla="*/ 1652147 w 6268558"/>
              <a:gd name="connsiteY5146" fmla="*/ 1136262 h 5142621"/>
              <a:gd name="connsiteX5147" fmla="*/ 1656746 w 6268558"/>
              <a:gd name="connsiteY5147" fmla="*/ 1134069 h 5142621"/>
              <a:gd name="connsiteX5148" fmla="*/ 1656274 w 6268558"/>
              <a:gd name="connsiteY5148" fmla="*/ 1815413 h 5142621"/>
              <a:gd name="connsiteX5149" fmla="*/ 1870622 w 6268558"/>
              <a:gd name="connsiteY5149" fmla="*/ 2383999 h 5142621"/>
              <a:gd name="connsiteX5150" fmla="*/ 1939815 w 6268558"/>
              <a:gd name="connsiteY5150" fmla="*/ 2504226 h 5142621"/>
              <a:gd name="connsiteX5151" fmla="*/ 1974907 w 6268558"/>
              <a:gd name="connsiteY5151" fmla="*/ 2561109 h 5142621"/>
              <a:gd name="connsiteX5152" fmla="*/ 2009810 w 6268558"/>
              <a:gd name="connsiteY5152" fmla="*/ 2615987 h 5142621"/>
              <a:gd name="connsiteX5153" fmla="*/ 2077069 w 6268558"/>
              <a:gd name="connsiteY5153" fmla="*/ 2720508 h 5142621"/>
              <a:gd name="connsiteX5154" fmla="*/ 2091897 w 6268558"/>
              <a:gd name="connsiteY5154" fmla="*/ 2746131 h 5142621"/>
              <a:gd name="connsiteX5155" fmla="*/ 2103791 w 6268558"/>
              <a:gd name="connsiteY5155" fmla="*/ 2740766 h 5142621"/>
              <a:gd name="connsiteX5156" fmla="*/ 2105137 w 6268558"/>
              <a:gd name="connsiteY5156" fmla="*/ 2739464 h 5142621"/>
              <a:gd name="connsiteX5157" fmla="*/ 2100934 w 6268558"/>
              <a:gd name="connsiteY5157" fmla="*/ 2728197 h 5142621"/>
              <a:gd name="connsiteX5158" fmla="*/ 2073106 w 6268558"/>
              <a:gd name="connsiteY5158" fmla="*/ 2676597 h 5142621"/>
              <a:gd name="connsiteX5159" fmla="*/ 2009101 w 6268558"/>
              <a:gd name="connsiteY5159" fmla="*/ 2570284 h 5142621"/>
              <a:gd name="connsiteX5160" fmla="*/ 1975896 w 6268558"/>
              <a:gd name="connsiteY5160" fmla="*/ 2514438 h 5142621"/>
              <a:gd name="connsiteX5161" fmla="*/ 1942549 w 6268558"/>
              <a:gd name="connsiteY5161" fmla="*/ 2456565 h 5142621"/>
              <a:gd name="connsiteX5162" fmla="*/ 1876988 w 6268558"/>
              <a:gd name="connsiteY5162" fmla="*/ 2334404 h 5142621"/>
              <a:gd name="connsiteX5163" fmla="*/ 1679243 w 6268558"/>
              <a:gd name="connsiteY5163" fmla="*/ 1760062 h 5142621"/>
              <a:gd name="connsiteX5164" fmla="*/ 1698746 w 6268558"/>
              <a:gd name="connsiteY5164" fmla="*/ 1079214 h 5142621"/>
              <a:gd name="connsiteX5165" fmla="*/ 1703368 w 6268558"/>
              <a:gd name="connsiteY5165" fmla="*/ 1077115 h 5142621"/>
              <a:gd name="connsiteX5166" fmla="*/ 1681790 w 6268558"/>
              <a:gd name="connsiteY5166" fmla="*/ 1758129 h 5142621"/>
              <a:gd name="connsiteX5167" fmla="*/ 1878450 w 6268558"/>
              <a:gd name="connsiteY5167" fmla="*/ 2333083 h 5142621"/>
              <a:gd name="connsiteX5168" fmla="*/ 1943894 w 6268558"/>
              <a:gd name="connsiteY5168" fmla="*/ 2455410 h 5142621"/>
              <a:gd name="connsiteX5169" fmla="*/ 1977193 w 6268558"/>
              <a:gd name="connsiteY5169" fmla="*/ 2513354 h 5142621"/>
              <a:gd name="connsiteX5170" fmla="*/ 2010375 w 6268558"/>
              <a:gd name="connsiteY5170" fmla="*/ 2569293 h 5142621"/>
              <a:gd name="connsiteX5171" fmla="*/ 2074379 w 6268558"/>
              <a:gd name="connsiteY5171" fmla="*/ 2675842 h 5142621"/>
              <a:gd name="connsiteX5172" fmla="*/ 2092002 w 6268558"/>
              <a:gd name="connsiteY5172" fmla="*/ 2708584 h 5142621"/>
              <a:gd name="connsiteX5173" fmla="*/ 2076716 w 6268558"/>
              <a:gd name="connsiteY5173" fmla="*/ 2660607 h 5142621"/>
              <a:gd name="connsiteX5174" fmla="*/ 2051435 w 6268558"/>
              <a:gd name="connsiteY5174" fmla="*/ 2607710 h 5142621"/>
              <a:gd name="connsiteX5175" fmla="*/ 1992689 w 6268558"/>
              <a:gd name="connsiteY5175" fmla="*/ 2498402 h 5142621"/>
              <a:gd name="connsiteX5176" fmla="*/ 1962220 w 6268558"/>
              <a:gd name="connsiteY5176" fmla="*/ 2441000 h 5142621"/>
              <a:gd name="connsiteX5177" fmla="*/ 1931727 w 6268558"/>
              <a:gd name="connsiteY5177" fmla="*/ 2381594 h 5142621"/>
              <a:gd name="connsiteX5178" fmla="*/ 1872179 w 6268558"/>
              <a:gd name="connsiteY5178" fmla="*/ 2256391 h 5142621"/>
              <a:gd name="connsiteX5179" fmla="*/ 1702592 w 6268558"/>
              <a:gd name="connsiteY5179" fmla="*/ 1673113 h 5142621"/>
              <a:gd name="connsiteX5180" fmla="*/ 1755183 w 6268558"/>
              <a:gd name="connsiteY5180" fmla="*/ 994009 h 5142621"/>
              <a:gd name="connsiteX5181" fmla="*/ 1759923 w 6268558"/>
              <a:gd name="connsiteY5181" fmla="*/ 992122 h 5142621"/>
              <a:gd name="connsiteX5182" fmla="*/ 1705257 w 6268558"/>
              <a:gd name="connsiteY5182" fmla="*/ 1671274 h 5142621"/>
              <a:gd name="connsiteX5183" fmla="*/ 1873712 w 6268558"/>
              <a:gd name="connsiteY5183" fmla="*/ 2255117 h 5142621"/>
              <a:gd name="connsiteX5184" fmla="*/ 1933118 w 6268558"/>
              <a:gd name="connsiteY5184" fmla="*/ 2380486 h 5142621"/>
              <a:gd name="connsiteX5185" fmla="*/ 1963564 w 6268558"/>
              <a:gd name="connsiteY5185" fmla="*/ 2439986 h 5142621"/>
              <a:gd name="connsiteX5186" fmla="*/ 1993986 w 6268558"/>
              <a:gd name="connsiteY5186" fmla="*/ 2497482 h 5142621"/>
              <a:gd name="connsiteX5187" fmla="*/ 2052732 w 6268558"/>
              <a:gd name="connsiteY5187" fmla="*/ 2607026 h 5142621"/>
              <a:gd name="connsiteX5188" fmla="*/ 2078084 w 6268558"/>
              <a:gd name="connsiteY5188" fmla="*/ 2660159 h 5142621"/>
              <a:gd name="connsiteX5189" fmla="*/ 2094875 w 6268558"/>
              <a:gd name="connsiteY5189" fmla="*/ 2712915 h 5142621"/>
              <a:gd name="connsiteX5190" fmla="*/ 2094337 w 6268558"/>
              <a:gd name="connsiteY5190" fmla="*/ 2712923 h 5142621"/>
              <a:gd name="connsiteX5191" fmla="*/ 2102278 w 6268558"/>
              <a:gd name="connsiteY5191" fmla="*/ 2727678 h 5142621"/>
              <a:gd name="connsiteX5192" fmla="*/ 2106265 w 6268558"/>
              <a:gd name="connsiteY5192" fmla="*/ 2738374 h 5142621"/>
              <a:gd name="connsiteX5193" fmla="*/ 2120984 w 6268558"/>
              <a:gd name="connsiteY5193" fmla="*/ 2724140 h 5142621"/>
              <a:gd name="connsiteX5194" fmla="*/ 2129049 w 6268558"/>
              <a:gd name="connsiteY5194" fmla="*/ 2676997 h 5142621"/>
              <a:gd name="connsiteX5195" fmla="*/ 2113838 w 6268558"/>
              <a:gd name="connsiteY5195" fmla="*/ 2624218 h 5142621"/>
              <a:gd name="connsiteX5196" fmla="*/ 2090042 w 6268558"/>
              <a:gd name="connsiteY5196" fmla="*/ 2570637 h 5142621"/>
              <a:gd name="connsiteX5197" fmla="*/ 2034362 w 6268558"/>
              <a:gd name="connsiteY5197" fmla="*/ 2459748 h 5142621"/>
              <a:gd name="connsiteX5198" fmla="*/ 2005520 w 6268558"/>
              <a:gd name="connsiteY5198" fmla="*/ 2401521 h 5142621"/>
              <a:gd name="connsiteX5199" fmla="*/ 1976701 w 6268558"/>
              <a:gd name="connsiteY5199" fmla="*/ 2341266 h 5142621"/>
              <a:gd name="connsiteX5200" fmla="*/ 1920691 w 6268558"/>
              <a:gd name="connsiteY5200" fmla="*/ 2214459 h 5142621"/>
              <a:gd name="connsiteX5201" fmla="*/ 1767495 w 6268558"/>
              <a:gd name="connsiteY5201" fmla="*/ 1626656 h 5142621"/>
              <a:gd name="connsiteX5202" fmla="*/ 1839046 w 6268558"/>
              <a:gd name="connsiteY5202" fmla="*/ 949295 h 5142621"/>
              <a:gd name="connsiteX5203" fmla="*/ 1898759 w 6268558"/>
              <a:gd name="connsiteY5203" fmla="*/ 778435 h 5142621"/>
              <a:gd name="connsiteX5204" fmla="*/ 1971796 w 6268558"/>
              <a:gd name="connsiteY5204" fmla="*/ 612173 h 5142621"/>
              <a:gd name="connsiteX5205" fmla="*/ 2058653 w 6268558"/>
              <a:gd name="connsiteY5205" fmla="*/ 452845 h 5142621"/>
              <a:gd name="connsiteX5206" fmla="*/ 2112446 w 6268558"/>
              <a:gd name="connsiteY5206" fmla="*/ 376435 h 5142621"/>
              <a:gd name="connsiteX5207" fmla="*/ 2145133 w 6268558"/>
              <a:gd name="connsiteY5207" fmla="*/ 339763 h 5142621"/>
              <a:gd name="connsiteX5208" fmla="*/ 2183904 w 6268558"/>
              <a:gd name="connsiteY5208" fmla="*/ 305780 h 5142621"/>
              <a:gd name="connsiteX5209" fmla="*/ 2228193 w 6268558"/>
              <a:gd name="connsiteY5209" fmla="*/ 277386 h 5142621"/>
              <a:gd name="connsiteX5210" fmla="*/ 2274581 w 6268558"/>
              <a:gd name="connsiteY5210" fmla="*/ 256043 h 5142621"/>
              <a:gd name="connsiteX5211" fmla="*/ 2320804 w 6268558"/>
              <a:gd name="connsiteY5211" fmla="*/ 240124 h 5142621"/>
              <a:gd name="connsiteX5212" fmla="*/ 2366603 w 6268558"/>
              <a:gd name="connsiteY5212" fmla="*/ 227437 h 5142621"/>
              <a:gd name="connsiteX5213" fmla="*/ 2458389 w 6268558"/>
              <a:gd name="connsiteY5213" fmla="*/ 206754 h 5142621"/>
              <a:gd name="connsiteX5214" fmla="*/ 2552769 w 6268558"/>
              <a:gd name="connsiteY5214" fmla="*/ 188218 h 5142621"/>
              <a:gd name="connsiteX5215" fmla="*/ 2991204 w 6268558"/>
              <a:gd name="connsiteY5215" fmla="*/ 112233 h 5142621"/>
              <a:gd name="connsiteX5216" fmla="*/ 3604928 w 6268558"/>
              <a:gd name="connsiteY5216" fmla="*/ 38818 h 5142621"/>
              <a:gd name="connsiteX5217" fmla="*/ 4556794 w 6268558"/>
              <a:gd name="connsiteY5217" fmla="*/ 0 h 5142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Lst>
            <a:rect l="l" t="t" r="r" b="b"/>
            <a:pathLst>
              <a:path w="6268558" h="5142621">
                <a:moveTo>
                  <a:pt x="4789542" y="3922460"/>
                </a:moveTo>
                <a:lnTo>
                  <a:pt x="4785712" y="3930796"/>
                </a:lnTo>
                <a:lnTo>
                  <a:pt x="4775622" y="3964867"/>
                </a:lnTo>
                <a:lnTo>
                  <a:pt x="4782026" y="3951624"/>
                </a:lnTo>
                <a:close/>
                <a:moveTo>
                  <a:pt x="4794925" y="3847408"/>
                </a:moveTo>
                <a:lnTo>
                  <a:pt x="4787717" y="3915051"/>
                </a:lnTo>
                <a:lnTo>
                  <a:pt x="4796407" y="3895820"/>
                </a:lnTo>
                <a:lnTo>
                  <a:pt x="4799009" y="3885721"/>
                </a:lnTo>
                <a:lnTo>
                  <a:pt x="4797184" y="3857731"/>
                </a:lnTo>
                <a:close/>
                <a:moveTo>
                  <a:pt x="4151610" y="2848258"/>
                </a:moveTo>
                <a:cubicBezTo>
                  <a:pt x="4163426" y="2847621"/>
                  <a:pt x="4175311" y="2847927"/>
                  <a:pt x="4187268" y="2848800"/>
                </a:cubicBezTo>
                <a:cubicBezTo>
                  <a:pt x="4211182" y="2850663"/>
                  <a:pt x="4235354" y="2855097"/>
                  <a:pt x="4259763" y="2861511"/>
                </a:cubicBezTo>
                <a:cubicBezTo>
                  <a:pt x="4284172" y="2867926"/>
                  <a:pt x="4308839" y="2876345"/>
                  <a:pt x="4333649" y="2886628"/>
                </a:cubicBezTo>
                <a:cubicBezTo>
                  <a:pt x="4432345" y="2928016"/>
                  <a:pt x="4536630" y="2997657"/>
                  <a:pt x="4629336" y="3099749"/>
                </a:cubicBezTo>
                <a:cubicBezTo>
                  <a:pt x="4721522" y="3201015"/>
                  <a:pt x="4801587" y="3336902"/>
                  <a:pt x="4836137" y="3492834"/>
                </a:cubicBezTo>
                <a:cubicBezTo>
                  <a:pt x="4862244" y="3609182"/>
                  <a:pt x="4860665" y="3735744"/>
                  <a:pt x="4820049" y="3856065"/>
                </a:cubicBezTo>
                <a:lnTo>
                  <a:pt x="4805395" y="3887957"/>
                </a:lnTo>
                <a:lnTo>
                  <a:pt x="4811280" y="3981216"/>
                </a:lnTo>
                <a:cubicBezTo>
                  <a:pt x="4808883" y="4104360"/>
                  <a:pt x="4775233" y="4230688"/>
                  <a:pt x="4700698" y="4343764"/>
                </a:cubicBezTo>
                <a:cubicBezTo>
                  <a:pt x="4699590" y="4342915"/>
                  <a:pt x="4698458" y="4342066"/>
                  <a:pt x="4697349" y="4341240"/>
                </a:cubicBezTo>
                <a:cubicBezTo>
                  <a:pt x="4770593" y="4228518"/>
                  <a:pt x="4803469" y="4102889"/>
                  <a:pt x="4805520" y="3980530"/>
                </a:cubicBezTo>
                <a:lnTo>
                  <a:pt x="4801712" y="3922139"/>
                </a:lnTo>
                <a:lnTo>
                  <a:pt x="4791883" y="4014372"/>
                </a:lnTo>
                <a:cubicBezTo>
                  <a:pt x="4775681" y="4096666"/>
                  <a:pt x="4744162" y="4177939"/>
                  <a:pt x="4694472" y="4253323"/>
                </a:cubicBezTo>
                <a:cubicBezTo>
                  <a:pt x="4693364" y="4252474"/>
                  <a:pt x="4692232" y="4251624"/>
                  <a:pt x="4691124" y="4250799"/>
                </a:cubicBezTo>
                <a:cubicBezTo>
                  <a:pt x="4746056" y="4166258"/>
                  <a:pt x="4778282" y="4074456"/>
                  <a:pt x="4791827" y="3982219"/>
                </a:cubicBezTo>
                <a:lnTo>
                  <a:pt x="4797476" y="3912526"/>
                </a:lnTo>
                <a:lnTo>
                  <a:pt x="4786668" y="3953659"/>
                </a:lnTo>
                <a:lnTo>
                  <a:pt x="4767211" y="3993272"/>
                </a:lnTo>
                <a:lnTo>
                  <a:pt x="4750076" y="4051138"/>
                </a:lnTo>
                <a:cubicBezTo>
                  <a:pt x="4733959" y="4091166"/>
                  <a:pt x="4713657" y="4130330"/>
                  <a:pt x="4688812" y="4168022"/>
                </a:cubicBezTo>
                <a:cubicBezTo>
                  <a:pt x="4687704" y="4167173"/>
                  <a:pt x="4686572" y="4166324"/>
                  <a:pt x="4685464" y="4165498"/>
                </a:cubicBezTo>
                <a:cubicBezTo>
                  <a:pt x="4709878" y="4127924"/>
                  <a:pt x="4729807" y="4088916"/>
                  <a:pt x="4745605" y="4049073"/>
                </a:cubicBezTo>
                <a:lnTo>
                  <a:pt x="4754046" y="4020074"/>
                </a:lnTo>
                <a:lnTo>
                  <a:pt x="4728998" y="4071071"/>
                </a:lnTo>
                <a:cubicBezTo>
                  <a:pt x="4727842" y="4070222"/>
                  <a:pt x="4726663" y="4069373"/>
                  <a:pt x="4725484" y="4068547"/>
                </a:cubicBezTo>
                <a:lnTo>
                  <a:pt x="4761792" y="3993467"/>
                </a:lnTo>
                <a:lnTo>
                  <a:pt x="4770222" y="3964508"/>
                </a:lnTo>
                <a:lnTo>
                  <a:pt x="4766000" y="3973696"/>
                </a:lnTo>
                <a:cubicBezTo>
                  <a:pt x="4764798" y="3972847"/>
                  <a:pt x="4763571" y="3972022"/>
                  <a:pt x="4762345" y="3971196"/>
                </a:cubicBezTo>
                <a:lnTo>
                  <a:pt x="4779011" y="3934316"/>
                </a:lnTo>
                <a:lnTo>
                  <a:pt x="4780955" y="3927638"/>
                </a:lnTo>
                <a:lnTo>
                  <a:pt x="4791059" y="3829736"/>
                </a:lnTo>
                <a:lnTo>
                  <a:pt x="4772419" y="3744528"/>
                </a:lnTo>
                <a:cubicBezTo>
                  <a:pt x="4739628" y="3633037"/>
                  <a:pt x="4685646" y="3533851"/>
                  <a:pt x="4623864" y="3453992"/>
                </a:cubicBezTo>
                <a:cubicBezTo>
                  <a:pt x="4541016" y="3346641"/>
                  <a:pt x="4445032" y="3271576"/>
                  <a:pt x="4353105" y="3225754"/>
                </a:cubicBezTo>
                <a:cubicBezTo>
                  <a:pt x="4329994" y="3214387"/>
                  <a:pt x="4306976" y="3204883"/>
                  <a:pt x="4284124" y="3197501"/>
                </a:cubicBezTo>
                <a:cubicBezTo>
                  <a:pt x="4261272" y="3190120"/>
                  <a:pt x="4238609" y="3184743"/>
                  <a:pt x="4216205" y="3182054"/>
                </a:cubicBezTo>
                <a:cubicBezTo>
                  <a:pt x="4204979" y="3180733"/>
                  <a:pt x="4193824" y="3180049"/>
                  <a:pt x="4182764" y="3180286"/>
                </a:cubicBezTo>
                <a:cubicBezTo>
                  <a:pt x="4171656" y="3180498"/>
                  <a:pt x="4160760" y="3181535"/>
                  <a:pt x="4149959" y="3183799"/>
                </a:cubicBezTo>
                <a:cubicBezTo>
                  <a:pt x="4139205" y="3186016"/>
                  <a:pt x="4128664" y="3189436"/>
                  <a:pt x="4118664" y="3194247"/>
                </a:cubicBezTo>
                <a:cubicBezTo>
                  <a:pt x="4108641" y="3199010"/>
                  <a:pt x="4099255" y="3205284"/>
                  <a:pt x="4090742" y="3212665"/>
                </a:cubicBezTo>
                <a:cubicBezTo>
                  <a:pt x="4082228" y="3220070"/>
                  <a:pt x="4074611" y="3228560"/>
                  <a:pt x="4067795" y="3237569"/>
                </a:cubicBezTo>
                <a:cubicBezTo>
                  <a:pt x="4061003" y="3246602"/>
                  <a:pt x="4054990" y="3256223"/>
                  <a:pt x="4049400" y="3266058"/>
                </a:cubicBezTo>
                <a:cubicBezTo>
                  <a:pt x="4038316" y="3285750"/>
                  <a:pt x="4029072" y="3306385"/>
                  <a:pt x="4020322" y="3327327"/>
                </a:cubicBezTo>
                <a:cubicBezTo>
                  <a:pt x="4002965" y="3369281"/>
                  <a:pt x="3987447" y="3412722"/>
                  <a:pt x="3971081" y="3457436"/>
                </a:cubicBezTo>
                <a:cubicBezTo>
                  <a:pt x="3954950" y="3502126"/>
                  <a:pt x="3937875" y="3548184"/>
                  <a:pt x="3919787" y="3595515"/>
                </a:cubicBezTo>
                <a:cubicBezTo>
                  <a:pt x="3901746" y="3642823"/>
                  <a:pt x="3882691" y="3691405"/>
                  <a:pt x="3862527" y="3741142"/>
                </a:cubicBezTo>
                <a:cubicBezTo>
                  <a:pt x="3861584" y="3741401"/>
                  <a:pt x="3860640" y="3741707"/>
                  <a:pt x="3859697" y="3742014"/>
                </a:cubicBezTo>
                <a:cubicBezTo>
                  <a:pt x="3879719" y="3692277"/>
                  <a:pt x="3898657" y="3643672"/>
                  <a:pt x="3916556" y="3596340"/>
                </a:cubicBezTo>
                <a:cubicBezTo>
                  <a:pt x="3934527" y="3548985"/>
                  <a:pt x="3951436" y="3502880"/>
                  <a:pt x="3967425" y="3458119"/>
                </a:cubicBezTo>
                <a:cubicBezTo>
                  <a:pt x="3983650" y="3413335"/>
                  <a:pt x="3999027" y="3369753"/>
                  <a:pt x="4016290" y="3327398"/>
                </a:cubicBezTo>
                <a:cubicBezTo>
                  <a:pt x="4025015" y="3306243"/>
                  <a:pt x="4034213" y="3285372"/>
                  <a:pt x="4045438" y="3265161"/>
                </a:cubicBezTo>
                <a:cubicBezTo>
                  <a:pt x="4051075" y="3255091"/>
                  <a:pt x="4057183" y="3245187"/>
                  <a:pt x="4064163" y="3235753"/>
                </a:cubicBezTo>
                <a:cubicBezTo>
                  <a:pt x="4071168" y="3226343"/>
                  <a:pt x="4079068" y="3217405"/>
                  <a:pt x="4087959" y="3209576"/>
                </a:cubicBezTo>
                <a:cubicBezTo>
                  <a:pt x="4096850" y="3201746"/>
                  <a:pt x="4106778" y="3195072"/>
                  <a:pt x="4117273" y="3190025"/>
                </a:cubicBezTo>
                <a:cubicBezTo>
                  <a:pt x="4127744" y="3184931"/>
                  <a:pt x="4138757" y="3181347"/>
                  <a:pt x="4149865" y="3179036"/>
                </a:cubicBezTo>
                <a:cubicBezTo>
                  <a:pt x="4160973" y="3176677"/>
                  <a:pt x="4172316" y="3175592"/>
                  <a:pt x="4183589" y="3175380"/>
                </a:cubicBezTo>
                <a:cubicBezTo>
                  <a:pt x="4194933" y="3175121"/>
                  <a:pt x="4206276" y="3175828"/>
                  <a:pt x="4217690" y="3177172"/>
                </a:cubicBezTo>
                <a:cubicBezTo>
                  <a:pt x="4240495" y="3179908"/>
                  <a:pt x="4263418" y="3185356"/>
                  <a:pt x="4286506" y="3192808"/>
                </a:cubicBezTo>
                <a:cubicBezTo>
                  <a:pt x="4309594" y="3200260"/>
                  <a:pt x="4332824" y="3209835"/>
                  <a:pt x="4356124" y="3221297"/>
                </a:cubicBezTo>
                <a:cubicBezTo>
                  <a:pt x="4448735" y="3267449"/>
                  <a:pt x="4545426" y="3342986"/>
                  <a:pt x="4628864" y="3451044"/>
                </a:cubicBezTo>
                <a:cubicBezTo>
                  <a:pt x="4691088" y="3531452"/>
                  <a:pt x="4745446" y="3631346"/>
                  <a:pt x="4778356" y="3743613"/>
                </a:cubicBezTo>
                <a:lnTo>
                  <a:pt x="4793000" y="3810937"/>
                </a:lnTo>
                <a:lnTo>
                  <a:pt x="4793634" y="3804788"/>
                </a:lnTo>
                <a:lnTo>
                  <a:pt x="4791286" y="3768794"/>
                </a:lnTo>
                <a:lnTo>
                  <a:pt x="4766193" y="3654087"/>
                </a:lnTo>
                <a:cubicBezTo>
                  <a:pt x="4733402" y="3542596"/>
                  <a:pt x="4679420" y="3443410"/>
                  <a:pt x="4617638" y="3363551"/>
                </a:cubicBezTo>
                <a:cubicBezTo>
                  <a:pt x="4534790" y="3256200"/>
                  <a:pt x="4438806" y="3181135"/>
                  <a:pt x="4346879" y="3135313"/>
                </a:cubicBezTo>
                <a:cubicBezTo>
                  <a:pt x="4323768" y="3123946"/>
                  <a:pt x="4300750" y="3114442"/>
                  <a:pt x="4277898" y="3107060"/>
                </a:cubicBezTo>
                <a:cubicBezTo>
                  <a:pt x="4255046" y="3099679"/>
                  <a:pt x="4232383" y="3094301"/>
                  <a:pt x="4209979" y="3091613"/>
                </a:cubicBezTo>
                <a:cubicBezTo>
                  <a:pt x="4198753" y="3090292"/>
                  <a:pt x="4187598" y="3089608"/>
                  <a:pt x="4176538" y="3089844"/>
                </a:cubicBezTo>
                <a:cubicBezTo>
                  <a:pt x="4165430" y="3090057"/>
                  <a:pt x="4154534" y="3091094"/>
                  <a:pt x="4143733" y="3093358"/>
                </a:cubicBezTo>
                <a:cubicBezTo>
                  <a:pt x="4132979" y="3095575"/>
                  <a:pt x="4122438" y="3098995"/>
                  <a:pt x="4112438" y="3103806"/>
                </a:cubicBezTo>
                <a:cubicBezTo>
                  <a:pt x="4102416" y="3108569"/>
                  <a:pt x="4093029" y="3114843"/>
                  <a:pt x="4084516" y="3122224"/>
                </a:cubicBezTo>
                <a:cubicBezTo>
                  <a:pt x="4076002" y="3129629"/>
                  <a:pt x="4068385" y="3138119"/>
                  <a:pt x="4061569" y="3147128"/>
                </a:cubicBezTo>
                <a:cubicBezTo>
                  <a:pt x="4054777" y="3156161"/>
                  <a:pt x="4048764" y="3165782"/>
                  <a:pt x="4043175" y="3175617"/>
                </a:cubicBezTo>
                <a:cubicBezTo>
                  <a:pt x="4032090" y="3195309"/>
                  <a:pt x="4022846" y="3215944"/>
                  <a:pt x="4014096" y="3236886"/>
                </a:cubicBezTo>
                <a:cubicBezTo>
                  <a:pt x="3996739" y="3278840"/>
                  <a:pt x="3981221" y="3322281"/>
                  <a:pt x="3964855" y="3366994"/>
                </a:cubicBezTo>
                <a:cubicBezTo>
                  <a:pt x="3948724" y="3411685"/>
                  <a:pt x="3931649" y="3457742"/>
                  <a:pt x="3913561" y="3505074"/>
                </a:cubicBezTo>
                <a:cubicBezTo>
                  <a:pt x="3895520" y="3552382"/>
                  <a:pt x="3876465" y="3600964"/>
                  <a:pt x="3856301" y="3650701"/>
                </a:cubicBezTo>
                <a:cubicBezTo>
                  <a:pt x="3855358" y="3650983"/>
                  <a:pt x="3854414" y="3651290"/>
                  <a:pt x="3853471" y="3651573"/>
                </a:cubicBezTo>
                <a:cubicBezTo>
                  <a:pt x="3873493" y="3601836"/>
                  <a:pt x="3892431" y="3553231"/>
                  <a:pt x="3910330" y="3505899"/>
                </a:cubicBezTo>
                <a:cubicBezTo>
                  <a:pt x="3928301" y="3458544"/>
                  <a:pt x="3945210" y="3412439"/>
                  <a:pt x="3961199" y="3367678"/>
                </a:cubicBezTo>
                <a:cubicBezTo>
                  <a:pt x="3977425" y="3322894"/>
                  <a:pt x="3992801" y="3279312"/>
                  <a:pt x="4010064" y="3236956"/>
                </a:cubicBezTo>
                <a:cubicBezTo>
                  <a:pt x="4018789" y="3215802"/>
                  <a:pt x="4027987" y="3194931"/>
                  <a:pt x="4039212" y="3174720"/>
                </a:cubicBezTo>
                <a:cubicBezTo>
                  <a:pt x="4044849" y="3164650"/>
                  <a:pt x="4050957" y="3154745"/>
                  <a:pt x="4057937" y="3145312"/>
                </a:cubicBezTo>
                <a:cubicBezTo>
                  <a:pt x="4064942" y="3135902"/>
                  <a:pt x="4072842" y="3126964"/>
                  <a:pt x="4081733" y="3119135"/>
                </a:cubicBezTo>
                <a:cubicBezTo>
                  <a:pt x="4090624" y="3111305"/>
                  <a:pt x="4100552" y="3104631"/>
                  <a:pt x="4111047" y="3099584"/>
                </a:cubicBezTo>
                <a:cubicBezTo>
                  <a:pt x="4121518" y="3094490"/>
                  <a:pt x="4132531" y="3090906"/>
                  <a:pt x="4143639" y="3088595"/>
                </a:cubicBezTo>
                <a:cubicBezTo>
                  <a:pt x="4154747" y="3086236"/>
                  <a:pt x="4166090" y="3085151"/>
                  <a:pt x="4177363" y="3084939"/>
                </a:cubicBezTo>
                <a:cubicBezTo>
                  <a:pt x="4188707" y="3084680"/>
                  <a:pt x="4200050" y="3085387"/>
                  <a:pt x="4211464" y="3086731"/>
                </a:cubicBezTo>
                <a:cubicBezTo>
                  <a:pt x="4234269" y="3089467"/>
                  <a:pt x="4257192" y="3094915"/>
                  <a:pt x="4280280" y="3102367"/>
                </a:cubicBezTo>
                <a:cubicBezTo>
                  <a:pt x="4303368" y="3109819"/>
                  <a:pt x="4326598" y="3119394"/>
                  <a:pt x="4349898" y="3130855"/>
                </a:cubicBezTo>
                <a:cubicBezTo>
                  <a:pt x="4442509" y="3177008"/>
                  <a:pt x="4539200" y="3252545"/>
                  <a:pt x="4622638" y="3360603"/>
                </a:cubicBezTo>
                <a:cubicBezTo>
                  <a:pt x="4684862" y="3441011"/>
                  <a:pt x="4739220" y="3540905"/>
                  <a:pt x="4772130" y="3653172"/>
                </a:cubicBezTo>
                <a:lnTo>
                  <a:pt x="4788720" y="3729443"/>
                </a:lnTo>
                <a:lnTo>
                  <a:pt x="4785763" y="3684118"/>
                </a:lnTo>
                <a:cubicBezTo>
                  <a:pt x="4762864" y="3525567"/>
                  <a:pt x="4694355" y="3384728"/>
                  <a:pt x="4611978" y="3278250"/>
                </a:cubicBezTo>
                <a:cubicBezTo>
                  <a:pt x="4529130" y="3170900"/>
                  <a:pt x="4433147" y="3095834"/>
                  <a:pt x="4341219" y="3050012"/>
                </a:cubicBezTo>
                <a:cubicBezTo>
                  <a:pt x="4318108" y="3038645"/>
                  <a:pt x="4295090" y="3029141"/>
                  <a:pt x="4272238" y="3021759"/>
                </a:cubicBezTo>
                <a:cubicBezTo>
                  <a:pt x="4249386" y="3014378"/>
                  <a:pt x="4226723" y="3009001"/>
                  <a:pt x="4204319" y="3006312"/>
                </a:cubicBezTo>
                <a:cubicBezTo>
                  <a:pt x="4193093" y="3004991"/>
                  <a:pt x="4181938" y="3004308"/>
                  <a:pt x="4170878" y="3004544"/>
                </a:cubicBezTo>
                <a:cubicBezTo>
                  <a:pt x="4159770" y="3004756"/>
                  <a:pt x="4148874" y="3005793"/>
                  <a:pt x="4138073" y="3008057"/>
                </a:cubicBezTo>
                <a:cubicBezTo>
                  <a:pt x="4127319" y="3010274"/>
                  <a:pt x="4116778" y="3013694"/>
                  <a:pt x="4106778" y="3018505"/>
                </a:cubicBezTo>
                <a:cubicBezTo>
                  <a:pt x="4096756" y="3023268"/>
                  <a:pt x="4087370" y="3029542"/>
                  <a:pt x="4078856" y="3036923"/>
                </a:cubicBezTo>
                <a:cubicBezTo>
                  <a:pt x="4070342" y="3044328"/>
                  <a:pt x="4062725" y="3052818"/>
                  <a:pt x="4055909" y="3061827"/>
                </a:cubicBezTo>
                <a:cubicBezTo>
                  <a:pt x="4049117" y="3070860"/>
                  <a:pt x="4043104" y="3080481"/>
                  <a:pt x="4037515" y="3090316"/>
                </a:cubicBezTo>
                <a:cubicBezTo>
                  <a:pt x="4026430" y="3110008"/>
                  <a:pt x="4017186" y="3130643"/>
                  <a:pt x="4008436" y="3151585"/>
                </a:cubicBezTo>
                <a:cubicBezTo>
                  <a:pt x="3991079" y="3193539"/>
                  <a:pt x="3975561" y="3236980"/>
                  <a:pt x="3959195" y="3281694"/>
                </a:cubicBezTo>
                <a:cubicBezTo>
                  <a:pt x="3943064" y="3326384"/>
                  <a:pt x="3925989" y="3372442"/>
                  <a:pt x="3907901" y="3419773"/>
                </a:cubicBezTo>
                <a:cubicBezTo>
                  <a:pt x="3889860" y="3467081"/>
                  <a:pt x="3870805" y="3515663"/>
                  <a:pt x="3850641" y="3565400"/>
                </a:cubicBezTo>
                <a:cubicBezTo>
                  <a:pt x="3849698" y="3565659"/>
                  <a:pt x="3848754" y="3565965"/>
                  <a:pt x="3847811" y="3566272"/>
                </a:cubicBezTo>
                <a:cubicBezTo>
                  <a:pt x="3867833" y="3516535"/>
                  <a:pt x="3886771" y="3467930"/>
                  <a:pt x="3904670" y="3420598"/>
                </a:cubicBezTo>
                <a:cubicBezTo>
                  <a:pt x="3922641" y="3373243"/>
                  <a:pt x="3939550" y="3327138"/>
                  <a:pt x="3955539" y="3282377"/>
                </a:cubicBezTo>
                <a:cubicBezTo>
                  <a:pt x="3971765" y="3237593"/>
                  <a:pt x="3987141" y="3194011"/>
                  <a:pt x="4004404" y="3151656"/>
                </a:cubicBezTo>
                <a:cubicBezTo>
                  <a:pt x="4013129" y="3130502"/>
                  <a:pt x="4022327" y="3109630"/>
                  <a:pt x="4033552" y="3089419"/>
                </a:cubicBezTo>
                <a:cubicBezTo>
                  <a:pt x="4039189" y="3079349"/>
                  <a:pt x="4045297" y="3069445"/>
                  <a:pt x="4052278" y="3060011"/>
                </a:cubicBezTo>
                <a:cubicBezTo>
                  <a:pt x="4059282" y="3050602"/>
                  <a:pt x="4067182" y="3041663"/>
                  <a:pt x="4076073" y="3033834"/>
                </a:cubicBezTo>
                <a:cubicBezTo>
                  <a:pt x="4084964" y="3026004"/>
                  <a:pt x="4094892" y="3019330"/>
                  <a:pt x="4105387" y="3014283"/>
                </a:cubicBezTo>
                <a:cubicBezTo>
                  <a:pt x="4115858" y="3009189"/>
                  <a:pt x="4126871" y="3005605"/>
                  <a:pt x="4137979" y="3003294"/>
                </a:cubicBezTo>
                <a:cubicBezTo>
                  <a:pt x="4149087" y="3000935"/>
                  <a:pt x="4160430" y="2999850"/>
                  <a:pt x="4171703" y="2999638"/>
                </a:cubicBezTo>
                <a:cubicBezTo>
                  <a:pt x="4183047" y="2999379"/>
                  <a:pt x="4194390" y="3000086"/>
                  <a:pt x="4205804" y="3001430"/>
                </a:cubicBezTo>
                <a:cubicBezTo>
                  <a:pt x="4228609" y="3004166"/>
                  <a:pt x="4251532" y="3009614"/>
                  <a:pt x="4274620" y="3017066"/>
                </a:cubicBezTo>
                <a:cubicBezTo>
                  <a:pt x="4297708" y="3024518"/>
                  <a:pt x="4320938" y="3034093"/>
                  <a:pt x="4344238" y="3045555"/>
                </a:cubicBezTo>
                <a:cubicBezTo>
                  <a:pt x="4436849" y="3091707"/>
                  <a:pt x="4533540" y="3167244"/>
                  <a:pt x="4616978" y="3275302"/>
                </a:cubicBezTo>
                <a:cubicBezTo>
                  <a:pt x="4699944" y="3382512"/>
                  <a:pt x="4768925" y="3524365"/>
                  <a:pt x="4791729" y="3684000"/>
                </a:cubicBezTo>
                <a:lnTo>
                  <a:pt x="4796998" y="3767503"/>
                </a:lnTo>
                <a:lnTo>
                  <a:pt x="4797389" y="3769301"/>
                </a:lnTo>
                <a:lnTo>
                  <a:pt x="4802884" y="3856379"/>
                </a:lnTo>
                <a:lnTo>
                  <a:pt x="4803615" y="3859742"/>
                </a:lnTo>
                <a:lnTo>
                  <a:pt x="4804026" y="3866254"/>
                </a:lnTo>
                <a:lnTo>
                  <a:pt x="4813320" y="3830189"/>
                </a:lnTo>
                <a:cubicBezTo>
                  <a:pt x="4826279" y="3748529"/>
                  <a:pt x="4823944" y="3666265"/>
                  <a:pt x="4809393" y="3588205"/>
                </a:cubicBezTo>
                <a:cubicBezTo>
                  <a:pt x="4780598" y="3431329"/>
                  <a:pt x="4706499" y="3293343"/>
                  <a:pt x="4619454" y="3189743"/>
                </a:cubicBezTo>
                <a:cubicBezTo>
                  <a:pt x="4531913" y="3085292"/>
                  <a:pt x="4432085" y="3013128"/>
                  <a:pt x="4337068" y="2969664"/>
                </a:cubicBezTo>
                <a:cubicBezTo>
                  <a:pt x="4313179" y="2958886"/>
                  <a:pt x="4289454" y="2949948"/>
                  <a:pt x="4265941" y="2943085"/>
                </a:cubicBezTo>
                <a:cubicBezTo>
                  <a:pt x="4242429" y="2936223"/>
                  <a:pt x="4219152" y="2931341"/>
                  <a:pt x="4196182" y="2929077"/>
                </a:cubicBezTo>
                <a:cubicBezTo>
                  <a:pt x="4184674" y="2927992"/>
                  <a:pt x="4173283" y="2927473"/>
                  <a:pt x="4161963" y="2927922"/>
                </a:cubicBezTo>
                <a:cubicBezTo>
                  <a:pt x="4150619" y="2928299"/>
                  <a:pt x="4139512" y="2929525"/>
                  <a:pt x="4128546" y="2931931"/>
                </a:cubicBezTo>
                <a:cubicBezTo>
                  <a:pt x="4117603" y="2934289"/>
                  <a:pt x="4106920" y="2937803"/>
                  <a:pt x="4096803" y="2942708"/>
                </a:cubicBezTo>
                <a:cubicBezTo>
                  <a:pt x="4086685" y="2947566"/>
                  <a:pt x="4077228" y="2953863"/>
                  <a:pt x="4068715" y="2961245"/>
                </a:cubicBezTo>
                <a:cubicBezTo>
                  <a:pt x="4060201" y="2968626"/>
                  <a:pt x="4052631" y="2977093"/>
                  <a:pt x="4045910" y="2986054"/>
                </a:cubicBezTo>
                <a:cubicBezTo>
                  <a:pt x="4039212" y="2995016"/>
                  <a:pt x="4033293" y="3004543"/>
                  <a:pt x="4027845" y="3014283"/>
                </a:cubicBezTo>
                <a:cubicBezTo>
                  <a:pt x="4017044" y="3033739"/>
                  <a:pt x="4008129" y="3054115"/>
                  <a:pt x="3999781" y="3074751"/>
                </a:cubicBezTo>
                <a:cubicBezTo>
                  <a:pt x="3983202" y="3116092"/>
                  <a:pt x="3968557" y="3158872"/>
                  <a:pt x="3953157" y="3202831"/>
                </a:cubicBezTo>
                <a:cubicBezTo>
                  <a:pt x="3937993" y="3246790"/>
                  <a:pt x="3921957" y="3292070"/>
                  <a:pt x="3904930" y="3338600"/>
                </a:cubicBezTo>
                <a:cubicBezTo>
                  <a:pt x="3887997" y="3385106"/>
                  <a:pt x="3870073" y="3432838"/>
                  <a:pt x="3851136" y="3481679"/>
                </a:cubicBezTo>
                <a:cubicBezTo>
                  <a:pt x="3850169" y="3481962"/>
                  <a:pt x="3849226" y="3482269"/>
                  <a:pt x="3848259" y="3482575"/>
                </a:cubicBezTo>
                <a:cubicBezTo>
                  <a:pt x="3867078" y="3433734"/>
                  <a:pt x="3884860" y="3385978"/>
                  <a:pt x="3901651" y="3339449"/>
                </a:cubicBezTo>
                <a:cubicBezTo>
                  <a:pt x="3918513" y="3292896"/>
                  <a:pt x="3934409" y="3247568"/>
                  <a:pt x="3949431" y="3203562"/>
                </a:cubicBezTo>
                <a:cubicBezTo>
                  <a:pt x="3964689" y="3159509"/>
                  <a:pt x="3979146" y="3116611"/>
                  <a:pt x="3995654" y="3074892"/>
                </a:cubicBezTo>
                <a:cubicBezTo>
                  <a:pt x="4003979" y="3054045"/>
                  <a:pt x="4012846" y="3033457"/>
                  <a:pt x="4023765" y="3013458"/>
                </a:cubicBezTo>
                <a:cubicBezTo>
                  <a:pt x="4029260" y="3003506"/>
                  <a:pt x="4035250" y="2993695"/>
                  <a:pt x="4042160" y="2984332"/>
                </a:cubicBezTo>
                <a:cubicBezTo>
                  <a:pt x="4049094" y="2974994"/>
                  <a:pt x="4056923" y="2966103"/>
                  <a:pt x="4065838" y="2958273"/>
                </a:cubicBezTo>
                <a:cubicBezTo>
                  <a:pt x="4074729" y="2950443"/>
                  <a:pt x="4084704" y="2943746"/>
                  <a:pt x="4095317" y="2938605"/>
                </a:cubicBezTo>
                <a:cubicBezTo>
                  <a:pt x="4105906" y="2933440"/>
                  <a:pt x="4117061" y="2929738"/>
                  <a:pt x="4128357" y="2927261"/>
                </a:cubicBezTo>
                <a:cubicBezTo>
                  <a:pt x="4139653" y="2924761"/>
                  <a:pt x="4151209" y="2923488"/>
                  <a:pt x="4162741" y="2923087"/>
                </a:cubicBezTo>
                <a:cubicBezTo>
                  <a:pt x="4174321" y="2922639"/>
                  <a:pt x="4185947" y="2923134"/>
                  <a:pt x="4197621" y="2924266"/>
                </a:cubicBezTo>
                <a:cubicBezTo>
                  <a:pt x="4220992" y="2926554"/>
                  <a:pt x="4244528" y="2931506"/>
                  <a:pt x="4268300" y="2938440"/>
                </a:cubicBezTo>
                <a:cubicBezTo>
                  <a:pt x="4292048" y="2945373"/>
                  <a:pt x="4316009" y="2954382"/>
                  <a:pt x="4340087" y="2965254"/>
                </a:cubicBezTo>
                <a:cubicBezTo>
                  <a:pt x="4435788" y="3009024"/>
                  <a:pt x="4536347" y="3081637"/>
                  <a:pt x="4624477" y="3186795"/>
                </a:cubicBezTo>
                <a:cubicBezTo>
                  <a:pt x="4712136" y="3291103"/>
                  <a:pt x="4786753" y="3430079"/>
                  <a:pt x="4815478" y="3588039"/>
                </a:cubicBezTo>
                <a:cubicBezTo>
                  <a:pt x="4829993" y="3666631"/>
                  <a:pt x="4832121" y="3749437"/>
                  <a:pt x="4818747" y="3831572"/>
                </a:cubicBezTo>
                <a:lnTo>
                  <a:pt x="4809448" y="3866961"/>
                </a:lnTo>
                <a:lnTo>
                  <a:pt x="4815274" y="3854069"/>
                </a:lnTo>
                <a:cubicBezTo>
                  <a:pt x="4854952" y="3734340"/>
                  <a:pt x="4856124" y="3608605"/>
                  <a:pt x="4829982" y="3493070"/>
                </a:cubicBezTo>
                <a:cubicBezTo>
                  <a:pt x="4795385" y="3338223"/>
                  <a:pt x="4715863" y="3203303"/>
                  <a:pt x="4624289" y="3102721"/>
                </a:cubicBezTo>
                <a:cubicBezTo>
                  <a:pt x="4532220" y="3001313"/>
                  <a:pt x="4428666" y="2932096"/>
                  <a:pt x="4330678" y="2891014"/>
                </a:cubicBezTo>
                <a:cubicBezTo>
                  <a:pt x="4306033" y="2880826"/>
                  <a:pt x="4281625" y="2872478"/>
                  <a:pt x="4257452" y="2866134"/>
                </a:cubicBezTo>
                <a:cubicBezTo>
                  <a:pt x="4233303" y="2859790"/>
                  <a:pt x="4209389" y="2855403"/>
                  <a:pt x="4185877" y="2853587"/>
                </a:cubicBezTo>
                <a:cubicBezTo>
                  <a:pt x="4174109" y="2852715"/>
                  <a:pt x="4162435" y="2852408"/>
                  <a:pt x="4150903" y="2853021"/>
                </a:cubicBezTo>
                <a:cubicBezTo>
                  <a:pt x="4139323" y="2853587"/>
                  <a:pt x="4128004" y="2854979"/>
                  <a:pt x="4116849" y="2857526"/>
                </a:cubicBezTo>
                <a:cubicBezTo>
                  <a:pt x="4105717" y="2860026"/>
                  <a:pt x="4094893" y="2863681"/>
                  <a:pt x="4084658" y="2868634"/>
                </a:cubicBezTo>
                <a:cubicBezTo>
                  <a:pt x="4074423" y="2873562"/>
                  <a:pt x="4064918" y="2879906"/>
                  <a:pt x="4056405" y="2887288"/>
                </a:cubicBezTo>
                <a:cubicBezTo>
                  <a:pt x="4047868" y="2894693"/>
                  <a:pt x="4040345" y="2903089"/>
                  <a:pt x="4033671" y="2912003"/>
                </a:cubicBezTo>
                <a:cubicBezTo>
                  <a:pt x="4027020" y="2920918"/>
                  <a:pt x="4021219" y="2930351"/>
                  <a:pt x="4015912" y="2939973"/>
                </a:cubicBezTo>
                <a:cubicBezTo>
                  <a:pt x="4005347" y="2959240"/>
                  <a:pt x="3996763" y="2979333"/>
                  <a:pt x="3988744" y="2999685"/>
                </a:cubicBezTo>
                <a:cubicBezTo>
                  <a:pt x="3972873" y="3040461"/>
                  <a:pt x="3959053" y="3082580"/>
                  <a:pt x="3944550" y="3125856"/>
                </a:cubicBezTo>
                <a:cubicBezTo>
                  <a:pt x="3930282" y="3169107"/>
                  <a:pt x="3915212" y="3213656"/>
                  <a:pt x="3899223" y="3259407"/>
                </a:cubicBezTo>
                <a:cubicBezTo>
                  <a:pt x="3883304" y="3305135"/>
                  <a:pt x="3866466" y="3352066"/>
                  <a:pt x="3848684" y="3400058"/>
                </a:cubicBezTo>
                <a:cubicBezTo>
                  <a:pt x="3847741" y="3400341"/>
                  <a:pt x="3846750" y="3400671"/>
                  <a:pt x="3845783" y="3401001"/>
                </a:cubicBezTo>
                <a:cubicBezTo>
                  <a:pt x="3863447" y="3353009"/>
                  <a:pt x="3880144" y="3306079"/>
                  <a:pt x="3895921" y="3260327"/>
                </a:cubicBezTo>
                <a:cubicBezTo>
                  <a:pt x="3911769" y="3214552"/>
                  <a:pt x="3926674" y="3169956"/>
                  <a:pt x="3940776" y="3126658"/>
                </a:cubicBezTo>
                <a:cubicBezTo>
                  <a:pt x="3955138" y="3083312"/>
                  <a:pt x="3968770" y="3041074"/>
                  <a:pt x="3984547" y="2999921"/>
                </a:cubicBezTo>
                <a:cubicBezTo>
                  <a:pt x="3992518" y="2979357"/>
                  <a:pt x="4001055" y="2959028"/>
                  <a:pt x="4011738" y="2939242"/>
                </a:cubicBezTo>
                <a:cubicBezTo>
                  <a:pt x="4017115" y="2929384"/>
                  <a:pt x="4022987" y="2919691"/>
                  <a:pt x="4029827" y="2910376"/>
                </a:cubicBezTo>
                <a:cubicBezTo>
                  <a:pt x="4036689" y="2901108"/>
                  <a:pt x="4044472" y="2892264"/>
                  <a:pt x="4053410" y="2884434"/>
                </a:cubicBezTo>
                <a:cubicBezTo>
                  <a:pt x="4062324" y="2876605"/>
                  <a:pt x="4072371" y="2869860"/>
                  <a:pt x="4083077" y="2864624"/>
                </a:cubicBezTo>
                <a:cubicBezTo>
                  <a:pt x="4093761" y="2859365"/>
                  <a:pt x="4105081" y="2855545"/>
                  <a:pt x="4116589" y="2852927"/>
                </a:cubicBezTo>
                <a:cubicBezTo>
                  <a:pt x="4128074" y="2850286"/>
                  <a:pt x="4139866" y="2848847"/>
                  <a:pt x="4151610" y="2848258"/>
                </a:cubicBezTo>
                <a:close/>
                <a:moveTo>
                  <a:pt x="1771560" y="2784771"/>
                </a:moveTo>
                <a:lnTo>
                  <a:pt x="1790818" y="2818049"/>
                </a:lnTo>
                <a:lnTo>
                  <a:pt x="1795594" y="2829740"/>
                </a:lnTo>
                <a:lnTo>
                  <a:pt x="1839362" y="2847142"/>
                </a:lnTo>
                <a:lnTo>
                  <a:pt x="1824962" y="2811941"/>
                </a:lnTo>
                <a:lnTo>
                  <a:pt x="1819552" y="2802610"/>
                </a:lnTo>
                <a:lnTo>
                  <a:pt x="1780804" y="2788792"/>
                </a:lnTo>
                <a:close/>
                <a:moveTo>
                  <a:pt x="4172552" y="2775244"/>
                </a:moveTo>
                <a:cubicBezTo>
                  <a:pt x="4197079" y="2776399"/>
                  <a:pt x="4221959" y="2780102"/>
                  <a:pt x="4247170" y="2785715"/>
                </a:cubicBezTo>
                <a:cubicBezTo>
                  <a:pt x="4272380" y="2791327"/>
                  <a:pt x="4297944" y="2798945"/>
                  <a:pt x="4323744" y="2808331"/>
                </a:cubicBezTo>
                <a:cubicBezTo>
                  <a:pt x="4426378" y="2846253"/>
                  <a:pt x="4535922" y="2911790"/>
                  <a:pt x="4635491" y="3009850"/>
                </a:cubicBezTo>
                <a:cubicBezTo>
                  <a:pt x="4734493" y="3107107"/>
                  <a:pt x="4823119" y="3239126"/>
                  <a:pt x="4866913" y="3392794"/>
                </a:cubicBezTo>
                <a:cubicBezTo>
                  <a:pt x="4910872" y="3545589"/>
                  <a:pt x="4906273" y="3718478"/>
                  <a:pt x="4822482" y="3872099"/>
                </a:cubicBezTo>
                <a:cubicBezTo>
                  <a:pt x="4821185" y="3871250"/>
                  <a:pt x="4819912" y="3870401"/>
                  <a:pt x="4818591" y="3869599"/>
                </a:cubicBezTo>
                <a:cubicBezTo>
                  <a:pt x="4900661" y="3716568"/>
                  <a:pt x="4904599" y="3544835"/>
                  <a:pt x="4860664" y="3393101"/>
                </a:cubicBezTo>
                <a:cubicBezTo>
                  <a:pt x="4816893" y="3240517"/>
                  <a:pt x="4728857" y="3109465"/>
                  <a:pt x="4630515" y="3012845"/>
                </a:cubicBezTo>
                <a:cubicBezTo>
                  <a:pt x="4531607" y="2915422"/>
                  <a:pt x="4422794" y="2850309"/>
                  <a:pt x="4320890" y="2812670"/>
                </a:cubicBezTo>
                <a:cubicBezTo>
                  <a:pt x="4295279" y="2803355"/>
                  <a:pt x="4269974" y="2795808"/>
                  <a:pt x="4245000" y="2790266"/>
                </a:cubicBezTo>
                <a:cubicBezTo>
                  <a:pt x="4220049" y="2784724"/>
                  <a:pt x="4195428" y="2781069"/>
                  <a:pt x="4171326" y="2779913"/>
                </a:cubicBezTo>
                <a:cubicBezTo>
                  <a:pt x="4159251" y="2779371"/>
                  <a:pt x="4147318" y="2779394"/>
                  <a:pt x="4135550" y="2780314"/>
                </a:cubicBezTo>
                <a:cubicBezTo>
                  <a:pt x="4123735" y="2781187"/>
                  <a:pt x="4112203" y="2782861"/>
                  <a:pt x="4100906" y="2785644"/>
                </a:cubicBezTo>
                <a:cubicBezTo>
                  <a:pt x="4089634" y="2788403"/>
                  <a:pt x="4078691" y="2792271"/>
                  <a:pt x="4068432" y="2797412"/>
                </a:cubicBezTo>
                <a:cubicBezTo>
                  <a:pt x="4058174" y="2802529"/>
                  <a:pt x="4048693" y="2808991"/>
                  <a:pt x="4040274" y="2816444"/>
                </a:cubicBezTo>
                <a:cubicBezTo>
                  <a:pt x="4031855" y="2823920"/>
                  <a:pt x="4024473" y="2832362"/>
                  <a:pt x="4018011" y="2841253"/>
                </a:cubicBezTo>
                <a:cubicBezTo>
                  <a:pt x="4011573" y="2850144"/>
                  <a:pt x="4006007" y="2859530"/>
                  <a:pt x="4000961" y="2869105"/>
                </a:cubicBezTo>
                <a:cubicBezTo>
                  <a:pt x="3990914" y="2888231"/>
                  <a:pt x="3982943" y="2908112"/>
                  <a:pt x="3975561" y="2928228"/>
                </a:cubicBezTo>
                <a:cubicBezTo>
                  <a:pt x="3960963" y="2968532"/>
                  <a:pt x="3948535" y="3010038"/>
                  <a:pt x="3935423" y="3052677"/>
                </a:cubicBezTo>
                <a:cubicBezTo>
                  <a:pt x="3922570" y="3095292"/>
                  <a:pt x="3908939" y="3139180"/>
                  <a:pt x="3894412" y="3184224"/>
                </a:cubicBezTo>
                <a:cubicBezTo>
                  <a:pt x="3879955" y="3229244"/>
                  <a:pt x="3864602" y="3275444"/>
                  <a:pt x="3848307" y="3322681"/>
                </a:cubicBezTo>
                <a:cubicBezTo>
                  <a:pt x="3783382" y="3511300"/>
                  <a:pt x="3702067" y="3718195"/>
                  <a:pt x="3609456" y="3926034"/>
                </a:cubicBezTo>
                <a:cubicBezTo>
                  <a:pt x="3517622" y="4133142"/>
                  <a:pt x="3413314" y="4341170"/>
                  <a:pt x="3321811" y="4511865"/>
                </a:cubicBezTo>
                <a:cubicBezTo>
                  <a:pt x="3299053" y="4554480"/>
                  <a:pt x="3277262" y="4594666"/>
                  <a:pt x="3257028" y="4631762"/>
                </a:cubicBezTo>
                <a:cubicBezTo>
                  <a:pt x="3246911" y="4650322"/>
                  <a:pt x="3237194" y="4668104"/>
                  <a:pt x="3227950" y="4685036"/>
                </a:cubicBezTo>
                <a:cubicBezTo>
                  <a:pt x="3218681" y="4701969"/>
                  <a:pt x="3209885" y="4718076"/>
                  <a:pt x="3201631" y="4733264"/>
                </a:cubicBezTo>
                <a:cubicBezTo>
                  <a:pt x="3185146" y="4763616"/>
                  <a:pt x="3170831" y="4790288"/>
                  <a:pt x="3158757" y="4812952"/>
                </a:cubicBezTo>
                <a:cubicBezTo>
                  <a:pt x="3152696" y="4824295"/>
                  <a:pt x="3147224" y="4834625"/>
                  <a:pt x="3142107" y="4843987"/>
                </a:cubicBezTo>
                <a:cubicBezTo>
                  <a:pt x="3136989" y="4853350"/>
                  <a:pt x="3132274" y="4861746"/>
                  <a:pt x="3127346" y="4869292"/>
                </a:cubicBezTo>
                <a:cubicBezTo>
                  <a:pt x="3124891" y="4873066"/>
                  <a:pt x="3122344" y="4876627"/>
                  <a:pt x="3119632" y="4879975"/>
                </a:cubicBezTo>
                <a:cubicBezTo>
                  <a:pt x="3116920" y="4883324"/>
                  <a:pt x="3114043" y="4886437"/>
                  <a:pt x="3110980" y="4889338"/>
                </a:cubicBezTo>
                <a:cubicBezTo>
                  <a:pt x="3107911" y="4892239"/>
                  <a:pt x="3104704" y="4894880"/>
                  <a:pt x="3101402" y="4897379"/>
                </a:cubicBezTo>
                <a:cubicBezTo>
                  <a:pt x="3098100" y="4899856"/>
                  <a:pt x="3094728" y="4902167"/>
                  <a:pt x="3091332" y="4904361"/>
                </a:cubicBezTo>
                <a:cubicBezTo>
                  <a:pt x="3084520" y="4908770"/>
                  <a:pt x="3077559" y="4912779"/>
                  <a:pt x="3070533" y="4916695"/>
                </a:cubicBezTo>
                <a:cubicBezTo>
                  <a:pt x="3068763" y="4917685"/>
                  <a:pt x="3067018" y="4918652"/>
                  <a:pt x="3065249" y="4919619"/>
                </a:cubicBezTo>
                <a:cubicBezTo>
                  <a:pt x="3064356" y="4920090"/>
                  <a:pt x="3063483" y="4920586"/>
                  <a:pt x="3062586" y="4921081"/>
                </a:cubicBezTo>
                <a:cubicBezTo>
                  <a:pt x="3061688" y="4921576"/>
                  <a:pt x="3060815" y="4922024"/>
                  <a:pt x="3059919" y="4922472"/>
                </a:cubicBezTo>
                <a:cubicBezTo>
                  <a:pt x="3059026" y="4922944"/>
                  <a:pt x="3058154" y="4923415"/>
                  <a:pt x="3057256" y="4923864"/>
                </a:cubicBezTo>
                <a:cubicBezTo>
                  <a:pt x="3056358" y="4924312"/>
                  <a:pt x="3055486" y="4924783"/>
                  <a:pt x="3054589" y="4925255"/>
                </a:cubicBezTo>
                <a:cubicBezTo>
                  <a:pt x="3052799" y="4926175"/>
                  <a:pt x="3051005" y="4927118"/>
                  <a:pt x="3049215" y="4928061"/>
                </a:cubicBezTo>
                <a:cubicBezTo>
                  <a:pt x="3020419" y="4943013"/>
                  <a:pt x="2989854" y="4959758"/>
                  <a:pt x="2956085" y="4979544"/>
                </a:cubicBezTo>
                <a:cubicBezTo>
                  <a:pt x="2887836" y="5019140"/>
                  <a:pt x="2809798" y="5070292"/>
                  <a:pt x="2688014" y="5142621"/>
                </a:cubicBezTo>
                <a:cubicBezTo>
                  <a:pt x="2809798" y="5070221"/>
                  <a:pt x="2887856" y="5018998"/>
                  <a:pt x="2956130" y="4979308"/>
                </a:cubicBezTo>
                <a:cubicBezTo>
                  <a:pt x="2989904" y="4959474"/>
                  <a:pt x="3020465" y="4942683"/>
                  <a:pt x="3049260" y="4927731"/>
                </a:cubicBezTo>
                <a:cubicBezTo>
                  <a:pt x="3051054" y="4926788"/>
                  <a:pt x="3052844" y="4925868"/>
                  <a:pt x="3054638" y="4924925"/>
                </a:cubicBezTo>
                <a:cubicBezTo>
                  <a:pt x="3055536" y="4924454"/>
                  <a:pt x="3056429" y="4924005"/>
                  <a:pt x="3057302" y="4923533"/>
                </a:cubicBezTo>
                <a:cubicBezTo>
                  <a:pt x="3058198" y="4923062"/>
                  <a:pt x="3059070" y="4922590"/>
                  <a:pt x="3059968" y="4922142"/>
                </a:cubicBezTo>
                <a:cubicBezTo>
                  <a:pt x="3060866" y="4921670"/>
                  <a:pt x="3061738" y="4921222"/>
                  <a:pt x="3062611" y="4920751"/>
                </a:cubicBezTo>
                <a:cubicBezTo>
                  <a:pt x="3063504" y="4920256"/>
                  <a:pt x="3064377" y="4919784"/>
                  <a:pt x="3065273" y="4919288"/>
                </a:cubicBezTo>
                <a:cubicBezTo>
                  <a:pt x="3067043" y="4918322"/>
                  <a:pt x="3068813" y="4917355"/>
                  <a:pt x="3070558" y="4916364"/>
                </a:cubicBezTo>
                <a:cubicBezTo>
                  <a:pt x="3077583" y="4912426"/>
                  <a:pt x="3084520" y="4908440"/>
                  <a:pt x="3091287" y="4904054"/>
                </a:cubicBezTo>
                <a:cubicBezTo>
                  <a:pt x="3094684" y="4901861"/>
                  <a:pt x="3098030" y="4899573"/>
                  <a:pt x="3101287" y="4897097"/>
                </a:cubicBezTo>
                <a:cubicBezTo>
                  <a:pt x="3104539" y="4894644"/>
                  <a:pt x="3107723" y="4892003"/>
                  <a:pt x="3110741" y="4889125"/>
                </a:cubicBezTo>
                <a:cubicBezTo>
                  <a:pt x="3116805" y="4883395"/>
                  <a:pt x="3122061" y="4876768"/>
                  <a:pt x="3126919" y="4869268"/>
                </a:cubicBezTo>
                <a:cubicBezTo>
                  <a:pt x="3131803" y="4861769"/>
                  <a:pt x="3136494" y="4853397"/>
                  <a:pt x="3141588" y="4844058"/>
                </a:cubicBezTo>
                <a:cubicBezTo>
                  <a:pt x="3146682" y="4834719"/>
                  <a:pt x="3152153" y="4824389"/>
                  <a:pt x="3158191" y="4813070"/>
                </a:cubicBezTo>
                <a:cubicBezTo>
                  <a:pt x="3170242" y="4790430"/>
                  <a:pt x="3184509" y="4763781"/>
                  <a:pt x="3200971" y="4733429"/>
                </a:cubicBezTo>
                <a:cubicBezTo>
                  <a:pt x="3209201" y="4718265"/>
                  <a:pt x="3217974" y="4702158"/>
                  <a:pt x="3227242" y="4685225"/>
                </a:cubicBezTo>
                <a:cubicBezTo>
                  <a:pt x="3236463" y="4668292"/>
                  <a:pt x="3246180" y="4650510"/>
                  <a:pt x="3256273" y="4631974"/>
                </a:cubicBezTo>
                <a:cubicBezTo>
                  <a:pt x="3276460" y="4594878"/>
                  <a:pt x="3298204" y="4554739"/>
                  <a:pt x="3320915" y="4512148"/>
                </a:cubicBezTo>
                <a:cubicBezTo>
                  <a:pt x="3412205" y="4341570"/>
                  <a:pt x="3516231" y="4133755"/>
                  <a:pt x="3607758" y="3926789"/>
                </a:cubicBezTo>
                <a:cubicBezTo>
                  <a:pt x="3700015" y="3719091"/>
                  <a:pt x="3780953" y="3512314"/>
                  <a:pt x="3845359" y="3323695"/>
                </a:cubicBezTo>
                <a:cubicBezTo>
                  <a:pt x="3861513" y="3276458"/>
                  <a:pt x="3876724" y="3230258"/>
                  <a:pt x="3891039" y="3185214"/>
                </a:cubicBezTo>
                <a:cubicBezTo>
                  <a:pt x="3905425" y="3140147"/>
                  <a:pt x="3918891" y="3096235"/>
                  <a:pt x="3931579" y="3053573"/>
                </a:cubicBezTo>
                <a:cubicBezTo>
                  <a:pt x="3944526" y="3010864"/>
                  <a:pt x="3956766" y="2969239"/>
                  <a:pt x="3971269" y="2928582"/>
                </a:cubicBezTo>
                <a:cubicBezTo>
                  <a:pt x="3978604" y="2908277"/>
                  <a:pt x="3986504" y="2888160"/>
                  <a:pt x="3996645" y="2868515"/>
                </a:cubicBezTo>
                <a:cubicBezTo>
                  <a:pt x="4001739" y="2858728"/>
                  <a:pt x="4007375" y="2849083"/>
                  <a:pt x="4014002" y="2839791"/>
                </a:cubicBezTo>
                <a:cubicBezTo>
                  <a:pt x="4020653" y="2830523"/>
                  <a:pt x="4028270" y="2821655"/>
                  <a:pt x="4037090" y="2813755"/>
                </a:cubicBezTo>
                <a:cubicBezTo>
                  <a:pt x="4045887" y="2805855"/>
                  <a:pt x="4055886" y="2798968"/>
                  <a:pt x="4066640" y="2793568"/>
                </a:cubicBezTo>
                <a:cubicBezTo>
                  <a:pt x="4077370" y="2788120"/>
                  <a:pt x="4088785" y="2784064"/>
                  <a:pt x="4100435" y="2781210"/>
                </a:cubicBezTo>
                <a:cubicBezTo>
                  <a:pt x="4112085" y="2778309"/>
                  <a:pt x="4124065" y="2776564"/>
                  <a:pt x="4136069" y="2775668"/>
                </a:cubicBezTo>
                <a:cubicBezTo>
                  <a:pt x="4148120" y="2774725"/>
                  <a:pt x="4160289" y="2774678"/>
                  <a:pt x="4172552" y="2775244"/>
                </a:cubicBezTo>
                <a:close/>
                <a:moveTo>
                  <a:pt x="2026616" y="2759596"/>
                </a:moveTo>
                <a:lnTo>
                  <a:pt x="2018420" y="2760647"/>
                </a:lnTo>
                <a:cubicBezTo>
                  <a:pt x="2012642" y="2760670"/>
                  <a:pt x="2006723" y="2760529"/>
                  <a:pt x="2000686" y="2760269"/>
                </a:cubicBezTo>
                <a:cubicBezTo>
                  <a:pt x="1997667" y="2760128"/>
                  <a:pt x="1994601" y="2759963"/>
                  <a:pt x="1991512" y="2759750"/>
                </a:cubicBezTo>
                <a:lnTo>
                  <a:pt x="1991211" y="2759723"/>
                </a:lnTo>
                <a:lnTo>
                  <a:pt x="1997737" y="2771000"/>
                </a:lnTo>
                <a:lnTo>
                  <a:pt x="2013497" y="2809583"/>
                </a:lnTo>
                <a:lnTo>
                  <a:pt x="2027965" y="2811116"/>
                </a:lnTo>
                <a:cubicBezTo>
                  <a:pt x="2031172" y="2811399"/>
                  <a:pt x="2034356" y="2811658"/>
                  <a:pt x="2037493" y="2811894"/>
                </a:cubicBezTo>
                <a:cubicBezTo>
                  <a:pt x="2040629" y="2812106"/>
                  <a:pt x="2043719" y="2812295"/>
                  <a:pt x="2046808" y="2812436"/>
                </a:cubicBezTo>
                <a:lnTo>
                  <a:pt x="2049803" y="2812552"/>
                </a:lnTo>
                <a:lnTo>
                  <a:pt x="2031792" y="2768524"/>
                </a:lnTo>
                <a:close/>
                <a:moveTo>
                  <a:pt x="2059916" y="2755324"/>
                </a:moveTo>
                <a:lnTo>
                  <a:pt x="2028181" y="2759395"/>
                </a:lnTo>
                <a:lnTo>
                  <a:pt x="2033136" y="2767958"/>
                </a:lnTo>
                <a:lnTo>
                  <a:pt x="2051376" y="2812613"/>
                </a:lnTo>
                <a:lnTo>
                  <a:pt x="2055935" y="2812790"/>
                </a:lnTo>
                <a:cubicBezTo>
                  <a:pt x="2058930" y="2812837"/>
                  <a:pt x="2061878" y="2812837"/>
                  <a:pt x="2064826" y="2812814"/>
                </a:cubicBezTo>
                <a:cubicBezTo>
                  <a:pt x="2070674" y="2812766"/>
                  <a:pt x="2076405" y="2812578"/>
                  <a:pt x="2081994" y="2812271"/>
                </a:cubicBezTo>
                <a:lnTo>
                  <a:pt x="2085377" y="2811634"/>
                </a:lnTo>
                <a:lnTo>
                  <a:pt x="2068156" y="2769538"/>
                </a:lnTo>
                <a:close/>
                <a:moveTo>
                  <a:pt x="1951599" y="2754835"/>
                </a:moveTo>
                <a:lnTo>
                  <a:pt x="1960994" y="2771071"/>
                </a:lnTo>
                <a:lnTo>
                  <a:pt x="1973949" y="2802787"/>
                </a:lnTo>
                <a:lnTo>
                  <a:pt x="2008367" y="2809040"/>
                </a:lnTo>
                <a:lnTo>
                  <a:pt x="2011875" y="2809412"/>
                </a:lnTo>
                <a:lnTo>
                  <a:pt x="1996393" y="2771566"/>
                </a:lnTo>
                <a:lnTo>
                  <a:pt x="1989435" y="2759563"/>
                </a:lnTo>
                <a:lnTo>
                  <a:pt x="1982078" y="2758902"/>
                </a:lnTo>
                <a:cubicBezTo>
                  <a:pt x="1978895" y="2758571"/>
                  <a:pt x="1975687" y="2758218"/>
                  <a:pt x="1972456" y="2757840"/>
                </a:cubicBezTo>
                <a:cubicBezTo>
                  <a:pt x="1969226" y="2757439"/>
                  <a:pt x="1965947" y="2757015"/>
                  <a:pt x="1962646" y="2756543"/>
                </a:cubicBezTo>
                <a:close/>
                <a:moveTo>
                  <a:pt x="1792548" y="2753786"/>
                </a:moveTo>
                <a:lnTo>
                  <a:pt x="1796827" y="2760435"/>
                </a:lnTo>
                <a:lnTo>
                  <a:pt x="1821322" y="2802763"/>
                </a:lnTo>
                <a:lnTo>
                  <a:pt x="1865595" y="2818518"/>
                </a:lnTo>
                <a:lnTo>
                  <a:pt x="1866378" y="2818740"/>
                </a:lnTo>
                <a:lnTo>
                  <a:pt x="1857413" y="2796824"/>
                </a:lnTo>
                <a:lnTo>
                  <a:pt x="1842524" y="2771143"/>
                </a:lnTo>
                <a:lnTo>
                  <a:pt x="1823682" y="2765727"/>
                </a:lnTo>
                <a:close/>
                <a:moveTo>
                  <a:pt x="2091216" y="2747886"/>
                </a:moveTo>
                <a:lnTo>
                  <a:pt x="2080562" y="2752676"/>
                </a:lnTo>
                <a:lnTo>
                  <a:pt x="2061486" y="2755123"/>
                </a:lnTo>
                <a:lnTo>
                  <a:pt x="2069500" y="2768972"/>
                </a:lnTo>
                <a:lnTo>
                  <a:pt x="2086815" y="2811363"/>
                </a:lnTo>
                <a:lnTo>
                  <a:pt x="2118834" y="2805333"/>
                </a:lnTo>
                <a:lnTo>
                  <a:pt x="2105204" y="2772014"/>
                </a:lnTo>
                <a:close/>
                <a:moveTo>
                  <a:pt x="1907338" y="2745455"/>
                </a:moveTo>
                <a:lnTo>
                  <a:pt x="1927948" y="2781070"/>
                </a:lnTo>
                <a:lnTo>
                  <a:pt x="1933843" y="2795501"/>
                </a:lnTo>
                <a:lnTo>
                  <a:pt x="1972269" y="2802482"/>
                </a:lnTo>
                <a:lnTo>
                  <a:pt x="1959650" y="2771637"/>
                </a:lnTo>
                <a:lnTo>
                  <a:pt x="1949744" y="2754549"/>
                </a:lnTo>
                <a:lnTo>
                  <a:pt x="1942506" y="2753430"/>
                </a:lnTo>
                <a:close/>
                <a:moveTo>
                  <a:pt x="1865362" y="2735935"/>
                </a:moveTo>
                <a:lnTo>
                  <a:pt x="1889816" y="2778193"/>
                </a:lnTo>
                <a:lnTo>
                  <a:pt x="1892540" y="2784860"/>
                </a:lnTo>
                <a:lnTo>
                  <a:pt x="1922448" y="2793431"/>
                </a:lnTo>
                <a:lnTo>
                  <a:pt x="1932150" y="2795193"/>
                </a:lnTo>
                <a:lnTo>
                  <a:pt x="1926604" y="2781636"/>
                </a:lnTo>
                <a:lnTo>
                  <a:pt x="1905371" y="2745009"/>
                </a:lnTo>
                <a:close/>
                <a:moveTo>
                  <a:pt x="1739730" y="2733528"/>
                </a:moveTo>
                <a:lnTo>
                  <a:pt x="1761339" y="2767109"/>
                </a:lnTo>
                <a:lnTo>
                  <a:pt x="1771216" y="2784176"/>
                </a:lnTo>
                <a:lnTo>
                  <a:pt x="1780853" y="2788361"/>
                </a:lnTo>
                <a:lnTo>
                  <a:pt x="1819204" y="2802009"/>
                </a:lnTo>
                <a:lnTo>
                  <a:pt x="1795553" y="2761213"/>
                </a:lnTo>
                <a:lnTo>
                  <a:pt x="1790176" y="2752876"/>
                </a:lnTo>
                <a:close/>
                <a:moveTo>
                  <a:pt x="1812871" y="2719823"/>
                </a:moveTo>
                <a:lnTo>
                  <a:pt x="1829278" y="2745318"/>
                </a:lnTo>
                <a:lnTo>
                  <a:pt x="1844134" y="2770990"/>
                </a:lnTo>
                <a:lnTo>
                  <a:pt x="1890760" y="2784350"/>
                </a:lnTo>
                <a:lnTo>
                  <a:pt x="1888472" y="2778759"/>
                </a:lnTo>
                <a:lnTo>
                  <a:pt x="1863386" y="2735487"/>
                </a:lnTo>
                <a:lnTo>
                  <a:pt x="1854465" y="2733464"/>
                </a:lnTo>
                <a:close/>
                <a:moveTo>
                  <a:pt x="4154086" y="2707962"/>
                </a:moveTo>
                <a:cubicBezTo>
                  <a:pt x="4179344" y="2708221"/>
                  <a:pt x="4205097" y="2710980"/>
                  <a:pt x="4231368" y="2715626"/>
                </a:cubicBezTo>
                <a:cubicBezTo>
                  <a:pt x="4257616" y="2720296"/>
                  <a:pt x="4284360" y="2726923"/>
                  <a:pt x="4311504" y="2735389"/>
                </a:cubicBezTo>
                <a:cubicBezTo>
                  <a:pt x="4419444" y="2769561"/>
                  <a:pt x="4536724" y="2831538"/>
                  <a:pt x="4646787" y="2928323"/>
                </a:cubicBezTo>
                <a:cubicBezTo>
                  <a:pt x="4756166" y="3024307"/>
                  <a:pt x="4858210" y="3157576"/>
                  <a:pt x="4915589" y="3317423"/>
                </a:cubicBezTo>
                <a:cubicBezTo>
                  <a:pt x="4972966" y="3476138"/>
                  <a:pt x="4981598" y="3660417"/>
                  <a:pt x="4902948" y="3826419"/>
                </a:cubicBezTo>
                <a:cubicBezTo>
                  <a:pt x="4901603" y="3825476"/>
                  <a:pt x="4900236" y="3824509"/>
                  <a:pt x="4898844" y="3823566"/>
                </a:cubicBezTo>
                <a:cubicBezTo>
                  <a:pt x="4975749" y="3658200"/>
                  <a:pt x="4966528" y="3475171"/>
                  <a:pt x="4909244" y="3317564"/>
                </a:cubicBezTo>
                <a:cubicBezTo>
                  <a:pt x="4851961" y="3158873"/>
                  <a:pt x="4750600" y="3026571"/>
                  <a:pt x="4641952" y="2931247"/>
                </a:cubicBezTo>
                <a:cubicBezTo>
                  <a:pt x="4532620" y="2835122"/>
                  <a:pt x="4416143" y="2773546"/>
                  <a:pt x="4308934" y="2739634"/>
                </a:cubicBezTo>
                <a:cubicBezTo>
                  <a:pt x="4282001" y="2731262"/>
                  <a:pt x="4255517" y="2724682"/>
                  <a:pt x="4229505" y="2720060"/>
                </a:cubicBezTo>
                <a:cubicBezTo>
                  <a:pt x="4203517" y="2715461"/>
                  <a:pt x="4178023" y="2712749"/>
                  <a:pt x="4153190" y="2712490"/>
                </a:cubicBezTo>
                <a:cubicBezTo>
                  <a:pt x="4140762" y="2712395"/>
                  <a:pt x="4128498" y="2712867"/>
                  <a:pt x="4116471" y="2714188"/>
                </a:cubicBezTo>
                <a:cubicBezTo>
                  <a:pt x="4104396" y="2715485"/>
                  <a:pt x="4092652" y="2717536"/>
                  <a:pt x="4081190" y="2720673"/>
                </a:cubicBezTo>
                <a:cubicBezTo>
                  <a:pt x="4069776" y="2723786"/>
                  <a:pt x="4058739" y="2727937"/>
                  <a:pt x="4048504" y="2733337"/>
                </a:cubicBezTo>
                <a:cubicBezTo>
                  <a:pt x="4038245" y="2738691"/>
                  <a:pt x="4028859" y="2745294"/>
                  <a:pt x="4020605" y="2752841"/>
                </a:cubicBezTo>
                <a:cubicBezTo>
                  <a:pt x="4012351" y="2760387"/>
                  <a:pt x="4005229" y="2768830"/>
                  <a:pt x="3999050" y="2777650"/>
                </a:cubicBezTo>
                <a:cubicBezTo>
                  <a:pt x="3992895" y="2786494"/>
                  <a:pt x="3987683" y="2795738"/>
                  <a:pt x="3982990" y="2805148"/>
                </a:cubicBezTo>
                <a:cubicBezTo>
                  <a:pt x="3973674" y="2823944"/>
                  <a:pt x="3966505" y="2843400"/>
                  <a:pt x="3959973" y="2863021"/>
                </a:cubicBezTo>
                <a:cubicBezTo>
                  <a:pt x="3947049" y="2902311"/>
                  <a:pt x="3936460" y="2942662"/>
                  <a:pt x="3925211" y="2984145"/>
                </a:cubicBezTo>
                <a:cubicBezTo>
                  <a:pt x="3914221" y="3025580"/>
                  <a:pt x="3902477" y="3068266"/>
                  <a:pt x="3889836" y="3112131"/>
                </a:cubicBezTo>
                <a:cubicBezTo>
                  <a:pt x="3877290" y="3155972"/>
                  <a:pt x="3863824" y="3201016"/>
                  <a:pt x="3849415" y="3247121"/>
                </a:cubicBezTo>
                <a:cubicBezTo>
                  <a:pt x="3792013" y="3431259"/>
                  <a:pt x="3717962" y="3634075"/>
                  <a:pt x="3630751" y="3840782"/>
                </a:cubicBezTo>
                <a:cubicBezTo>
                  <a:pt x="3544248" y="4046805"/>
                  <a:pt x="3443524" y="4256955"/>
                  <a:pt x="3349898" y="4436871"/>
                </a:cubicBezTo>
                <a:cubicBezTo>
                  <a:pt x="3326598" y="4481774"/>
                  <a:pt x="3303911" y="4524671"/>
                  <a:pt x="3282379" y="4564975"/>
                </a:cubicBezTo>
                <a:cubicBezTo>
                  <a:pt x="3271602" y="4585115"/>
                  <a:pt x="3261131" y="4604595"/>
                  <a:pt x="3251015" y="4623343"/>
                </a:cubicBezTo>
                <a:cubicBezTo>
                  <a:pt x="3240874" y="4642092"/>
                  <a:pt x="3231110" y="4660133"/>
                  <a:pt x="3221772" y="4677349"/>
                </a:cubicBezTo>
                <a:cubicBezTo>
                  <a:pt x="3203117" y="4711780"/>
                  <a:pt x="3186232" y="4742981"/>
                  <a:pt x="3171091" y="4770597"/>
                </a:cubicBezTo>
                <a:cubicBezTo>
                  <a:pt x="3163521" y="4784393"/>
                  <a:pt x="3156423" y="4797293"/>
                  <a:pt x="3149583" y="4809274"/>
                </a:cubicBezTo>
                <a:cubicBezTo>
                  <a:pt x="3142768" y="4821254"/>
                  <a:pt x="3136235" y="4832338"/>
                  <a:pt x="3129562" y="4842432"/>
                </a:cubicBezTo>
                <a:cubicBezTo>
                  <a:pt x="3126237" y="4847478"/>
                  <a:pt x="3122821" y="4852242"/>
                  <a:pt x="3119330" y="4856676"/>
                </a:cubicBezTo>
                <a:cubicBezTo>
                  <a:pt x="3115840" y="4861110"/>
                  <a:pt x="3112231" y="4865189"/>
                  <a:pt x="3108577" y="4868845"/>
                </a:cubicBezTo>
                <a:cubicBezTo>
                  <a:pt x="3104924" y="4872500"/>
                  <a:pt x="3101219" y="4875755"/>
                  <a:pt x="3097541" y="4878679"/>
                </a:cubicBezTo>
                <a:cubicBezTo>
                  <a:pt x="3093862" y="4881603"/>
                  <a:pt x="3090204" y="4884221"/>
                  <a:pt x="3086549" y="4886650"/>
                </a:cubicBezTo>
                <a:cubicBezTo>
                  <a:pt x="3079261" y="4891508"/>
                  <a:pt x="3072047" y="4895706"/>
                  <a:pt x="3064805" y="4899762"/>
                </a:cubicBezTo>
                <a:cubicBezTo>
                  <a:pt x="3062988" y="4900777"/>
                  <a:pt x="3061174" y="4901767"/>
                  <a:pt x="3059360" y="4902757"/>
                </a:cubicBezTo>
                <a:cubicBezTo>
                  <a:pt x="3058462" y="4903253"/>
                  <a:pt x="3057541" y="4903748"/>
                  <a:pt x="3056623" y="4904243"/>
                </a:cubicBezTo>
                <a:cubicBezTo>
                  <a:pt x="3055701" y="4904739"/>
                  <a:pt x="3054829" y="4905187"/>
                  <a:pt x="3053911" y="4905658"/>
                </a:cubicBezTo>
                <a:cubicBezTo>
                  <a:pt x="3053013" y="4906130"/>
                  <a:pt x="3052092" y="4906602"/>
                  <a:pt x="3051199" y="4907073"/>
                </a:cubicBezTo>
                <a:cubicBezTo>
                  <a:pt x="3050301" y="4907521"/>
                  <a:pt x="3049381" y="4907993"/>
                  <a:pt x="3048488" y="4908465"/>
                </a:cubicBezTo>
                <a:cubicBezTo>
                  <a:pt x="3046669" y="4909384"/>
                  <a:pt x="3044853" y="4910327"/>
                  <a:pt x="3043013" y="4911271"/>
                </a:cubicBezTo>
                <a:cubicBezTo>
                  <a:pt x="3013724" y="4926341"/>
                  <a:pt x="2982196" y="4944028"/>
                  <a:pt x="2946841" y="4965182"/>
                </a:cubicBezTo>
                <a:cubicBezTo>
                  <a:pt x="2875407" y="5007514"/>
                  <a:pt x="2791828" y="5063170"/>
                  <a:pt x="2660332" y="5139415"/>
                </a:cubicBezTo>
                <a:cubicBezTo>
                  <a:pt x="2791828" y="5063076"/>
                  <a:pt x="2875457" y="5007302"/>
                  <a:pt x="2946935" y="4964852"/>
                </a:cubicBezTo>
                <a:cubicBezTo>
                  <a:pt x="2982311" y="4943627"/>
                  <a:pt x="3013866" y="4925893"/>
                  <a:pt x="3043178" y="4910776"/>
                </a:cubicBezTo>
                <a:cubicBezTo>
                  <a:pt x="3045017" y="4909832"/>
                  <a:pt x="3046836" y="4908889"/>
                  <a:pt x="3048650" y="4907946"/>
                </a:cubicBezTo>
                <a:cubicBezTo>
                  <a:pt x="3049548" y="4907474"/>
                  <a:pt x="3050466" y="4907026"/>
                  <a:pt x="3051362" y="4906555"/>
                </a:cubicBezTo>
                <a:cubicBezTo>
                  <a:pt x="3052260" y="4906083"/>
                  <a:pt x="3053177" y="4905611"/>
                  <a:pt x="3054074" y="4905139"/>
                </a:cubicBezTo>
                <a:cubicBezTo>
                  <a:pt x="3054972" y="4904668"/>
                  <a:pt x="3055870" y="4904220"/>
                  <a:pt x="3056787" y="4903725"/>
                </a:cubicBezTo>
                <a:cubicBezTo>
                  <a:pt x="3057709" y="4903229"/>
                  <a:pt x="3058602" y="4902734"/>
                  <a:pt x="3059498" y="4902239"/>
                </a:cubicBezTo>
                <a:cubicBezTo>
                  <a:pt x="3061314" y="4901248"/>
                  <a:pt x="3063133" y="4900234"/>
                  <a:pt x="3064923" y="4899220"/>
                </a:cubicBezTo>
                <a:cubicBezTo>
                  <a:pt x="3072163" y="4895164"/>
                  <a:pt x="3079355" y="4890966"/>
                  <a:pt x="3086599" y="4886108"/>
                </a:cubicBezTo>
                <a:cubicBezTo>
                  <a:pt x="3090226" y="4883679"/>
                  <a:pt x="3093862" y="4881061"/>
                  <a:pt x="3097515" y="4878160"/>
                </a:cubicBezTo>
                <a:cubicBezTo>
                  <a:pt x="3101170" y="4875260"/>
                  <a:pt x="3104830" y="4872028"/>
                  <a:pt x="3108434" y="4868397"/>
                </a:cubicBezTo>
                <a:cubicBezTo>
                  <a:pt x="3115677" y="4861157"/>
                  <a:pt x="3122581" y="4852242"/>
                  <a:pt x="3129186" y="4842267"/>
                </a:cubicBezTo>
                <a:cubicBezTo>
                  <a:pt x="3135811" y="4832267"/>
                  <a:pt x="3142273" y="4821230"/>
                  <a:pt x="3149065" y="4809274"/>
                </a:cubicBezTo>
                <a:cubicBezTo>
                  <a:pt x="3155857" y="4797317"/>
                  <a:pt x="3162932" y="4784464"/>
                  <a:pt x="3170478" y="4770668"/>
                </a:cubicBezTo>
                <a:cubicBezTo>
                  <a:pt x="3185548" y="4743123"/>
                  <a:pt x="3202410" y="4711946"/>
                  <a:pt x="3221017" y="4677538"/>
                </a:cubicBezTo>
                <a:cubicBezTo>
                  <a:pt x="3230332" y="4660322"/>
                  <a:pt x="3240072" y="4642328"/>
                  <a:pt x="3250190" y="4623579"/>
                </a:cubicBezTo>
                <a:cubicBezTo>
                  <a:pt x="3260282" y="4604831"/>
                  <a:pt x="3270729" y="4585374"/>
                  <a:pt x="3281483" y="4565235"/>
                </a:cubicBezTo>
                <a:cubicBezTo>
                  <a:pt x="3302968" y="4524978"/>
                  <a:pt x="3325608" y="4482104"/>
                  <a:pt x="3348837" y="4437248"/>
                </a:cubicBezTo>
                <a:cubicBezTo>
                  <a:pt x="3442227" y="4257497"/>
                  <a:pt x="3542667" y="4047559"/>
                  <a:pt x="3628864" y="3841701"/>
                </a:cubicBezTo>
                <a:cubicBezTo>
                  <a:pt x="3715721" y="3635160"/>
                  <a:pt x="3789395" y="3432438"/>
                  <a:pt x="3846278" y="3248300"/>
                </a:cubicBezTo>
                <a:cubicBezTo>
                  <a:pt x="3860569" y="3202195"/>
                  <a:pt x="3873870" y="3157151"/>
                  <a:pt x="3886275" y="3113286"/>
                </a:cubicBezTo>
                <a:cubicBezTo>
                  <a:pt x="3898750" y="3069398"/>
                  <a:pt x="3910353" y="3026665"/>
                  <a:pt x="3921178" y="2985206"/>
                </a:cubicBezTo>
                <a:cubicBezTo>
                  <a:pt x="3932262" y="2943676"/>
                  <a:pt x="3942686" y="2903207"/>
                  <a:pt x="3955468" y="2863564"/>
                </a:cubicBezTo>
                <a:cubicBezTo>
                  <a:pt x="3961954" y="2843754"/>
                  <a:pt x="3969029" y="2824109"/>
                  <a:pt x="3978438" y="2804794"/>
                </a:cubicBezTo>
                <a:cubicBezTo>
                  <a:pt x="3983155" y="2795172"/>
                  <a:pt x="3988437" y="2785645"/>
                  <a:pt x="3994758" y="2776424"/>
                </a:cubicBezTo>
                <a:cubicBezTo>
                  <a:pt x="4001102" y="2767226"/>
                  <a:pt x="4008460" y="2758383"/>
                  <a:pt x="4017091" y="2750388"/>
                </a:cubicBezTo>
                <a:cubicBezTo>
                  <a:pt x="4025723" y="2742393"/>
                  <a:pt x="4035604" y="2735342"/>
                  <a:pt x="4046358" y="2729705"/>
                </a:cubicBezTo>
                <a:cubicBezTo>
                  <a:pt x="4057088" y="2724022"/>
                  <a:pt x="4068573" y="2719659"/>
                  <a:pt x="4080388" y="2716428"/>
                </a:cubicBezTo>
                <a:cubicBezTo>
                  <a:pt x="4092180" y="2713173"/>
                  <a:pt x="4104396" y="2711028"/>
                  <a:pt x="4116659" y="2709707"/>
                </a:cubicBezTo>
                <a:cubicBezTo>
                  <a:pt x="4128993" y="2708339"/>
                  <a:pt x="4141469" y="2707867"/>
                  <a:pt x="4154086" y="2707962"/>
                </a:cubicBezTo>
                <a:close/>
                <a:moveTo>
                  <a:pt x="1759410" y="2702289"/>
                </a:moveTo>
                <a:lnTo>
                  <a:pt x="1792061" y="2753029"/>
                </a:lnTo>
                <a:lnTo>
                  <a:pt x="1823637" y="2765117"/>
                </a:lnTo>
                <a:lnTo>
                  <a:pt x="1842097" y="2770406"/>
                </a:lnTo>
                <a:lnTo>
                  <a:pt x="1828005" y="2746097"/>
                </a:lnTo>
                <a:lnTo>
                  <a:pt x="1810572" y="2719069"/>
                </a:lnTo>
                <a:close/>
                <a:moveTo>
                  <a:pt x="1705302" y="2680028"/>
                </a:moveTo>
                <a:lnTo>
                  <a:pt x="1739276" y="2732822"/>
                </a:lnTo>
                <a:lnTo>
                  <a:pt x="1789689" y="2752121"/>
                </a:lnTo>
                <a:lnTo>
                  <a:pt x="1757051" y="2701515"/>
                </a:lnTo>
                <a:lnTo>
                  <a:pt x="1753678" y="2700409"/>
                </a:lnTo>
                <a:close/>
                <a:moveTo>
                  <a:pt x="4131612" y="2644522"/>
                </a:moveTo>
                <a:cubicBezTo>
                  <a:pt x="4157507" y="2643862"/>
                  <a:pt x="4184061" y="2645630"/>
                  <a:pt x="4211253" y="2649286"/>
                </a:cubicBezTo>
                <a:cubicBezTo>
                  <a:pt x="4238444" y="2652965"/>
                  <a:pt x="4266249" y="2658601"/>
                  <a:pt x="4294619" y="2666054"/>
                </a:cubicBezTo>
                <a:cubicBezTo>
                  <a:pt x="4407489" y="2696240"/>
                  <a:pt x="4532032" y="2754231"/>
                  <a:pt x="4652448" y="2848989"/>
                </a:cubicBezTo>
                <a:cubicBezTo>
                  <a:pt x="4772062" y="2942991"/>
                  <a:pt x="4887738" y="3076425"/>
                  <a:pt x="4959714" y="3241579"/>
                </a:cubicBezTo>
                <a:cubicBezTo>
                  <a:pt x="5031477" y="3405364"/>
                  <a:pt x="5055226" y="3600515"/>
                  <a:pt x="4983816" y="3779323"/>
                </a:cubicBezTo>
                <a:cubicBezTo>
                  <a:pt x="4982471" y="3778144"/>
                  <a:pt x="4980986" y="3777059"/>
                  <a:pt x="4979476" y="3775974"/>
                </a:cubicBezTo>
                <a:cubicBezTo>
                  <a:pt x="5049094" y="3597850"/>
                  <a:pt x="5024850" y="3404043"/>
                  <a:pt x="4953275" y="3241437"/>
                </a:cubicBezTo>
                <a:cubicBezTo>
                  <a:pt x="4881488" y="3077486"/>
                  <a:pt x="4766614" y="2945020"/>
                  <a:pt x="4647755" y="2851677"/>
                </a:cubicBezTo>
                <a:cubicBezTo>
                  <a:pt x="4528117" y="2757580"/>
                  <a:pt x="4404376" y="2699990"/>
                  <a:pt x="4292285" y="2670039"/>
                </a:cubicBezTo>
                <a:cubicBezTo>
                  <a:pt x="4264126" y="2662658"/>
                  <a:pt x="4236558" y="2657068"/>
                  <a:pt x="4209649" y="2653460"/>
                </a:cubicBezTo>
                <a:cubicBezTo>
                  <a:pt x="4182741" y="2649852"/>
                  <a:pt x="4156469" y="2648107"/>
                  <a:pt x="4130999" y="2648767"/>
                </a:cubicBezTo>
                <a:cubicBezTo>
                  <a:pt x="4118264" y="2649121"/>
                  <a:pt x="4105718" y="2650040"/>
                  <a:pt x="4093478" y="2651786"/>
                </a:cubicBezTo>
                <a:cubicBezTo>
                  <a:pt x="4081168" y="2653507"/>
                  <a:pt x="4069234" y="2655960"/>
                  <a:pt x="4057679" y="2659450"/>
                </a:cubicBezTo>
                <a:cubicBezTo>
                  <a:pt x="4046146" y="2662917"/>
                  <a:pt x="4035062" y="2667374"/>
                  <a:pt x="4024851" y="2673010"/>
                </a:cubicBezTo>
                <a:cubicBezTo>
                  <a:pt x="4014616" y="2678600"/>
                  <a:pt x="4005324" y="2685368"/>
                  <a:pt x="3997258" y="2693009"/>
                </a:cubicBezTo>
                <a:cubicBezTo>
                  <a:pt x="3989170" y="2700627"/>
                  <a:pt x="3982307" y="2709069"/>
                  <a:pt x="3976411" y="2717842"/>
                </a:cubicBezTo>
                <a:cubicBezTo>
                  <a:pt x="3970562" y="2726615"/>
                  <a:pt x="3965657" y="2735742"/>
                  <a:pt x="3961318" y="2745010"/>
                </a:cubicBezTo>
                <a:cubicBezTo>
                  <a:pt x="3952710" y="2763500"/>
                  <a:pt x="3946319" y="2782507"/>
                  <a:pt x="3940611" y="2801657"/>
                </a:cubicBezTo>
                <a:cubicBezTo>
                  <a:pt x="3929339" y="2839980"/>
                  <a:pt x="3920472" y="2879199"/>
                  <a:pt x="3911038" y="2919502"/>
                </a:cubicBezTo>
                <a:cubicBezTo>
                  <a:pt x="3901841" y="2959759"/>
                  <a:pt x="3891960" y="3001265"/>
                  <a:pt x="3881182" y="3043951"/>
                </a:cubicBezTo>
                <a:cubicBezTo>
                  <a:pt x="3870499" y="3086613"/>
                  <a:pt x="3858943" y="3130454"/>
                  <a:pt x="3846397" y="3175404"/>
                </a:cubicBezTo>
                <a:cubicBezTo>
                  <a:pt x="3796518" y="3354943"/>
                  <a:pt x="3729848" y="3553396"/>
                  <a:pt x="3648486" y="3758169"/>
                </a:cubicBezTo>
                <a:cubicBezTo>
                  <a:pt x="3567761" y="3962282"/>
                  <a:pt x="3471447" y="4173139"/>
                  <a:pt x="3377397" y="4360036"/>
                </a:cubicBezTo>
                <a:cubicBezTo>
                  <a:pt x="3354002" y="4406684"/>
                  <a:pt x="3330867" y="4451704"/>
                  <a:pt x="3308534" y="4494531"/>
                </a:cubicBezTo>
                <a:cubicBezTo>
                  <a:pt x="3297356" y="4515945"/>
                  <a:pt x="3286390" y="4536816"/>
                  <a:pt x="3275683" y="4557027"/>
                </a:cubicBezTo>
                <a:cubicBezTo>
                  <a:pt x="3264952" y="4577261"/>
                  <a:pt x="3254505" y="4596882"/>
                  <a:pt x="3244364" y="4615796"/>
                </a:cubicBezTo>
                <a:cubicBezTo>
                  <a:pt x="3224130" y="4653600"/>
                  <a:pt x="3205263" y="4688645"/>
                  <a:pt x="3187694" y="4720506"/>
                </a:cubicBezTo>
                <a:cubicBezTo>
                  <a:pt x="3178921" y="4736424"/>
                  <a:pt x="3170478" y="4751565"/>
                  <a:pt x="3162224" y="4765856"/>
                </a:cubicBezTo>
                <a:cubicBezTo>
                  <a:pt x="3153970" y="4780148"/>
                  <a:pt x="3145928" y="4793637"/>
                  <a:pt x="3137697" y="4806042"/>
                </a:cubicBezTo>
                <a:cubicBezTo>
                  <a:pt x="3133594" y="4812245"/>
                  <a:pt x="3129419" y="4818164"/>
                  <a:pt x="3125199" y="4823635"/>
                </a:cubicBezTo>
                <a:cubicBezTo>
                  <a:pt x="3120981" y="4829130"/>
                  <a:pt x="3116687" y="4834130"/>
                  <a:pt x="3112443" y="4838610"/>
                </a:cubicBezTo>
                <a:cubicBezTo>
                  <a:pt x="3108195" y="4843068"/>
                  <a:pt x="3104000" y="4846983"/>
                  <a:pt x="3099919" y="4850449"/>
                </a:cubicBezTo>
                <a:cubicBezTo>
                  <a:pt x="3095813" y="4853916"/>
                  <a:pt x="3091828" y="4856935"/>
                  <a:pt x="3087891" y="4859741"/>
                </a:cubicBezTo>
                <a:cubicBezTo>
                  <a:pt x="3080013" y="4865307"/>
                  <a:pt x="3072419" y="4869929"/>
                  <a:pt x="3064802" y="4874386"/>
                </a:cubicBezTo>
                <a:cubicBezTo>
                  <a:pt x="3062894" y="4875495"/>
                  <a:pt x="3061005" y="4876580"/>
                  <a:pt x="3059095" y="4877664"/>
                </a:cubicBezTo>
                <a:cubicBezTo>
                  <a:pt x="3058154" y="4878207"/>
                  <a:pt x="3057208" y="4878749"/>
                  <a:pt x="3056241" y="4879292"/>
                </a:cubicBezTo>
                <a:cubicBezTo>
                  <a:pt x="3055298" y="4879834"/>
                  <a:pt x="3054382" y="4880305"/>
                  <a:pt x="3053415" y="4880825"/>
                </a:cubicBezTo>
                <a:cubicBezTo>
                  <a:pt x="3052467" y="4881320"/>
                  <a:pt x="3051524" y="4881839"/>
                  <a:pt x="3050583" y="4882334"/>
                </a:cubicBezTo>
                <a:cubicBezTo>
                  <a:pt x="3049642" y="4882829"/>
                  <a:pt x="3048718" y="4883324"/>
                  <a:pt x="3047777" y="4883819"/>
                </a:cubicBezTo>
                <a:cubicBezTo>
                  <a:pt x="3045888" y="4884810"/>
                  <a:pt x="3044005" y="4885824"/>
                  <a:pt x="3042091" y="4886838"/>
                </a:cubicBezTo>
                <a:cubicBezTo>
                  <a:pt x="3011669" y="4903040"/>
                  <a:pt x="2978680" y="4922425"/>
                  <a:pt x="2941321" y="4945537"/>
                </a:cubicBezTo>
                <a:cubicBezTo>
                  <a:pt x="2865927" y="4991689"/>
                  <a:pt x="2776312" y="5052298"/>
                  <a:pt x="2635072" y="5132151"/>
                </a:cubicBezTo>
                <a:cubicBezTo>
                  <a:pt x="2776336" y="5052180"/>
                  <a:pt x="2866021" y="4991477"/>
                  <a:pt x="2941485" y="4945159"/>
                </a:cubicBezTo>
                <a:cubicBezTo>
                  <a:pt x="2978868" y="4921977"/>
                  <a:pt x="3011907" y="4902521"/>
                  <a:pt x="3042354" y="4886225"/>
                </a:cubicBezTo>
                <a:cubicBezTo>
                  <a:pt x="3044261" y="4885187"/>
                  <a:pt x="3046147" y="4884197"/>
                  <a:pt x="3048034" y="4883183"/>
                </a:cubicBezTo>
                <a:cubicBezTo>
                  <a:pt x="3048977" y="4882687"/>
                  <a:pt x="3049925" y="4882192"/>
                  <a:pt x="3050840" y="4881697"/>
                </a:cubicBezTo>
                <a:cubicBezTo>
                  <a:pt x="3051784" y="4881178"/>
                  <a:pt x="3052731" y="4880683"/>
                  <a:pt x="3053647" y="4880188"/>
                </a:cubicBezTo>
                <a:cubicBezTo>
                  <a:pt x="3054590" y="4879669"/>
                  <a:pt x="3055511" y="4879221"/>
                  <a:pt x="3056453" y="4878655"/>
                </a:cubicBezTo>
                <a:cubicBezTo>
                  <a:pt x="3057402" y="4878112"/>
                  <a:pt x="3058363" y="4877570"/>
                  <a:pt x="3059309" y="4877028"/>
                </a:cubicBezTo>
                <a:cubicBezTo>
                  <a:pt x="3061193" y="4875943"/>
                  <a:pt x="3063103" y="4874835"/>
                  <a:pt x="3064990" y="4873726"/>
                </a:cubicBezTo>
                <a:cubicBezTo>
                  <a:pt x="3072587" y="4869245"/>
                  <a:pt x="3080178" y="4864623"/>
                  <a:pt x="3088011" y="4859057"/>
                </a:cubicBezTo>
                <a:cubicBezTo>
                  <a:pt x="3091922" y="4856251"/>
                  <a:pt x="3095908" y="4853256"/>
                  <a:pt x="3099964" y="4849813"/>
                </a:cubicBezTo>
                <a:cubicBezTo>
                  <a:pt x="3104020" y="4846369"/>
                  <a:pt x="3108175" y="4842502"/>
                  <a:pt x="3112350" y="4838092"/>
                </a:cubicBezTo>
                <a:cubicBezTo>
                  <a:pt x="3120742" y="4829272"/>
                  <a:pt x="3129160" y="4818164"/>
                  <a:pt x="3137273" y="4805877"/>
                </a:cubicBezTo>
                <a:cubicBezTo>
                  <a:pt x="3145409" y="4793567"/>
                  <a:pt x="3153404" y="4780148"/>
                  <a:pt x="3161611" y="4765904"/>
                </a:cubicBezTo>
                <a:cubicBezTo>
                  <a:pt x="3169818" y="4751659"/>
                  <a:pt x="3178213" y="4736566"/>
                  <a:pt x="3186963" y="4720671"/>
                </a:cubicBezTo>
                <a:cubicBezTo>
                  <a:pt x="3204461" y="4688881"/>
                  <a:pt x="3223304" y="4653883"/>
                  <a:pt x="3243468" y="4616103"/>
                </a:cubicBezTo>
                <a:cubicBezTo>
                  <a:pt x="3253562" y="4597213"/>
                  <a:pt x="3264009" y="4577615"/>
                  <a:pt x="3274692" y="4557404"/>
                </a:cubicBezTo>
                <a:cubicBezTo>
                  <a:pt x="3285375" y="4537193"/>
                  <a:pt x="3296318" y="4516346"/>
                  <a:pt x="3307449" y="4494956"/>
                </a:cubicBezTo>
                <a:cubicBezTo>
                  <a:pt x="3329736" y="4452176"/>
                  <a:pt x="3352800" y="4407179"/>
                  <a:pt x="3376147" y="4360602"/>
                </a:cubicBezTo>
                <a:cubicBezTo>
                  <a:pt x="3469961" y="4173917"/>
                  <a:pt x="3565992" y="3963272"/>
                  <a:pt x="3646411" y="3759324"/>
                </a:cubicBezTo>
                <a:cubicBezTo>
                  <a:pt x="3727443" y="3554717"/>
                  <a:pt x="3793712" y="3356405"/>
                  <a:pt x="3843095" y="3176866"/>
                </a:cubicBezTo>
                <a:cubicBezTo>
                  <a:pt x="3855500" y="3131917"/>
                  <a:pt x="3866914" y="3088075"/>
                  <a:pt x="3877456" y="3045390"/>
                </a:cubicBezTo>
                <a:cubicBezTo>
                  <a:pt x="3888068" y="3002680"/>
                  <a:pt x="3897808" y="2961150"/>
                  <a:pt x="3906840" y="2920870"/>
                </a:cubicBezTo>
                <a:cubicBezTo>
                  <a:pt x="3916132" y="2880496"/>
                  <a:pt x="3924787" y="2841183"/>
                  <a:pt x="3935918" y="2802530"/>
                </a:cubicBezTo>
                <a:cubicBezTo>
                  <a:pt x="3941578" y="2783191"/>
                  <a:pt x="3947875" y="2763995"/>
                  <a:pt x="3956554" y="2745010"/>
                </a:cubicBezTo>
                <a:cubicBezTo>
                  <a:pt x="3960917" y="2735553"/>
                  <a:pt x="3965869" y="2726144"/>
                  <a:pt x="3971883" y="2716993"/>
                </a:cubicBezTo>
                <a:cubicBezTo>
                  <a:pt x="3977920" y="2707867"/>
                  <a:pt x="3985019" y="2698999"/>
                  <a:pt x="3993462" y="2690934"/>
                </a:cubicBezTo>
                <a:cubicBezTo>
                  <a:pt x="4001905" y="2682868"/>
                  <a:pt x="4011668" y="2675652"/>
                  <a:pt x="4022398" y="2669756"/>
                </a:cubicBezTo>
                <a:cubicBezTo>
                  <a:pt x="4033081" y="2663813"/>
                  <a:pt x="4044637" y="2659120"/>
                  <a:pt x="4056570" y="2655536"/>
                </a:cubicBezTo>
                <a:cubicBezTo>
                  <a:pt x="4068480" y="2651904"/>
                  <a:pt x="4080861" y="2649357"/>
                  <a:pt x="4093360" y="2647612"/>
                </a:cubicBezTo>
                <a:cubicBezTo>
                  <a:pt x="4105906" y="2645819"/>
                  <a:pt x="4118665" y="2644876"/>
                  <a:pt x="4131612" y="2644522"/>
                </a:cubicBezTo>
                <a:close/>
                <a:moveTo>
                  <a:pt x="4105717" y="2584503"/>
                </a:moveTo>
                <a:cubicBezTo>
                  <a:pt x="4132154" y="2582899"/>
                  <a:pt x="4159416" y="2583677"/>
                  <a:pt x="4187433" y="2586319"/>
                </a:cubicBezTo>
                <a:cubicBezTo>
                  <a:pt x="4215474" y="2588984"/>
                  <a:pt x="4244245" y="2593582"/>
                  <a:pt x="4273748" y="2599997"/>
                </a:cubicBezTo>
                <a:cubicBezTo>
                  <a:pt x="4391122" y="2626056"/>
                  <a:pt x="4522527" y="2679661"/>
                  <a:pt x="4653084" y="2771706"/>
                </a:cubicBezTo>
                <a:cubicBezTo>
                  <a:pt x="4782745" y="2863044"/>
                  <a:pt x="4912052" y="2995629"/>
                  <a:pt x="4999498" y="3165145"/>
                </a:cubicBezTo>
                <a:cubicBezTo>
                  <a:pt x="5086450" y="3333034"/>
                  <a:pt x="5127131" y="3538397"/>
                  <a:pt x="5065201" y="3730364"/>
                </a:cubicBezTo>
                <a:cubicBezTo>
                  <a:pt x="5063480" y="3729138"/>
                  <a:pt x="5061852" y="3727912"/>
                  <a:pt x="5060201" y="3726685"/>
                </a:cubicBezTo>
                <a:cubicBezTo>
                  <a:pt x="5120315" y="3535520"/>
                  <a:pt x="5079280" y="3331619"/>
                  <a:pt x="4992612" y="3164957"/>
                </a:cubicBezTo>
                <a:cubicBezTo>
                  <a:pt x="4905472" y="2996690"/>
                  <a:pt x="4777014" y="2865096"/>
                  <a:pt x="4648202" y="2774418"/>
                </a:cubicBezTo>
                <a:cubicBezTo>
                  <a:pt x="4518495" y="2683033"/>
                  <a:pt x="4387938" y="2629806"/>
                  <a:pt x="4271366" y="2603983"/>
                </a:cubicBezTo>
                <a:cubicBezTo>
                  <a:pt x="4242099" y="2597639"/>
                  <a:pt x="4213540" y="2593087"/>
                  <a:pt x="4185806" y="2590469"/>
                </a:cubicBezTo>
                <a:cubicBezTo>
                  <a:pt x="4158049" y="2587851"/>
                  <a:pt x="4131093" y="2587097"/>
                  <a:pt x="4105081" y="2588677"/>
                </a:cubicBezTo>
                <a:cubicBezTo>
                  <a:pt x="4092063" y="2589502"/>
                  <a:pt x="4079304" y="2590870"/>
                  <a:pt x="4066876" y="2593040"/>
                </a:cubicBezTo>
                <a:cubicBezTo>
                  <a:pt x="4054377" y="2595186"/>
                  <a:pt x="4042302" y="2598016"/>
                  <a:pt x="4030676" y="2601884"/>
                </a:cubicBezTo>
                <a:cubicBezTo>
                  <a:pt x="4019049" y="2605704"/>
                  <a:pt x="4007965" y="2610492"/>
                  <a:pt x="3997777" y="2616340"/>
                </a:cubicBezTo>
                <a:cubicBezTo>
                  <a:pt x="3987589" y="2622165"/>
                  <a:pt x="3978415" y="2629122"/>
                  <a:pt x="3970539" y="2636834"/>
                </a:cubicBezTo>
                <a:cubicBezTo>
                  <a:pt x="3962638" y="2644546"/>
                  <a:pt x="3956011" y="2652988"/>
                  <a:pt x="3950398" y="2661691"/>
                </a:cubicBezTo>
                <a:cubicBezTo>
                  <a:pt x="3944833" y="2670416"/>
                  <a:pt x="3940258" y="2679425"/>
                  <a:pt x="3936248" y="2688528"/>
                </a:cubicBezTo>
                <a:cubicBezTo>
                  <a:pt x="3928301" y="2706734"/>
                  <a:pt x="3922688" y="2725318"/>
                  <a:pt x="3917736" y="2743996"/>
                </a:cubicBezTo>
                <a:cubicBezTo>
                  <a:pt x="3908019" y="2781399"/>
                  <a:pt x="3900850" y="2819486"/>
                  <a:pt x="3893139" y="2858658"/>
                </a:cubicBezTo>
                <a:cubicBezTo>
                  <a:pt x="3885686" y="2897759"/>
                  <a:pt x="3877597" y="2938086"/>
                  <a:pt x="3868659" y="2979592"/>
                </a:cubicBezTo>
                <a:cubicBezTo>
                  <a:pt x="3859792" y="3021075"/>
                  <a:pt x="3850099" y="3063737"/>
                  <a:pt x="3839416" y="3107508"/>
                </a:cubicBezTo>
                <a:cubicBezTo>
                  <a:pt x="3796966" y="3282377"/>
                  <a:pt x="3737796" y="3476255"/>
                  <a:pt x="3662613" y="3678434"/>
                </a:cubicBezTo>
                <a:cubicBezTo>
                  <a:pt x="3587995" y="3880000"/>
                  <a:pt x="3496704" y="4090385"/>
                  <a:pt x="3403621" y="4282306"/>
                </a:cubicBezTo>
                <a:cubicBezTo>
                  <a:pt x="3380439" y="4330203"/>
                  <a:pt x="3357280" y="4376827"/>
                  <a:pt x="3334593" y="4421636"/>
                </a:cubicBezTo>
                <a:cubicBezTo>
                  <a:pt x="3323250" y="4444040"/>
                  <a:pt x="3312001" y="4465972"/>
                  <a:pt x="3300964" y="4487409"/>
                </a:cubicBezTo>
                <a:cubicBezTo>
                  <a:pt x="3289880" y="4508846"/>
                  <a:pt x="3278984" y="4529741"/>
                  <a:pt x="3268325" y="4550046"/>
                </a:cubicBezTo>
                <a:cubicBezTo>
                  <a:pt x="3247029" y="4590633"/>
                  <a:pt x="3226724" y="4628838"/>
                  <a:pt x="3207291" y="4664307"/>
                </a:cubicBezTo>
                <a:cubicBezTo>
                  <a:pt x="3197575" y="4682041"/>
                  <a:pt x="3188094" y="4699092"/>
                  <a:pt x="3178708" y="4715412"/>
                </a:cubicBezTo>
                <a:cubicBezTo>
                  <a:pt x="3169322" y="4731708"/>
                  <a:pt x="3160007" y="4747343"/>
                  <a:pt x="3150456" y="4761871"/>
                </a:cubicBezTo>
                <a:cubicBezTo>
                  <a:pt x="3145692" y="4769134"/>
                  <a:pt x="3140834" y="4776115"/>
                  <a:pt x="3135975" y="4782577"/>
                </a:cubicBezTo>
                <a:cubicBezTo>
                  <a:pt x="3131094" y="4789062"/>
                  <a:pt x="3126189" y="4795005"/>
                  <a:pt x="3121401" y="4800288"/>
                </a:cubicBezTo>
                <a:cubicBezTo>
                  <a:pt x="3116591" y="4805570"/>
                  <a:pt x="3111922" y="4810169"/>
                  <a:pt x="3107394" y="4814225"/>
                </a:cubicBezTo>
                <a:cubicBezTo>
                  <a:pt x="3102865" y="4818282"/>
                  <a:pt x="3098502" y="4821819"/>
                  <a:pt x="3094233" y="4825050"/>
                </a:cubicBezTo>
                <a:cubicBezTo>
                  <a:pt x="3085696" y="4831512"/>
                  <a:pt x="3077583" y="4836771"/>
                  <a:pt x="3069518" y="4841842"/>
                </a:cubicBezTo>
                <a:cubicBezTo>
                  <a:pt x="3067490" y="4843092"/>
                  <a:pt x="3065486" y="4844341"/>
                  <a:pt x="3063482" y="4845567"/>
                </a:cubicBezTo>
                <a:cubicBezTo>
                  <a:pt x="3062466" y="4846181"/>
                  <a:pt x="3061476" y="4846794"/>
                  <a:pt x="3060463" y="4847407"/>
                </a:cubicBezTo>
                <a:cubicBezTo>
                  <a:pt x="3059448" y="4848020"/>
                  <a:pt x="3058481" y="4848539"/>
                  <a:pt x="3057490" y="4849128"/>
                </a:cubicBezTo>
                <a:cubicBezTo>
                  <a:pt x="3056501" y="4849694"/>
                  <a:pt x="3055511" y="4850260"/>
                  <a:pt x="3054519" y="4850826"/>
                </a:cubicBezTo>
                <a:cubicBezTo>
                  <a:pt x="3053529" y="4851369"/>
                  <a:pt x="3052539" y="4851935"/>
                  <a:pt x="3051548" y="4852501"/>
                </a:cubicBezTo>
                <a:cubicBezTo>
                  <a:pt x="3049567" y="4853610"/>
                  <a:pt x="3047587" y="4854742"/>
                  <a:pt x="3045581" y="4855897"/>
                </a:cubicBezTo>
                <a:cubicBezTo>
                  <a:pt x="3013580" y="4874080"/>
                  <a:pt x="2978699" y="4895752"/>
                  <a:pt x="2939056" y="4921246"/>
                </a:cubicBezTo>
                <a:cubicBezTo>
                  <a:pt x="2859085" y="4972115"/>
                  <a:pt x="2763079" y="5037865"/>
                  <a:pt x="2612146" y="5120925"/>
                </a:cubicBezTo>
                <a:cubicBezTo>
                  <a:pt x="2763126" y="5037747"/>
                  <a:pt x="2859203" y="4971856"/>
                  <a:pt x="2939244" y="4920798"/>
                </a:cubicBezTo>
                <a:cubicBezTo>
                  <a:pt x="2978936" y="4895234"/>
                  <a:pt x="3013863" y="4873443"/>
                  <a:pt x="3045912" y="4855166"/>
                </a:cubicBezTo>
                <a:cubicBezTo>
                  <a:pt x="3047916" y="4854010"/>
                  <a:pt x="3049920" y="4852878"/>
                  <a:pt x="3051901" y="4851746"/>
                </a:cubicBezTo>
                <a:cubicBezTo>
                  <a:pt x="3052893" y="4851180"/>
                  <a:pt x="3053883" y="4850638"/>
                  <a:pt x="3054873" y="4850072"/>
                </a:cubicBezTo>
                <a:cubicBezTo>
                  <a:pt x="3055863" y="4849506"/>
                  <a:pt x="3056854" y="4848940"/>
                  <a:pt x="3057845" y="4848374"/>
                </a:cubicBezTo>
                <a:cubicBezTo>
                  <a:pt x="3058836" y="4847808"/>
                  <a:pt x="3059803" y="4847265"/>
                  <a:pt x="3060816" y="4846652"/>
                </a:cubicBezTo>
                <a:cubicBezTo>
                  <a:pt x="3061831" y="4846039"/>
                  <a:pt x="3062820" y="4845426"/>
                  <a:pt x="3063835" y="4844813"/>
                </a:cubicBezTo>
                <a:cubicBezTo>
                  <a:pt x="3065839" y="4843587"/>
                  <a:pt x="3067867" y="4842337"/>
                  <a:pt x="3069873" y="4841063"/>
                </a:cubicBezTo>
                <a:cubicBezTo>
                  <a:pt x="3077937" y="4835993"/>
                  <a:pt x="3086051" y="4830687"/>
                  <a:pt x="3094540" y="4824248"/>
                </a:cubicBezTo>
                <a:cubicBezTo>
                  <a:pt x="3098785" y="4821017"/>
                  <a:pt x="3103125" y="4817504"/>
                  <a:pt x="3107605" y="4813447"/>
                </a:cubicBezTo>
                <a:cubicBezTo>
                  <a:pt x="3112086" y="4809414"/>
                  <a:pt x="3116732" y="4804839"/>
                  <a:pt x="3121472" y="4799627"/>
                </a:cubicBezTo>
                <a:cubicBezTo>
                  <a:pt x="3130953" y="4789204"/>
                  <a:pt x="3140739" y="4776021"/>
                  <a:pt x="3150149" y="4761635"/>
                </a:cubicBezTo>
                <a:cubicBezTo>
                  <a:pt x="3159606" y="4747225"/>
                  <a:pt x="3168850" y="4731684"/>
                  <a:pt x="3178190" y="4715435"/>
                </a:cubicBezTo>
                <a:cubicBezTo>
                  <a:pt x="3187552" y="4699186"/>
                  <a:pt x="3196962" y="4682183"/>
                  <a:pt x="3206654" y="4664472"/>
                </a:cubicBezTo>
                <a:cubicBezTo>
                  <a:pt x="3226016" y="4629073"/>
                  <a:pt x="3246274" y="4590916"/>
                  <a:pt x="3267523" y="4550376"/>
                </a:cubicBezTo>
                <a:cubicBezTo>
                  <a:pt x="3278159" y="4530095"/>
                  <a:pt x="3289031" y="4509224"/>
                  <a:pt x="3300067" y="4487834"/>
                </a:cubicBezTo>
                <a:cubicBezTo>
                  <a:pt x="3311105" y="4466444"/>
                  <a:pt x="3322307" y="4444511"/>
                  <a:pt x="3333627" y="4422131"/>
                </a:cubicBezTo>
                <a:cubicBezTo>
                  <a:pt x="3356266" y="4377370"/>
                  <a:pt x="3379378" y="4330793"/>
                  <a:pt x="3402490" y="4282943"/>
                </a:cubicBezTo>
                <a:cubicBezTo>
                  <a:pt x="3495337" y="4091235"/>
                  <a:pt x="3586344" y="3881084"/>
                  <a:pt x="3660655" y="3679684"/>
                </a:cubicBezTo>
                <a:cubicBezTo>
                  <a:pt x="3735532" y="3477670"/>
                  <a:pt x="3794325" y="3283934"/>
                  <a:pt x="3836256" y="3109088"/>
                </a:cubicBezTo>
                <a:cubicBezTo>
                  <a:pt x="3846797" y="3065317"/>
                  <a:pt x="3856372" y="3022655"/>
                  <a:pt x="3865074" y="2981172"/>
                </a:cubicBezTo>
                <a:cubicBezTo>
                  <a:pt x="3873871" y="2939642"/>
                  <a:pt x="3881818" y="2899292"/>
                  <a:pt x="3889082" y="2860167"/>
                </a:cubicBezTo>
                <a:cubicBezTo>
                  <a:pt x="3896629" y="2820948"/>
                  <a:pt x="3903609" y="2782743"/>
                  <a:pt x="3913161" y="2745034"/>
                </a:cubicBezTo>
                <a:cubicBezTo>
                  <a:pt x="3918042" y="2726167"/>
                  <a:pt x="3923561" y="2707395"/>
                  <a:pt x="3931555" y="2688693"/>
                </a:cubicBezTo>
                <a:cubicBezTo>
                  <a:pt x="3935588" y="2679378"/>
                  <a:pt x="3940187" y="2670086"/>
                  <a:pt x="3945918" y="2661007"/>
                </a:cubicBezTo>
                <a:cubicBezTo>
                  <a:pt x="3951672" y="2651927"/>
                  <a:pt x="3958511" y="2643083"/>
                  <a:pt x="3966765" y="2634924"/>
                </a:cubicBezTo>
                <a:cubicBezTo>
                  <a:pt x="3974996" y="2626764"/>
                  <a:pt x="3984665" y="2619359"/>
                  <a:pt x="3995325" y="2613227"/>
                </a:cubicBezTo>
                <a:cubicBezTo>
                  <a:pt x="4005961" y="2607048"/>
                  <a:pt x="4017540" y="2602025"/>
                  <a:pt x="4029544" y="2598063"/>
                </a:cubicBezTo>
                <a:cubicBezTo>
                  <a:pt x="4041524" y="2594077"/>
                  <a:pt x="4054070" y="2591130"/>
                  <a:pt x="4066758" y="2588936"/>
                </a:cubicBezTo>
                <a:cubicBezTo>
                  <a:pt x="4079493" y="2586719"/>
                  <a:pt x="4092487" y="2585328"/>
                  <a:pt x="4105717" y="2584503"/>
                </a:cubicBezTo>
                <a:close/>
                <a:moveTo>
                  <a:pt x="4159770" y="2526983"/>
                </a:moveTo>
                <a:cubicBezTo>
                  <a:pt x="4188541" y="2528610"/>
                  <a:pt x="4218233" y="2532148"/>
                  <a:pt x="4248749" y="2537501"/>
                </a:cubicBezTo>
                <a:cubicBezTo>
                  <a:pt x="4370227" y="2559292"/>
                  <a:pt x="4507976" y="2608275"/>
                  <a:pt x="4648367" y="2696971"/>
                </a:cubicBezTo>
                <a:cubicBezTo>
                  <a:pt x="4787768" y="2785031"/>
                  <a:pt x="4930635" y="2915776"/>
                  <a:pt x="5034259" y="3088641"/>
                </a:cubicBezTo>
                <a:cubicBezTo>
                  <a:pt x="5137082" y="3259643"/>
                  <a:pt x="5196323" y="3474368"/>
                  <a:pt x="5146185" y="3679684"/>
                </a:cubicBezTo>
                <a:cubicBezTo>
                  <a:pt x="5144346" y="3678316"/>
                  <a:pt x="5142554" y="3676972"/>
                  <a:pt x="5140762" y="3675627"/>
                </a:cubicBezTo>
                <a:cubicBezTo>
                  <a:pt x="5189084" y="3471185"/>
                  <a:pt x="5129607" y="3258063"/>
                  <a:pt x="5027184" y="3088335"/>
                </a:cubicBezTo>
                <a:cubicBezTo>
                  <a:pt x="4923984" y="2916767"/>
                  <a:pt x="4782084" y="2787059"/>
                  <a:pt x="4643580" y="2699636"/>
                </a:cubicBezTo>
                <a:cubicBezTo>
                  <a:pt x="4504085" y="2611576"/>
                  <a:pt x="4367208" y="2562995"/>
                  <a:pt x="4246556" y="2541416"/>
                </a:cubicBezTo>
                <a:cubicBezTo>
                  <a:pt x="4216275" y="2536134"/>
                  <a:pt x="4186844" y="2532643"/>
                  <a:pt x="4158355" y="2531039"/>
                </a:cubicBezTo>
                <a:cubicBezTo>
                  <a:pt x="4129866" y="2529436"/>
                  <a:pt x="4102298" y="2529672"/>
                  <a:pt x="4075814" y="2532195"/>
                </a:cubicBezTo>
                <a:cubicBezTo>
                  <a:pt x="4062584" y="2533469"/>
                  <a:pt x="4049613" y="2535285"/>
                  <a:pt x="4037019" y="2537879"/>
                </a:cubicBezTo>
                <a:cubicBezTo>
                  <a:pt x="4024379" y="2540449"/>
                  <a:pt x="4012186" y="2543680"/>
                  <a:pt x="4000489" y="2547878"/>
                </a:cubicBezTo>
                <a:cubicBezTo>
                  <a:pt x="3988815" y="2552052"/>
                  <a:pt x="3977708" y="2557146"/>
                  <a:pt x="3967590" y="2563254"/>
                </a:cubicBezTo>
                <a:cubicBezTo>
                  <a:pt x="3957449" y="2569315"/>
                  <a:pt x="3948417" y="2576437"/>
                  <a:pt x="3940729" y="2584243"/>
                </a:cubicBezTo>
                <a:cubicBezTo>
                  <a:pt x="3933017" y="2592049"/>
                  <a:pt x="3926626" y="2600492"/>
                  <a:pt x="3921297" y="2609171"/>
                </a:cubicBezTo>
                <a:cubicBezTo>
                  <a:pt x="3915990" y="2617849"/>
                  <a:pt x="3911722" y="2626764"/>
                  <a:pt x="3908043" y="2635725"/>
                </a:cubicBezTo>
                <a:cubicBezTo>
                  <a:pt x="3900756" y="2653672"/>
                  <a:pt x="3895850" y="2671831"/>
                  <a:pt x="3891653" y="2690085"/>
                </a:cubicBezTo>
                <a:cubicBezTo>
                  <a:pt x="3883422" y="2726592"/>
                  <a:pt x="3877856" y="2763594"/>
                  <a:pt x="3871819" y="2801657"/>
                </a:cubicBezTo>
                <a:cubicBezTo>
                  <a:pt x="3866041" y="2839649"/>
                  <a:pt x="3859674" y="2878821"/>
                  <a:pt x="3852504" y="2919149"/>
                </a:cubicBezTo>
                <a:cubicBezTo>
                  <a:pt x="3845406" y="2959452"/>
                  <a:pt x="3837529" y="3000935"/>
                  <a:pt x="3828662" y="3043527"/>
                </a:cubicBezTo>
                <a:cubicBezTo>
                  <a:pt x="3793523" y="3213726"/>
                  <a:pt x="3741875" y="3402864"/>
                  <a:pt x="3673107" y="3601953"/>
                </a:cubicBezTo>
                <a:cubicBezTo>
                  <a:pt x="3604857" y="3800477"/>
                  <a:pt x="3519038" y="4009472"/>
                  <a:pt x="3428053" y="4204764"/>
                </a:cubicBezTo>
                <a:cubicBezTo>
                  <a:pt x="3405390" y="4253511"/>
                  <a:pt x="3382514" y="4301290"/>
                  <a:pt x="3359827" y="4347608"/>
                </a:cubicBezTo>
                <a:cubicBezTo>
                  <a:pt x="3348484" y="4370766"/>
                  <a:pt x="3337164" y="4393548"/>
                  <a:pt x="3325962" y="4415881"/>
                </a:cubicBezTo>
                <a:cubicBezTo>
                  <a:pt x="3314736" y="4438238"/>
                  <a:pt x="3303605" y="4460147"/>
                  <a:pt x="3292639" y="4481560"/>
                </a:cubicBezTo>
                <a:cubicBezTo>
                  <a:pt x="3270730" y="4524340"/>
                  <a:pt x="3249458" y="4565139"/>
                  <a:pt x="3228657" y="4603674"/>
                </a:cubicBezTo>
                <a:cubicBezTo>
                  <a:pt x="3218257" y="4622918"/>
                  <a:pt x="3207998" y="4641596"/>
                  <a:pt x="3197716" y="4659661"/>
                </a:cubicBezTo>
                <a:cubicBezTo>
                  <a:pt x="3187434" y="4677702"/>
                  <a:pt x="3177081" y="4695201"/>
                  <a:pt x="3166445" y="4711662"/>
                </a:cubicBezTo>
                <a:cubicBezTo>
                  <a:pt x="3161115" y="4719892"/>
                  <a:pt x="3155714" y="4727816"/>
                  <a:pt x="3150267" y="4735245"/>
                </a:cubicBezTo>
                <a:cubicBezTo>
                  <a:pt x="3144819" y="4742674"/>
                  <a:pt x="3139348" y="4749513"/>
                  <a:pt x="3134045" y="4755621"/>
                </a:cubicBezTo>
                <a:cubicBezTo>
                  <a:pt x="3128715" y="4761729"/>
                  <a:pt x="3123574" y="4767059"/>
                  <a:pt x="3118620" y="4771752"/>
                </a:cubicBezTo>
                <a:cubicBezTo>
                  <a:pt x="3113668" y="4776469"/>
                  <a:pt x="3108927" y="4780548"/>
                  <a:pt x="3104308" y="4784298"/>
                </a:cubicBezTo>
                <a:cubicBezTo>
                  <a:pt x="3095086" y="4791774"/>
                  <a:pt x="3086386" y="4797882"/>
                  <a:pt x="3077754" y="4803707"/>
                </a:cubicBezTo>
                <a:cubicBezTo>
                  <a:pt x="3075606" y="4805146"/>
                  <a:pt x="3073459" y="4806584"/>
                  <a:pt x="3071312" y="4807999"/>
                </a:cubicBezTo>
                <a:cubicBezTo>
                  <a:pt x="3070251" y="4808707"/>
                  <a:pt x="3069166" y="4809391"/>
                  <a:pt x="3068105" y="4810098"/>
                </a:cubicBezTo>
                <a:cubicBezTo>
                  <a:pt x="3067020" y="4810806"/>
                  <a:pt x="3066008" y="4811396"/>
                  <a:pt x="3064947" y="4812056"/>
                </a:cubicBezTo>
                <a:cubicBezTo>
                  <a:pt x="3063886" y="4812692"/>
                  <a:pt x="3062846" y="4813353"/>
                  <a:pt x="3061785" y="4814013"/>
                </a:cubicBezTo>
                <a:cubicBezTo>
                  <a:pt x="3060747" y="4814650"/>
                  <a:pt x="3059686" y="4815287"/>
                  <a:pt x="3058650" y="4815923"/>
                </a:cubicBezTo>
                <a:cubicBezTo>
                  <a:pt x="3056549" y="4817197"/>
                  <a:pt x="3054427" y="4818494"/>
                  <a:pt x="3052304" y="4819815"/>
                </a:cubicBezTo>
                <a:cubicBezTo>
                  <a:pt x="3018349" y="4840592"/>
                  <a:pt x="2981342" y="4865047"/>
                  <a:pt x="2939199" y="4893206"/>
                </a:cubicBezTo>
                <a:cubicBezTo>
                  <a:pt x="2854276" y="4949357"/>
                  <a:pt x="2751622" y="5020390"/>
                  <a:pt x="2591138" y="5106162"/>
                </a:cubicBezTo>
                <a:cubicBezTo>
                  <a:pt x="2751693" y="5020248"/>
                  <a:pt x="2854420" y="4949074"/>
                  <a:pt x="2939458" y="4892710"/>
                </a:cubicBezTo>
                <a:cubicBezTo>
                  <a:pt x="2981674" y="4864457"/>
                  <a:pt x="3018725" y="4839884"/>
                  <a:pt x="3052731" y="4818966"/>
                </a:cubicBezTo>
                <a:cubicBezTo>
                  <a:pt x="3054852" y="4817645"/>
                  <a:pt x="3056974" y="4816348"/>
                  <a:pt x="3059073" y="4815051"/>
                </a:cubicBezTo>
                <a:cubicBezTo>
                  <a:pt x="3060134" y="4814414"/>
                  <a:pt x="3061174" y="4813777"/>
                  <a:pt x="3062209" y="4813141"/>
                </a:cubicBezTo>
                <a:cubicBezTo>
                  <a:pt x="3063270" y="4812480"/>
                  <a:pt x="3064308" y="4811820"/>
                  <a:pt x="3065369" y="4811183"/>
                </a:cubicBezTo>
                <a:cubicBezTo>
                  <a:pt x="3066430" y="4810523"/>
                  <a:pt x="3067445" y="4809933"/>
                  <a:pt x="3068531" y="4809202"/>
                </a:cubicBezTo>
                <a:cubicBezTo>
                  <a:pt x="3069618" y="4808495"/>
                  <a:pt x="3070679" y="4807787"/>
                  <a:pt x="3071739" y="4807080"/>
                </a:cubicBezTo>
                <a:cubicBezTo>
                  <a:pt x="3073887" y="4805665"/>
                  <a:pt x="3076029" y="4804226"/>
                  <a:pt x="3078175" y="4802788"/>
                </a:cubicBezTo>
                <a:cubicBezTo>
                  <a:pt x="3086806" y="4796939"/>
                  <a:pt x="3095488" y="4790807"/>
                  <a:pt x="3104684" y="4783355"/>
                </a:cubicBezTo>
                <a:cubicBezTo>
                  <a:pt x="3109281" y="4779605"/>
                  <a:pt x="3114001" y="4775525"/>
                  <a:pt x="3118903" y="4770856"/>
                </a:cubicBezTo>
                <a:cubicBezTo>
                  <a:pt x="3123808" y="4766186"/>
                  <a:pt x="3128903" y="4760904"/>
                  <a:pt x="3134164" y="4754866"/>
                </a:cubicBezTo>
                <a:cubicBezTo>
                  <a:pt x="3144677" y="4742839"/>
                  <a:pt x="3155644" y="4727722"/>
                  <a:pt x="3166138" y="4711426"/>
                </a:cubicBezTo>
                <a:cubicBezTo>
                  <a:pt x="3176680" y="4695107"/>
                  <a:pt x="3186939" y="4677726"/>
                  <a:pt x="3197174" y="4659755"/>
                </a:cubicBezTo>
                <a:cubicBezTo>
                  <a:pt x="3207409" y="4641761"/>
                  <a:pt x="3217620" y="4623154"/>
                  <a:pt x="3227997" y="4603934"/>
                </a:cubicBezTo>
                <a:cubicBezTo>
                  <a:pt x="3248727" y="4565517"/>
                  <a:pt x="3269928" y="4524765"/>
                  <a:pt x="3291789" y="4482032"/>
                </a:cubicBezTo>
                <a:cubicBezTo>
                  <a:pt x="3302732" y="4460642"/>
                  <a:pt x="3313816" y="4438781"/>
                  <a:pt x="3325018" y="4416447"/>
                </a:cubicBezTo>
                <a:cubicBezTo>
                  <a:pt x="3336197" y="4394137"/>
                  <a:pt x="3347470" y="4371380"/>
                  <a:pt x="3358789" y="4348245"/>
                </a:cubicBezTo>
                <a:cubicBezTo>
                  <a:pt x="3381429" y="4301998"/>
                  <a:pt x="3404258" y="4254265"/>
                  <a:pt x="3426851" y="4205566"/>
                </a:cubicBezTo>
                <a:cubicBezTo>
                  <a:pt x="3517599" y="4010485"/>
                  <a:pt x="3603135" y="3801751"/>
                  <a:pt x="3671079" y="3603392"/>
                </a:cubicBezTo>
                <a:cubicBezTo>
                  <a:pt x="3739541" y="3404491"/>
                  <a:pt x="3790834" y="3215472"/>
                  <a:pt x="3825454" y="3045319"/>
                </a:cubicBezTo>
                <a:cubicBezTo>
                  <a:pt x="3834180" y="3002727"/>
                  <a:pt x="3841939" y="2961245"/>
                  <a:pt x="3848873" y="2920941"/>
                </a:cubicBezTo>
                <a:cubicBezTo>
                  <a:pt x="3855900" y="2880590"/>
                  <a:pt x="3862103" y="2841395"/>
                  <a:pt x="3867716" y="2803378"/>
                </a:cubicBezTo>
                <a:cubicBezTo>
                  <a:pt x="3873588" y="2765268"/>
                  <a:pt x="3878965" y="2728172"/>
                  <a:pt x="3887006" y="2691335"/>
                </a:cubicBezTo>
                <a:cubicBezTo>
                  <a:pt x="3891133" y="2672916"/>
                  <a:pt x="3895945" y="2654545"/>
                  <a:pt x="3903255" y="2636150"/>
                </a:cubicBezTo>
                <a:cubicBezTo>
                  <a:pt x="3906934" y="2626976"/>
                  <a:pt x="3911226" y="2617802"/>
                  <a:pt x="3916674" y="2608746"/>
                </a:cubicBezTo>
                <a:cubicBezTo>
                  <a:pt x="3922122" y="2599714"/>
                  <a:pt x="3928725" y="2590846"/>
                  <a:pt x="3936767" y="2582592"/>
                </a:cubicBezTo>
                <a:cubicBezTo>
                  <a:pt x="3944809" y="2574338"/>
                  <a:pt x="3954313" y="2566768"/>
                  <a:pt x="3964925" y="2560354"/>
                </a:cubicBezTo>
                <a:cubicBezTo>
                  <a:pt x="3975491" y="2553915"/>
                  <a:pt x="3987070" y="2548586"/>
                  <a:pt x="3999145" y="2544246"/>
                </a:cubicBezTo>
                <a:cubicBezTo>
                  <a:pt x="4011196" y="2539883"/>
                  <a:pt x="4023836" y="2536534"/>
                  <a:pt x="4036689" y="2533917"/>
                </a:cubicBezTo>
                <a:cubicBezTo>
                  <a:pt x="4049589" y="2531275"/>
                  <a:pt x="4062772" y="2529436"/>
                  <a:pt x="4076215" y="2528115"/>
                </a:cubicBezTo>
                <a:cubicBezTo>
                  <a:pt x="4103123" y="2525568"/>
                  <a:pt x="4130999" y="2525356"/>
                  <a:pt x="4159770" y="2526983"/>
                </a:cubicBezTo>
                <a:close/>
                <a:moveTo>
                  <a:pt x="4128947" y="2471091"/>
                </a:moveTo>
                <a:cubicBezTo>
                  <a:pt x="4158378" y="2471705"/>
                  <a:pt x="4188848" y="2474181"/>
                  <a:pt x="4220284" y="2478426"/>
                </a:cubicBezTo>
                <a:cubicBezTo>
                  <a:pt x="4345464" y="2495901"/>
                  <a:pt x="4489109" y="2540002"/>
                  <a:pt x="4638957" y="2624831"/>
                </a:cubicBezTo>
                <a:cubicBezTo>
                  <a:pt x="4787767" y="2709117"/>
                  <a:pt x="4943935" y="2837032"/>
                  <a:pt x="5064257" y="3012209"/>
                </a:cubicBezTo>
                <a:cubicBezTo>
                  <a:pt x="5183470" y="3185309"/>
                  <a:pt x="5262757" y="3408336"/>
                  <a:pt x="5226769" y="3627117"/>
                </a:cubicBezTo>
                <a:cubicBezTo>
                  <a:pt x="5224741" y="3625608"/>
                  <a:pt x="5222760" y="3624122"/>
                  <a:pt x="5220779" y="3622637"/>
                </a:cubicBezTo>
                <a:cubicBezTo>
                  <a:pt x="5254975" y="3404869"/>
                  <a:pt x="5175617" y="3183541"/>
                  <a:pt x="5056923" y="3011760"/>
                </a:cubicBezTo>
                <a:cubicBezTo>
                  <a:pt x="4937144" y="2837929"/>
                  <a:pt x="4782013" y="2711027"/>
                  <a:pt x="4634170" y="2627377"/>
                </a:cubicBezTo>
                <a:cubicBezTo>
                  <a:pt x="4485265" y="2543209"/>
                  <a:pt x="4342540" y="2499462"/>
                  <a:pt x="4218209" y="2482176"/>
                </a:cubicBezTo>
                <a:cubicBezTo>
                  <a:pt x="4187008" y="2477978"/>
                  <a:pt x="4156798" y="2475549"/>
                  <a:pt x="4127649" y="2474959"/>
                </a:cubicBezTo>
                <a:cubicBezTo>
                  <a:pt x="4098501" y="2474393"/>
                  <a:pt x="4070413" y="2475596"/>
                  <a:pt x="4043552" y="2479016"/>
                </a:cubicBezTo>
                <a:cubicBezTo>
                  <a:pt x="4030109" y="2480761"/>
                  <a:pt x="4016997" y="2483025"/>
                  <a:pt x="4004285" y="2486020"/>
                </a:cubicBezTo>
                <a:cubicBezTo>
                  <a:pt x="3991527" y="2488991"/>
                  <a:pt x="3979264" y="2492623"/>
                  <a:pt x="3967519" y="2497175"/>
                </a:cubicBezTo>
                <a:cubicBezTo>
                  <a:pt x="3955798" y="2501703"/>
                  <a:pt x="3944738" y="2507103"/>
                  <a:pt x="3934692" y="2513447"/>
                </a:cubicBezTo>
                <a:cubicBezTo>
                  <a:pt x="3924645" y="2519767"/>
                  <a:pt x="3915731" y="2527055"/>
                  <a:pt x="3908231" y="2534955"/>
                </a:cubicBezTo>
                <a:cubicBezTo>
                  <a:pt x="3900708" y="2542855"/>
                  <a:pt x="3894553" y="2551322"/>
                  <a:pt x="3889482" y="2559953"/>
                </a:cubicBezTo>
                <a:cubicBezTo>
                  <a:pt x="3884459" y="2568585"/>
                  <a:pt x="3880474" y="2577405"/>
                  <a:pt x="3877101" y="2586272"/>
                </a:cubicBezTo>
                <a:cubicBezTo>
                  <a:pt x="3870427" y="2603959"/>
                  <a:pt x="3866206" y="2621765"/>
                  <a:pt x="3862716" y="2639594"/>
                </a:cubicBezTo>
                <a:cubicBezTo>
                  <a:pt x="3855900" y="2675252"/>
                  <a:pt x="3851844" y="2711240"/>
                  <a:pt x="3847386" y="2748218"/>
                </a:cubicBezTo>
                <a:cubicBezTo>
                  <a:pt x="3843189" y="2785126"/>
                  <a:pt x="3838472" y="2823165"/>
                  <a:pt x="3833024" y="2862361"/>
                </a:cubicBezTo>
                <a:cubicBezTo>
                  <a:pt x="3827647" y="2901532"/>
                  <a:pt x="3821492" y="2941836"/>
                  <a:pt x="3814441" y="2983272"/>
                </a:cubicBezTo>
                <a:cubicBezTo>
                  <a:pt x="3786447" y="3148802"/>
                  <a:pt x="3742300" y="3333153"/>
                  <a:pt x="3680063" y="3528752"/>
                </a:cubicBezTo>
                <a:cubicBezTo>
                  <a:pt x="3618346" y="3723832"/>
                  <a:pt x="3538352" y="3930681"/>
                  <a:pt x="3450363" y="4128001"/>
                </a:cubicBezTo>
                <a:cubicBezTo>
                  <a:pt x="3428430" y="4177243"/>
                  <a:pt x="3406121" y="4225801"/>
                  <a:pt x="3383717" y="4273180"/>
                </a:cubicBezTo>
                <a:cubicBezTo>
                  <a:pt x="3372515" y="4296857"/>
                  <a:pt x="3361313" y="4320252"/>
                  <a:pt x="3350134" y="4343292"/>
                </a:cubicBezTo>
                <a:cubicBezTo>
                  <a:pt x="3338932" y="4366357"/>
                  <a:pt x="3327754" y="4389044"/>
                  <a:pt x="3316670" y="4411307"/>
                </a:cubicBezTo>
                <a:cubicBezTo>
                  <a:pt x="3294525" y="4455832"/>
                  <a:pt x="3272734" y="4498682"/>
                  <a:pt x="3251014" y="4539717"/>
                </a:cubicBezTo>
                <a:cubicBezTo>
                  <a:pt x="3240166" y="4560211"/>
                  <a:pt x="3229341" y="4580257"/>
                  <a:pt x="3218375" y="4599807"/>
                </a:cubicBezTo>
                <a:cubicBezTo>
                  <a:pt x="3207409" y="4619334"/>
                  <a:pt x="3196301" y="4638437"/>
                  <a:pt x="3184745" y="4656619"/>
                </a:cubicBezTo>
                <a:cubicBezTo>
                  <a:pt x="3178967" y="4665699"/>
                  <a:pt x="3173071" y="4674519"/>
                  <a:pt x="3167152" y="4682820"/>
                </a:cubicBezTo>
                <a:cubicBezTo>
                  <a:pt x="3161232" y="4691122"/>
                  <a:pt x="3155266" y="4698810"/>
                  <a:pt x="3149464" y="4705720"/>
                </a:cubicBezTo>
                <a:cubicBezTo>
                  <a:pt x="3143663" y="4712606"/>
                  <a:pt x="3138074" y="4718667"/>
                  <a:pt x="3132702" y="4724044"/>
                </a:cubicBezTo>
                <a:cubicBezTo>
                  <a:pt x="3127321" y="4729421"/>
                  <a:pt x="3122205" y="4734090"/>
                  <a:pt x="3117226" y="4738406"/>
                </a:cubicBezTo>
                <a:cubicBezTo>
                  <a:pt x="3107276" y="4746990"/>
                  <a:pt x="3097960" y="4754042"/>
                  <a:pt x="3088738" y="4760763"/>
                </a:cubicBezTo>
                <a:cubicBezTo>
                  <a:pt x="3086428" y="4762437"/>
                  <a:pt x="3084139" y="4764088"/>
                  <a:pt x="3081852" y="4765692"/>
                </a:cubicBezTo>
                <a:cubicBezTo>
                  <a:pt x="3080722" y="4766494"/>
                  <a:pt x="3079567" y="4767295"/>
                  <a:pt x="3078432" y="4768121"/>
                </a:cubicBezTo>
                <a:cubicBezTo>
                  <a:pt x="3077276" y="4768923"/>
                  <a:pt x="3076192" y="4769630"/>
                  <a:pt x="3075060" y="4770385"/>
                </a:cubicBezTo>
                <a:cubicBezTo>
                  <a:pt x="3073955" y="4771139"/>
                  <a:pt x="3072819" y="4771894"/>
                  <a:pt x="3071688" y="4772649"/>
                </a:cubicBezTo>
                <a:cubicBezTo>
                  <a:pt x="3070579" y="4773380"/>
                  <a:pt x="3069472" y="4774111"/>
                  <a:pt x="3068338" y="4774842"/>
                </a:cubicBezTo>
                <a:cubicBezTo>
                  <a:pt x="3066102" y="4776304"/>
                  <a:pt x="3063860" y="4777813"/>
                  <a:pt x="3061594" y="4779299"/>
                </a:cubicBezTo>
                <a:cubicBezTo>
                  <a:pt x="3025492" y="4803165"/>
                  <a:pt x="2986151" y="4830711"/>
                  <a:pt x="2941366" y="4861770"/>
                </a:cubicBezTo>
                <a:cubicBezTo>
                  <a:pt x="2851231" y="4923629"/>
                  <a:pt x="2741809" y="4999897"/>
                  <a:pt x="2571892" y="5087862"/>
                </a:cubicBezTo>
                <a:cubicBezTo>
                  <a:pt x="2741880" y="4999732"/>
                  <a:pt x="2851375" y="4923298"/>
                  <a:pt x="2941629" y="4861204"/>
                </a:cubicBezTo>
                <a:cubicBezTo>
                  <a:pt x="2986482" y="4830027"/>
                  <a:pt x="3025868" y="4802364"/>
                  <a:pt x="3062042" y="4778356"/>
                </a:cubicBezTo>
                <a:cubicBezTo>
                  <a:pt x="3064305" y="4776847"/>
                  <a:pt x="3066572" y="4775337"/>
                  <a:pt x="3068788" y="4773875"/>
                </a:cubicBezTo>
                <a:cubicBezTo>
                  <a:pt x="3069895" y="4773144"/>
                  <a:pt x="3071029" y="4772389"/>
                  <a:pt x="3072135" y="4771658"/>
                </a:cubicBezTo>
                <a:cubicBezTo>
                  <a:pt x="3073271" y="4770904"/>
                  <a:pt x="3074376" y="4770149"/>
                  <a:pt x="3075486" y="4769394"/>
                </a:cubicBezTo>
                <a:cubicBezTo>
                  <a:pt x="3076616" y="4768640"/>
                  <a:pt x="3077702" y="4767932"/>
                  <a:pt x="3078833" y="4767130"/>
                </a:cubicBezTo>
                <a:cubicBezTo>
                  <a:pt x="3079988" y="4766305"/>
                  <a:pt x="3081124" y="4765503"/>
                  <a:pt x="3082279" y="4764701"/>
                </a:cubicBezTo>
                <a:cubicBezTo>
                  <a:pt x="3084563" y="4763074"/>
                  <a:pt x="3086851" y="4761423"/>
                  <a:pt x="3089166" y="4759749"/>
                </a:cubicBezTo>
                <a:cubicBezTo>
                  <a:pt x="3098383" y="4753004"/>
                  <a:pt x="3107699" y="4745929"/>
                  <a:pt x="3117604" y="4737368"/>
                </a:cubicBezTo>
                <a:cubicBezTo>
                  <a:pt x="3122556" y="4733052"/>
                  <a:pt x="3127654" y="4728407"/>
                  <a:pt x="3132984" y="4723053"/>
                </a:cubicBezTo>
                <a:cubicBezTo>
                  <a:pt x="3138286" y="4717723"/>
                  <a:pt x="3143852" y="4711710"/>
                  <a:pt x="3149559" y="4704894"/>
                </a:cubicBezTo>
                <a:cubicBezTo>
                  <a:pt x="3160997" y="4691310"/>
                  <a:pt x="3172977" y="4674377"/>
                  <a:pt x="3184368" y="4656407"/>
                </a:cubicBezTo>
                <a:cubicBezTo>
                  <a:pt x="3195806" y="4638389"/>
                  <a:pt x="3206843" y="4619405"/>
                  <a:pt x="3217738" y="4599972"/>
                </a:cubicBezTo>
                <a:cubicBezTo>
                  <a:pt x="3228657" y="4580516"/>
                  <a:pt x="3239411" y="4560541"/>
                  <a:pt x="3250236" y="4540095"/>
                </a:cubicBezTo>
                <a:cubicBezTo>
                  <a:pt x="3271861" y="4499178"/>
                  <a:pt x="3293605" y="4456374"/>
                  <a:pt x="3315703" y="4411920"/>
                </a:cubicBezTo>
                <a:cubicBezTo>
                  <a:pt x="3326763" y="4389681"/>
                  <a:pt x="3337894" y="4367017"/>
                  <a:pt x="3349073" y="4344000"/>
                </a:cubicBezTo>
                <a:cubicBezTo>
                  <a:pt x="3360228" y="4321006"/>
                  <a:pt x="3371406" y="4297635"/>
                  <a:pt x="3382585" y="4273958"/>
                </a:cubicBezTo>
                <a:cubicBezTo>
                  <a:pt x="3404918" y="4226626"/>
                  <a:pt x="3427204" y="4178139"/>
                  <a:pt x="3449066" y="4128945"/>
                </a:cubicBezTo>
                <a:cubicBezTo>
                  <a:pt x="3536819" y="3931883"/>
                  <a:pt x="3616554" y="3725271"/>
                  <a:pt x="3677964" y="3530379"/>
                </a:cubicBezTo>
                <a:cubicBezTo>
                  <a:pt x="3739870" y="3334968"/>
                  <a:pt x="3783665" y="3150760"/>
                  <a:pt x="3811186" y="2985253"/>
                </a:cubicBezTo>
                <a:cubicBezTo>
                  <a:pt x="3818120" y="2943841"/>
                  <a:pt x="3824133" y="2903537"/>
                  <a:pt x="3829369" y="2864365"/>
                </a:cubicBezTo>
                <a:cubicBezTo>
                  <a:pt x="3834675" y="2825146"/>
                  <a:pt x="3839250" y="2787083"/>
                  <a:pt x="3843259" y="2750152"/>
                </a:cubicBezTo>
                <a:cubicBezTo>
                  <a:pt x="3847551" y="2713126"/>
                  <a:pt x="3851396" y="2677044"/>
                  <a:pt x="3858023" y="2641079"/>
                </a:cubicBezTo>
                <a:cubicBezTo>
                  <a:pt x="3861442" y="2623085"/>
                  <a:pt x="3865545" y="2605091"/>
                  <a:pt x="3872243" y="2586956"/>
                </a:cubicBezTo>
                <a:cubicBezTo>
                  <a:pt x="3875616" y="2577900"/>
                  <a:pt x="3879601" y="2568820"/>
                  <a:pt x="3884766" y="2559811"/>
                </a:cubicBezTo>
                <a:cubicBezTo>
                  <a:pt x="3889954" y="2550826"/>
                  <a:pt x="3896274" y="2541936"/>
                  <a:pt x="3904128" y="2533587"/>
                </a:cubicBezTo>
                <a:cubicBezTo>
                  <a:pt x="3911957" y="2525239"/>
                  <a:pt x="3921320" y="2517480"/>
                  <a:pt x="3931861" y="2510829"/>
                </a:cubicBezTo>
                <a:cubicBezTo>
                  <a:pt x="3942356" y="2504132"/>
                  <a:pt x="3953912" y="2498472"/>
                  <a:pt x="3966010" y="2493802"/>
                </a:cubicBezTo>
                <a:cubicBezTo>
                  <a:pt x="3978085" y="2489085"/>
                  <a:pt x="3990820" y="2485312"/>
                  <a:pt x="4003790" y="2482293"/>
                </a:cubicBezTo>
                <a:cubicBezTo>
                  <a:pt x="4016808" y="2479228"/>
                  <a:pt x="4030156" y="2476940"/>
                  <a:pt x="4043811" y="2475172"/>
                </a:cubicBezTo>
                <a:cubicBezTo>
                  <a:pt x="4071120" y="2471705"/>
                  <a:pt x="4099514" y="2470502"/>
                  <a:pt x="4128947" y="2471091"/>
                </a:cubicBezTo>
                <a:close/>
                <a:moveTo>
                  <a:pt x="4095175" y="2418525"/>
                </a:moveTo>
                <a:cubicBezTo>
                  <a:pt x="4125173" y="2418100"/>
                  <a:pt x="4156327" y="2419539"/>
                  <a:pt x="4188612" y="2422699"/>
                </a:cubicBezTo>
                <a:cubicBezTo>
                  <a:pt x="4317117" y="2435858"/>
                  <a:pt x="4466140" y="2474936"/>
                  <a:pt x="4625020" y="2555402"/>
                </a:cubicBezTo>
                <a:cubicBezTo>
                  <a:pt x="4782815" y="2635420"/>
                  <a:pt x="4951954" y="2759679"/>
                  <a:pt x="5089350" y="2936106"/>
                </a:cubicBezTo>
                <a:cubicBezTo>
                  <a:pt x="5225283" y="3110268"/>
                  <a:pt x="5325913" y="3340463"/>
                  <a:pt x="5306457" y="3572617"/>
                </a:cubicBezTo>
                <a:cubicBezTo>
                  <a:pt x="5304311" y="3570895"/>
                  <a:pt x="5302118" y="3569292"/>
                  <a:pt x="5299924" y="3567688"/>
                </a:cubicBezTo>
                <a:cubicBezTo>
                  <a:pt x="5317659" y="3336643"/>
                  <a:pt x="5217100" y="3108287"/>
                  <a:pt x="5081803" y="2935492"/>
                </a:cubicBezTo>
                <a:cubicBezTo>
                  <a:pt x="4945068" y="2760481"/>
                  <a:pt x="4777061" y="2637212"/>
                  <a:pt x="4620279" y="2557807"/>
                </a:cubicBezTo>
                <a:cubicBezTo>
                  <a:pt x="4462413" y="2477978"/>
                  <a:pt x="4314334" y="2439231"/>
                  <a:pt x="4186678" y="2426283"/>
                </a:cubicBezTo>
                <a:cubicBezTo>
                  <a:pt x="4154652" y="2423171"/>
                  <a:pt x="4123758" y="2421803"/>
                  <a:pt x="4094043" y="2422227"/>
                </a:cubicBezTo>
                <a:cubicBezTo>
                  <a:pt x="4064329" y="2422675"/>
                  <a:pt x="4035793" y="2424845"/>
                  <a:pt x="4008625" y="2429184"/>
                </a:cubicBezTo>
                <a:cubicBezTo>
                  <a:pt x="3995041" y="2431378"/>
                  <a:pt x="3981787" y="2434066"/>
                  <a:pt x="3968982" y="2437486"/>
                </a:cubicBezTo>
                <a:cubicBezTo>
                  <a:pt x="3956129" y="2440882"/>
                  <a:pt x="3943818" y="2444891"/>
                  <a:pt x="3932074" y="2449796"/>
                </a:cubicBezTo>
                <a:cubicBezTo>
                  <a:pt x="3920353" y="2454654"/>
                  <a:pt x="3909316" y="2460385"/>
                  <a:pt x="3899364" y="2466965"/>
                </a:cubicBezTo>
                <a:cubicBezTo>
                  <a:pt x="3889388" y="2473521"/>
                  <a:pt x="3880639" y="2480997"/>
                  <a:pt x="3873305" y="2488991"/>
                </a:cubicBezTo>
                <a:cubicBezTo>
                  <a:pt x="3865970" y="2496986"/>
                  <a:pt x="3860051" y="2505476"/>
                  <a:pt x="3855240" y="2514084"/>
                </a:cubicBezTo>
                <a:cubicBezTo>
                  <a:pt x="3850452" y="2522692"/>
                  <a:pt x="3846773" y="2531441"/>
                  <a:pt x="3843684" y="2540167"/>
                </a:cubicBezTo>
                <a:cubicBezTo>
                  <a:pt x="3837599" y="2557642"/>
                  <a:pt x="3834015" y="2575094"/>
                  <a:pt x="3831161" y="2592522"/>
                </a:cubicBezTo>
                <a:cubicBezTo>
                  <a:pt x="3825666" y="2627378"/>
                  <a:pt x="3823049" y="2662399"/>
                  <a:pt x="3820101" y="2698340"/>
                </a:cubicBezTo>
                <a:cubicBezTo>
                  <a:pt x="3817412" y="2734210"/>
                  <a:pt x="3814276" y="2771165"/>
                  <a:pt x="3810432" y="2809275"/>
                </a:cubicBezTo>
                <a:cubicBezTo>
                  <a:pt x="3806682" y="2847338"/>
                  <a:pt x="3802225" y="2886510"/>
                  <a:pt x="3796895" y="2926790"/>
                </a:cubicBezTo>
                <a:cubicBezTo>
                  <a:pt x="3775812" y="3087722"/>
                  <a:pt x="3739092" y="3267238"/>
                  <a:pt x="3683530" y="3459064"/>
                </a:cubicBezTo>
                <a:cubicBezTo>
                  <a:pt x="3628440" y="3650394"/>
                  <a:pt x="3554506" y="3854530"/>
                  <a:pt x="3470220" y="4052677"/>
                </a:cubicBezTo>
                <a:cubicBezTo>
                  <a:pt x="3449207" y="4102154"/>
                  <a:pt x="3427629" y="4151137"/>
                  <a:pt x="3405791" y="4199246"/>
                </a:cubicBezTo>
                <a:cubicBezTo>
                  <a:pt x="3394872" y="4223301"/>
                  <a:pt x="3383882" y="4247120"/>
                  <a:pt x="3372868" y="4270633"/>
                </a:cubicBezTo>
                <a:cubicBezTo>
                  <a:pt x="3361832" y="4294192"/>
                  <a:pt x="3350771" y="4317446"/>
                  <a:pt x="3339711" y="4340368"/>
                </a:cubicBezTo>
                <a:cubicBezTo>
                  <a:pt x="3317660" y="4386191"/>
                  <a:pt x="3295681" y="4430645"/>
                  <a:pt x="3273442" y="4473708"/>
                </a:cubicBezTo>
                <a:cubicBezTo>
                  <a:pt x="3262310" y="4495216"/>
                  <a:pt x="3251155" y="4516370"/>
                  <a:pt x="3239718" y="4537171"/>
                </a:cubicBezTo>
                <a:cubicBezTo>
                  <a:pt x="3228303" y="4557947"/>
                  <a:pt x="3216606" y="4578418"/>
                  <a:pt x="3204343" y="4598133"/>
                </a:cubicBezTo>
                <a:cubicBezTo>
                  <a:pt x="3198211" y="4607967"/>
                  <a:pt x="3191938" y="4617589"/>
                  <a:pt x="3185594" y="4626669"/>
                </a:cubicBezTo>
                <a:cubicBezTo>
                  <a:pt x="3179250" y="4635772"/>
                  <a:pt x="3172859" y="4644285"/>
                  <a:pt x="3166657" y="4651950"/>
                </a:cubicBezTo>
                <a:cubicBezTo>
                  <a:pt x="3160431" y="4659614"/>
                  <a:pt x="3154417" y="4666406"/>
                  <a:pt x="3148663" y="4672444"/>
                </a:cubicBezTo>
                <a:cubicBezTo>
                  <a:pt x="3142908" y="4678505"/>
                  <a:pt x="3137414" y="4683787"/>
                  <a:pt x="3132086" y="4688693"/>
                </a:cubicBezTo>
                <a:cubicBezTo>
                  <a:pt x="3121426" y="4698456"/>
                  <a:pt x="3111477" y="4706521"/>
                  <a:pt x="3101641" y="4714210"/>
                </a:cubicBezTo>
                <a:cubicBezTo>
                  <a:pt x="3099192" y="4716120"/>
                  <a:pt x="3096737" y="4718006"/>
                  <a:pt x="3094307" y="4719870"/>
                </a:cubicBezTo>
                <a:cubicBezTo>
                  <a:pt x="3093084" y="4720789"/>
                  <a:pt x="3091878" y="4721709"/>
                  <a:pt x="3090654" y="4722653"/>
                </a:cubicBezTo>
                <a:cubicBezTo>
                  <a:pt x="3089425" y="4723572"/>
                  <a:pt x="3088269" y="4724374"/>
                  <a:pt x="3087070" y="4725247"/>
                </a:cubicBezTo>
                <a:cubicBezTo>
                  <a:pt x="3085864" y="4726096"/>
                  <a:pt x="3084685" y="4726968"/>
                  <a:pt x="3083485" y="4727841"/>
                </a:cubicBezTo>
                <a:cubicBezTo>
                  <a:pt x="3082305" y="4728666"/>
                  <a:pt x="3081124" y="4729515"/>
                  <a:pt x="3079921" y="4730364"/>
                </a:cubicBezTo>
                <a:cubicBezTo>
                  <a:pt x="3077540" y="4732062"/>
                  <a:pt x="3075157" y="4733760"/>
                  <a:pt x="3072751" y="4735482"/>
                </a:cubicBezTo>
                <a:cubicBezTo>
                  <a:pt x="3034338" y="4762768"/>
                  <a:pt x="2992616" y="4793614"/>
                  <a:pt x="2945119" y="4827692"/>
                </a:cubicBezTo>
                <a:cubicBezTo>
                  <a:pt x="2897554" y="4861676"/>
                  <a:pt x="2844371" y="4898866"/>
                  <a:pt x="2781054" y="4938887"/>
                </a:cubicBezTo>
                <a:cubicBezTo>
                  <a:pt x="2717710" y="4978860"/>
                  <a:pt x="2643870" y="5021805"/>
                  <a:pt x="2554230" y="5066472"/>
                </a:cubicBezTo>
                <a:cubicBezTo>
                  <a:pt x="2643893" y="5021712"/>
                  <a:pt x="2717803" y="4978696"/>
                  <a:pt x="2781195" y="4938627"/>
                </a:cubicBezTo>
                <a:cubicBezTo>
                  <a:pt x="2844560" y="4898536"/>
                  <a:pt x="2897787" y="4861204"/>
                  <a:pt x="2945427" y="4827102"/>
                </a:cubicBezTo>
                <a:cubicBezTo>
                  <a:pt x="2992969" y="4792907"/>
                  <a:pt x="3034759" y="4761918"/>
                  <a:pt x="3073247" y="4734491"/>
                </a:cubicBezTo>
                <a:cubicBezTo>
                  <a:pt x="3075652" y="4732770"/>
                  <a:pt x="3078057" y="4731048"/>
                  <a:pt x="3080440" y="4729350"/>
                </a:cubicBezTo>
                <a:cubicBezTo>
                  <a:pt x="3081620" y="4728501"/>
                  <a:pt x="3082821" y="4727652"/>
                  <a:pt x="3084001" y="4726827"/>
                </a:cubicBezTo>
                <a:cubicBezTo>
                  <a:pt x="3085205" y="4725954"/>
                  <a:pt x="3086386" y="4725105"/>
                  <a:pt x="3087585" y="4724232"/>
                </a:cubicBezTo>
                <a:cubicBezTo>
                  <a:pt x="3088789" y="4723360"/>
                  <a:pt x="3089944" y="4722558"/>
                  <a:pt x="3091170" y="4721638"/>
                </a:cubicBezTo>
                <a:cubicBezTo>
                  <a:pt x="3092399" y="4720719"/>
                  <a:pt x="3093623" y="4719775"/>
                  <a:pt x="3094829" y="4718855"/>
                </a:cubicBezTo>
                <a:cubicBezTo>
                  <a:pt x="3097278" y="4716993"/>
                  <a:pt x="3099707" y="4715106"/>
                  <a:pt x="3102160" y="4713172"/>
                </a:cubicBezTo>
                <a:cubicBezTo>
                  <a:pt x="3111999" y="4705460"/>
                  <a:pt x="3121969" y="4697371"/>
                  <a:pt x="3132558" y="4687631"/>
                </a:cubicBezTo>
                <a:cubicBezTo>
                  <a:pt x="3137862" y="4682750"/>
                  <a:pt x="3143333" y="4677467"/>
                  <a:pt x="3149040" y="4671453"/>
                </a:cubicBezTo>
                <a:cubicBezTo>
                  <a:pt x="3154747" y="4665463"/>
                  <a:pt x="3160690" y="4658718"/>
                  <a:pt x="3166822" y="4651172"/>
                </a:cubicBezTo>
                <a:cubicBezTo>
                  <a:pt x="3179085" y="4636078"/>
                  <a:pt x="3191914" y="4617495"/>
                  <a:pt x="3203989" y="4598039"/>
                </a:cubicBezTo>
                <a:cubicBezTo>
                  <a:pt x="3216111" y="4578512"/>
                  <a:pt x="3227737" y="4558160"/>
                  <a:pt x="3239081" y="4537477"/>
                </a:cubicBezTo>
                <a:cubicBezTo>
                  <a:pt x="3250448" y="4516771"/>
                  <a:pt x="3261556" y="4495688"/>
                  <a:pt x="3272640" y="4474227"/>
                </a:cubicBezTo>
                <a:cubicBezTo>
                  <a:pt x="3294808" y="4431282"/>
                  <a:pt x="3316717" y="4386898"/>
                  <a:pt x="3338720" y="4341147"/>
                </a:cubicBezTo>
                <a:cubicBezTo>
                  <a:pt x="3349733" y="4318271"/>
                  <a:pt x="3360770" y="4295018"/>
                  <a:pt x="3371784" y="4271505"/>
                </a:cubicBezTo>
                <a:cubicBezTo>
                  <a:pt x="3382774" y="4247993"/>
                  <a:pt x="3393740" y="4224221"/>
                  <a:pt x="3404635" y="4200190"/>
                </a:cubicBezTo>
                <a:cubicBezTo>
                  <a:pt x="3426426" y="4152151"/>
                  <a:pt x="3447934" y="4103216"/>
                  <a:pt x="3468899" y="4053809"/>
                </a:cubicBezTo>
                <a:cubicBezTo>
                  <a:pt x="3552973" y="3855898"/>
                  <a:pt x="3626648" y="3652045"/>
                  <a:pt x="3681431" y="3460879"/>
                </a:cubicBezTo>
                <a:cubicBezTo>
                  <a:pt x="3736687" y="3269266"/>
                  <a:pt x="3773076" y="3089868"/>
                  <a:pt x="3793664" y="2928983"/>
                </a:cubicBezTo>
                <a:cubicBezTo>
                  <a:pt x="3798876" y="2888727"/>
                  <a:pt x="3803192" y="2849555"/>
                  <a:pt x="3806800" y="2811492"/>
                </a:cubicBezTo>
                <a:cubicBezTo>
                  <a:pt x="3810479" y="2773381"/>
                  <a:pt x="3813450" y="2736403"/>
                  <a:pt x="3815974" y="2700509"/>
                </a:cubicBezTo>
                <a:cubicBezTo>
                  <a:pt x="3818757" y="2664498"/>
                  <a:pt x="3821186" y="2629406"/>
                  <a:pt x="3826468" y="2594267"/>
                </a:cubicBezTo>
                <a:cubicBezTo>
                  <a:pt x="3829227" y="2576674"/>
                  <a:pt x="3832694" y="2559034"/>
                  <a:pt x="3838755" y="2541134"/>
                </a:cubicBezTo>
                <a:cubicBezTo>
                  <a:pt x="3841821" y="2532196"/>
                  <a:pt x="3845523" y="2523211"/>
                  <a:pt x="3850405" y="2514225"/>
                </a:cubicBezTo>
                <a:cubicBezTo>
                  <a:pt x="3855311" y="2505264"/>
                  <a:pt x="3861418" y="2496349"/>
                  <a:pt x="3869059" y="2487906"/>
                </a:cubicBezTo>
                <a:cubicBezTo>
                  <a:pt x="3876700" y="2479464"/>
                  <a:pt x="3885921" y="2471516"/>
                  <a:pt x="3896345" y="2464606"/>
                </a:cubicBezTo>
                <a:cubicBezTo>
                  <a:pt x="3906745" y="2457673"/>
                  <a:pt x="3918254" y="2451683"/>
                  <a:pt x="3930376" y="2446636"/>
                </a:cubicBezTo>
                <a:cubicBezTo>
                  <a:pt x="3942450" y="2441566"/>
                  <a:pt x="3955256" y="2437391"/>
                  <a:pt x="3968298" y="2433948"/>
                </a:cubicBezTo>
                <a:cubicBezTo>
                  <a:pt x="3981410" y="2430458"/>
                  <a:pt x="3994899" y="2427722"/>
                  <a:pt x="4008696" y="2425505"/>
                </a:cubicBezTo>
                <a:cubicBezTo>
                  <a:pt x="4036312" y="2421119"/>
                  <a:pt x="4065178" y="2418926"/>
                  <a:pt x="4095175" y="2418525"/>
                </a:cubicBezTo>
                <a:close/>
                <a:moveTo>
                  <a:pt x="4058929" y="2368976"/>
                </a:moveTo>
                <a:cubicBezTo>
                  <a:pt x="4089422" y="2367561"/>
                  <a:pt x="4121188" y="2367915"/>
                  <a:pt x="4154205" y="2369990"/>
                </a:cubicBezTo>
                <a:cubicBezTo>
                  <a:pt x="4285681" y="2378810"/>
                  <a:pt x="4439585" y="2412841"/>
                  <a:pt x="4607050" y="2488519"/>
                </a:cubicBezTo>
                <a:cubicBezTo>
                  <a:pt x="4773382" y="2563915"/>
                  <a:pt x="4955020" y="2683718"/>
                  <a:pt x="5109726" y="2860309"/>
                </a:cubicBezTo>
                <a:cubicBezTo>
                  <a:pt x="5262616" y="3034518"/>
                  <a:pt x="5385650" y="3270539"/>
                  <a:pt x="5385037" y="3515899"/>
                </a:cubicBezTo>
                <a:cubicBezTo>
                  <a:pt x="5382702" y="3514154"/>
                  <a:pt x="5380296" y="3512408"/>
                  <a:pt x="5377891" y="3510687"/>
                </a:cubicBezTo>
                <a:cubicBezTo>
                  <a:pt x="5376830" y="3266601"/>
                  <a:pt x="5254055" y="3032514"/>
                  <a:pt x="5101967" y="2859719"/>
                </a:cubicBezTo>
                <a:cubicBezTo>
                  <a:pt x="4948063" y="2684567"/>
                  <a:pt x="4767652" y="2565731"/>
                  <a:pt x="4602380" y="2490972"/>
                </a:cubicBezTo>
                <a:cubicBezTo>
                  <a:pt x="4436001" y="2415883"/>
                  <a:pt x="4283040" y="2382206"/>
                  <a:pt x="4152460" y="2373551"/>
                </a:cubicBezTo>
                <a:cubicBezTo>
                  <a:pt x="4119703" y="2371523"/>
                  <a:pt x="4088219" y="2371193"/>
                  <a:pt x="4058009" y="2372631"/>
                </a:cubicBezTo>
                <a:cubicBezTo>
                  <a:pt x="4027822" y="2374070"/>
                  <a:pt x="3998886" y="2377207"/>
                  <a:pt x="3971458" y="2382442"/>
                </a:cubicBezTo>
                <a:cubicBezTo>
                  <a:pt x="3957733" y="2385083"/>
                  <a:pt x="3944385" y="2388196"/>
                  <a:pt x="3931532" y="2392017"/>
                </a:cubicBezTo>
                <a:cubicBezTo>
                  <a:pt x="3918608" y="2395814"/>
                  <a:pt x="3906251" y="2400200"/>
                  <a:pt x="3894530" y="2405459"/>
                </a:cubicBezTo>
                <a:cubicBezTo>
                  <a:pt x="3882809" y="2410671"/>
                  <a:pt x="3871819" y="2416685"/>
                  <a:pt x="3861961" y="2423524"/>
                </a:cubicBezTo>
                <a:cubicBezTo>
                  <a:pt x="3852080" y="2430340"/>
                  <a:pt x="3843472" y="2437981"/>
                  <a:pt x="3836327" y="2446069"/>
                </a:cubicBezTo>
                <a:cubicBezTo>
                  <a:pt x="3829181" y="2454182"/>
                  <a:pt x="3823474" y="2462696"/>
                  <a:pt x="3818898" y="2471304"/>
                </a:cubicBezTo>
                <a:cubicBezTo>
                  <a:pt x="3814371" y="2479888"/>
                  <a:pt x="3810927" y="2488566"/>
                  <a:pt x="3808121" y="2497198"/>
                </a:cubicBezTo>
                <a:cubicBezTo>
                  <a:pt x="3802579" y="2514461"/>
                  <a:pt x="3799584" y="2531606"/>
                  <a:pt x="3797367" y="2548656"/>
                </a:cubicBezTo>
                <a:cubicBezTo>
                  <a:pt x="3793099" y="2582782"/>
                  <a:pt x="3791825" y="2616859"/>
                  <a:pt x="3790268" y="2651857"/>
                </a:cubicBezTo>
                <a:cubicBezTo>
                  <a:pt x="3788972" y="2686736"/>
                  <a:pt x="3787344" y="2722677"/>
                  <a:pt x="3785057" y="2759703"/>
                </a:cubicBezTo>
                <a:cubicBezTo>
                  <a:pt x="3782864" y="2796681"/>
                  <a:pt x="3780033" y="2834745"/>
                  <a:pt x="3776355" y="2873916"/>
                </a:cubicBezTo>
                <a:cubicBezTo>
                  <a:pt x="3761922" y="3030367"/>
                  <a:pt x="3732537" y="3205048"/>
                  <a:pt x="3683672" y="3392865"/>
                </a:cubicBezTo>
                <a:cubicBezTo>
                  <a:pt x="3635280" y="3580257"/>
                  <a:pt x="3567572" y="3781186"/>
                  <a:pt x="3487507" y="3979215"/>
                </a:cubicBezTo>
                <a:cubicBezTo>
                  <a:pt x="3467556" y="4028645"/>
                  <a:pt x="3446897" y="4077816"/>
                  <a:pt x="3425790" y="4126327"/>
                </a:cubicBezTo>
                <a:cubicBezTo>
                  <a:pt x="3415248" y="4150570"/>
                  <a:pt x="3404589" y="4174672"/>
                  <a:pt x="3393835" y="4198515"/>
                </a:cubicBezTo>
                <a:cubicBezTo>
                  <a:pt x="3383081" y="4222405"/>
                  <a:pt x="3372232" y="4246059"/>
                  <a:pt x="3361360" y="4269453"/>
                </a:cubicBezTo>
                <a:cubicBezTo>
                  <a:pt x="3339640" y="4316195"/>
                  <a:pt x="3317802" y="4361876"/>
                  <a:pt x="3295351" y="4406543"/>
                </a:cubicBezTo>
                <a:cubicBezTo>
                  <a:pt x="3284125" y="4428852"/>
                  <a:pt x="3272806" y="4450926"/>
                  <a:pt x="3261085" y="4472741"/>
                </a:cubicBezTo>
                <a:cubicBezTo>
                  <a:pt x="3249387" y="4494532"/>
                  <a:pt x="3237289" y="4516205"/>
                  <a:pt x="3224507" y="4537241"/>
                </a:cubicBezTo>
                <a:cubicBezTo>
                  <a:pt x="3218116" y="4547735"/>
                  <a:pt x="3211536" y="4558088"/>
                  <a:pt x="3204862" y="4567899"/>
                </a:cubicBezTo>
                <a:cubicBezTo>
                  <a:pt x="3198188" y="4577733"/>
                  <a:pt x="3191443" y="4586978"/>
                  <a:pt x="3184864" y="4595373"/>
                </a:cubicBezTo>
                <a:cubicBezTo>
                  <a:pt x="3178284" y="4603769"/>
                  <a:pt x="3171893" y="4611268"/>
                  <a:pt x="3165785" y="4617966"/>
                </a:cubicBezTo>
                <a:cubicBezTo>
                  <a:pt x="3159677" y="4624687"/>
                  <a:pt x="3153828" y="4630607"/>
                  <a:pt x="3148168" y="4636102"/>
                </a:cubicBezTo>
                <a:cubicBezTo>
                  <a:pt x="3136848" y="4647044"/>
                  <a:pt x="3126260" y="4656195"/>
                  <a:pt x="3115788" y="4664897"/>
                </a:cubicBezTo>
                <a:cubicBezTo>
                  <a:pt x="3113171" y="4667066"/>
                  <a:pt x="3110578" y="4669189"/>
                  <a:pt x="3107986" y="4671312"/>
                </a:cubicBezTo>
                <a:cubicBezTo>
                  <a:pt x="3106686" y="4672349"/>
                  <a:pt x="3105388" y="4673410"/>
                  <a:pt x="3104094" y="4674448"/>
                </a:cubicBezTo>
                <a:cubicBezTo>
                  <a:pt x="3102794" y="4675486"/>
                  <a:pt x="3101570" y="4676405"/>
                  <a:pt x="3100296" y="4677396"/>
                </a:cubicBezTo>
                <a:cubicBezTo>
                  <a:pt x="3099021" y="4678363"/>
                  <a:pt x="3097772" y="4679353"/>
                  <a:pt x="3096497" y="4680344"/>
                </a:cubicBezTo>
                <a:cubicBezTo>
                  <a:pt x="3095248" y="4681287"/>
                  <a:pt x="3093974" y="4682254"/>
                  <a:pt x="3092725" y="4683197"/>
                </a:cubicBezTo>
                <a:cubicBezTo>
                  <a:pt x="3090201" y="4685108"/>
                  <a:pt x="3087654" y="4687041"/>
                  <a:pt x="3085111" y="4688999"/>
                </a:cubicBezTo>
                <a:cubicBezTo>
                  <a:pt x="3044355" y="4719917"/>
                  <a:pt x="3000207" y="4754207"/>
                  <a:pt x="2950022" y="4791303"/>
                </a:cubicBezTo>
                <a:cubicBezTo>
                  <a:pt x="2899744" y="4828329"/>
                  <a:pt x="2843591" y="4868208"/>
                  <a:pt x="2776760" y="4910304"/>
                </a:cubicBezTo>
                <a:cubicBezTo>
                  <a:pt x="2709925" y="4952376"/>
                  <a:pt x="2632030" y="4996854"/>
                  <a:pt x="2537862" y="5041992"/>
                </a:cubicBezTo>
                <a:cubicBezTo>
                  <a:pt x="2632077" y="4996760"/>
                  <a:pt x="2710020" y="4952187"/>
                  <a:pt x="2776925" y="4910021"/>
                </a:cubicBezTo>
                <a:cubicBezTo>
                  <a:pt x="2843804" y="4867807"/>
                  <a:pt x="2900026" y="4827810"/>
                  <a:pt x="2950354" y="4790666"/>
                </a:cubicBezTo>
                <a:cubicBezTo>
                  <a:pt x="3000608" y="4753428"/>
                  <a:pt x="3044826" y="4718997"/>
                  <a:pt x="3085650" y="4687914"/>
                </a:cubicBezTo>
                <a:cubicBezTo>
                  <a:pt x="3088199" y="4685957"/>
                  <a:pt x="3090743" y="4684023"/>
                  <a:pt x="3093266" y="4682089"/>
                </a:cubicBezTo>
                <a:cubicBezTo>
                  <a:pt x="3094540" y="4681122"/>
                  <a:pt x="3095790" y="4680155"/>
                  <a:pt x="3097040" y="4679212"/>
                </a:cubicBezTo>
                <a:cubicBezTo>
                  <a:pt x="3098313" y="4678221"/>
                  <a:pt x="3099563" y="4677255"/>
                  <a:pt x="3100837" y="4676264"/>
                </a:cubicBezTo>
                <a:cubicBezTo>
                  <a:pt x="3102110" y="4675273"/>
                  <a:pt x="3103341" y="4674354"/>
                  <a:pt x="3104633" y="4673292"/>
                </a:cubicBezTo>
                <a:cubicBezTo>
                  <a:pt x="3105933" y="4672231"/>
                  <a:pt x="3107228" y="4671194"/>
                  <a:pt x="3108525" y="4670132"/>
                </a:cubicBezTo>
                <a:cubicBezTo>
                  <a:pt x="3111119" y="4668010"/>
                  <a:pt x="3113713" y="4665887"/>
                  <a:pt x="3116331" y="4663718"/>
                </a:cubicBezTo>
                <a:cubicBezTo>
                  <a:pt x="3126781" y="4654992"/>
                  <a:pt x="3137367" y="4645818"/>
                  <a:pt x="3148640" y="4634899"/>
                </a:cubicBezTo>
                <a:cubicBezTo>
                  <a:pt x="3154276" y="4629404"/>
                  <a:pt x="3160101" y="4623508"/>
                  <a:pt x="3166162" y="4616834"/>
                </a:cubicBezTo>
                <a:cubicBezTo>
                  <a:pt x="3172223" y="4610184"/>
                  <a:pt x="3178520" y="4602755"/>
                  <a:pt x="3185029" y="4594477"/>
                </a:cubicBezTo>
                <a:cubicBezTo>
                  <a:pt x="3198023" y="4577945"/>
                  <a:pt x="3211513" y="4557876"/>
                  <a:pt x="3224106" y="4537099"/>
                </a:cubicBezTo>
                <a:cubicBezTo>
                  <a:pt x="3236770" y="4516252"/>
                  <a:pt x="3248750" y="4494744"/>
                  <a:pt x="3260401" y="4473047"/>
                </a:cubicBezTo>
                <a:cubicBezTo>
                  <a:pt x="3272051" y="4451327"/>
                  <a:pt x="3283324" y="4429348"/>
                  <a:pt x="3294502" y="4407085"/>
                </a:cubicBezTo>
                <a:cubicBezTo>
                  <a:pt x="3316859" y="4362536"/>
                  <a:pt x="3338650" y="4316950"/>
                  <a:pt x="3360299" y="4270279"/>
                </a:cubicBezTo>
                <a:cubicBezTo>
                  <a:pt x="3371147" y="4246931"/>
                  <a:pt x="3381949" y="4223301"/>
                  <a:pt x="3392679" y="4199458"/>
                </a:cubicBezTo>
                <a:cubicBezTo>
                  <a:pt x="3403386" y="4175639"/>
                  <a:pt x="3414022" y="4151584"/>
                  <a:pt x="3424540" y="4127364"/>
                </a:cubicBezTo>
                <a:cubicBezTo>
                  <a:pt x="3445576" y="4078924"/>
                  <a:pt x="3466188" y="4029824"/>
                  <a:pt x="3486092" y="3980441"/>
                </a:cubicBezTo>
                <a:cubicBezTo>
                  <a:pt x="3565921" y="3782672"/>
                  <a:pt x="3633393" y="3581979"/>
                  <a:pt x="3681503" y="3394799"/>
                </a:cubicBezTo>
                <a:cubicBezTo>
                  <a:pt x="3730084" y="3207171"/>
                  <a:pt x="3759139" y="3032632"/>
                  <a:pt x="3773100" y="2876251"/>
                </a:cubicBezTo>
                <a:cubicBezTo>
                  <a:pt x="3776661" y="2837103"/>
                  <a:pt x="3779350" y="2799040"/>
                  <a:pt x="3781401" y="2762061"/>
                </a:cubicBezTo>
                <a:cubicBezTo>
                  <a:pt x="3783524" y="2725035"/>
                  <a:pt x="3785009" y="2689071"/>
                  <a:pt x="3786118" y="2654191"/>
                </a:cubicBezTo>
                <a:cubicBezTo>
                  <a:pt x="3787486" y="2619170"/>
                  <a:pt x="3788570" y="2584998"/>
                  <a:pt x="3792627" y="2550590"/>
                </a:cubicBezTo>
                <a:cubicBezTo>
                  <a:pt x="3794749" y="2533375"/>
                  <a:pt x="3797627" y="2516065"/>
                  <a:pt x="3803121" y="2498354"/>
                </a:cubicBezTo>
                <a:cubicBezTo>
                  <a:pt x="3805904" y="2489510"/>
                  <a:pt x="3809347" y="2480595"/>
                  <a:pt x="3813970" y="2471634"/>
                </a:cubicBezTo>
                <a:cubicBezTo>
                  <a:pt x="3818639" y="2462696"/>
                  <a:pt x="3824488" y="2453758"/>
                  <a:pt x="3831940" y="2445173"/>
                </a:cubicBezTo>
                <a:cubicBezTo>
                  <a:pt x="3839392" y="2436613"/>
                  <a:pt x="3848448" y="2428477"/>
                  <a:pt x="3858778" y="2421307"/>
                </a:cubicBezTo>
                <a:cubicBezTo>
                  <a:pt x="3869060" y="2414114"/>
                  <a:pt x="3880545" y="2407818"/>
                  <a:pt x="3892620" y="2402417"/>
                </a:cubicBezTo>
                <a:cubicBezTo>
                  <a:pt x="3904694" y="2396993"/>
                  <a:pt x="3917524" y="2392441"/>
                  <a:pt x="3930636" y="2388574"/>
                </a:cubicBezTo>
                <a:cubicBezTo>
                  <a:pt x="3943795" y="2384659"/>
                  <a:pt x="3957403" y="2381499"/>
                  <a:pt x="3971317" y="2378834"/>
                </a:cubicBezTo>
                <a:cubicBezTo>
                  <a:pt x="3999216" y="2373551"/>
                  <a:pt x="4028436" y="2370391"/>
                  <a:pt x="4058929" y="2368976"/>
                </a:cubicBezTo>
                <a:close/>
                <a:moveTo>
                  <a:pt x="4117486" y="2320276"/>
                </a:moveTo>
                <a:cubicBezTo>
                  <a:pt x="4251604" y="2324828"/>
                  <a:pt x="4409941" y="2353741"/>
                  <a:pt x="4585471" y="2424349"/>
                </a:cubicBezTo>
                <a:cubicBezTo>
                  <a:pt x="4759869" y="2494816"/>
                  <a:pt x="4953464" y="2609477"/>
                  <a:pt x="5125550" y="2785219"/>
                </a:cubicBezTo>
                <a:cubicBezTo>
                  <a:pt x="5295420" y="2958438"/>
                  <a:pt x="5441707" y="3198940"/>
                  <a:pt x="5462248" y="3457105"/>
                </a:cubicBezTo>
                <a:cubicBezTo>
                  <a:pt x="5459607" y="3455289"/>
                  <a:pt x="5456942" y="3453450"/>
                  <a:pt x="5454277" y="3451610"/>
                </a:cubicBezTo>
                <a:cubicBezTo>
                  <a:pt x="5432179" y="3194883"/>
                  <a:pt x="5286365" y="2956457"/>
                  <a:pt x="5117414" y="2784653"/>
                </a:cubicBezTo>
                <a:cubicBezTo>
                  <a:pt x="4946271" y="2610421"/>
                  <a:pt x="4753997" y="2496702"/>
                  <a:pt x="4580707" y="2426849"/>
                </a:cubicBezTo>
                <a:cubicBezTo>
                  <a:pt x="4406286" y="2356830"/>
                  <a:pt x="4248962" y="2328224"/>
                  <a:pt x="4115741" y="2323837"/>
                </a:cubicBezTo>
                <a:cubicBezTo>
                  <a:pt x="4082323" y="2322894"/>
                  <a:pt x="4050321" y="2323578"/>
                  <a:pt x="4019710" y="2326007"/>
                </a:cubicBezTo>
                <a:cubicBezTo>
                  <a:pt x="3989099" y="2328436"/>
                  <a:pt x="3959856" y="2332516"/>
                  <a:pt x="3932240" y="2338600"/>
                </a:cubicBezTo>
                <a:cubicBezTo>
                  <a:pt x="3918420" y="2341666"/>
                  <a:pt x="3905001" y="2345227"/>
                  <a:pt x="3892077" y="2349425"/>
                </a:cubicBezTo>
                <a:cubicBezTo>
                  <a:pt x="3879107" y="2353623"/>
                  <a:pt x="3866749" y="2358387"/>
                  <a:pt x="3855052" y="2363976"/>
                </a:cubicBezTo>
                <a:cubicBezTo>
                  <a:pt x="3843354" y="2369518"/>
                  <a:pt x="3832435" y="2375838"/>
                  <a:pt x="3822672" y="2382913"/>
                </a:cubicBezTo>
                <a:cubicBezTo>
                  <a:pt x="3812909" y="2389965"/>
                  <a:pt x="3804442" y="2397794"/>
                  <a:pt x="3797462" y="2406001"/>
                </a:cubicBezTo>
                <a:cubicBezTo>
                  <a:pt x="3790481" y="2414208"/>
                  <a:pt x="3784986" y="2422792"/>
                  <a:pt x="3780647" y="2431377"/>
                </a:cubicBezTo>
                <a:cubicBezTo>
                  <a:pt x="3776331" y="2439961"/>
                  <a:pt x="3773147" y="2448569"/>
                  <a:pt x="3770600" y="2457130"/>
                </a:cubicBezTo>
                <a:cubicBezTo>
                  <a:pt x="3765577" y="2474228"/>
                  <a:pt x="3763148" y="2491066"/>
                  <a:pt x="3761497" y="2507786"/>
                </a:cubicBezTo>
                <a:cubicBezTo>
                  <a:pt x="3758384" y="2541228"/>
                  <a:pt x="3758337" y="2574456"/>
                  <a:pt x="3758125" y="2608534"/>
                </a:cubicBezTo>
                <a:cubicBezTo>
                  <a:pt x="3758148" y="2642494"/>
                  <a:pt x="3757912" y="2677444"/>
                  <a:pt x="3757111" y="2713456"/>
                </a:cubicBezTo>
                <a:cubicBezTo>
                  <a:pt x="3756379" y="2749420"/>
                  <a:pt x="3755106" y="2786422"/>
                  <a:pt x="3753007" y="2824486"/>
                </a:cubicBezTo>
                <a:cubicBezTo>
                  <a:pt x="3744942" y="2976597"/>
                  <a:pt x="3722726" y="3146467"/>
                  <a:pt x="3680583" y="3330133"/>
                </a:cubicBezTo>
                <a:cubicBezTo>
                  <a:pt x="3638888" y="3513399"/>
                  <a:pt x="3577501" y="3710814"/>
                  <a:pt x="3502105" y="3907922"/>
                </a:cubicBezTo>
                <a:cubicBezTo>
                  <a:pt x="3483309" y="3957140"/>
                  <a:pt x="3463712" y="4006264"/>
                  <a:pt x="3443501" y="4054916"/>
                </a:cubicBezTo>
                <a:cubicBezTo>
                  <a:pt x="3433407" y="4079254"/>
                  <a:pt x="3423149" y="4103451"/>
                  <a:pt x="3412796" y="4127505"/>
                </a:cubicBezTo>
                <a:cubicBezTo>
                  <a:pt x="3402395" y="4151584"/>
                  <a:pt x="3391901" y="4175497"/>
                  <a:pt x="3381312" y="4199175"/>
                </a:cubicBezTo>
                <a:cubicBezTo>
                  <a:pt x="3360158" y="4246530"/>
                  <a:pt x="3338673" y="4293060"/>
                  <a:pt x="3316340" y="4338953"/>
                </a:cubicBezTo>
                <a:cubicBezTo>
                  <a:pt x="3305162" y="4361899"/>
                  <a:pt x="3293795" y="4384657"/>
                  <a:pt x="3281956" y="4407320"/>
                </a:cubicBezTo>
                <a:cubicBezTo>
                  <a:pt x="3270141" y="4429960"/>
                  <a:pt x="3257807" y="4452600"/>
                  <a:pt x="3244647" y="4474792"/>
                </a:cubicBezTo>
                <a:cubicBezTo>
                  <a:pt x="3238068" y="4485876"/>
                  <a:pt x="3231276" y="4496819"/>
                  <a:pt x="3224342" y="4507313"/>
                </a:cubicBezTo>
                <a:cubicBezTo>
                  <a:pt x="3217409" y="4517808"/>
                  <a:pt x="3210381" y="4527760"/>
                  <a:pt x="3203495" y="4536840"/>
                </a:cubicBezTo>
                <a:cubicBezTo>
                  <a:pt x="3196608" y="4545919"/>
                  <a:pt x="3189887" y="4554079"/>
                  <a:pt x="3183449" y="4561460"/>
                </a:cubicBezTo>
                <a:cubicBezTo>
                  <a:pt x="3177011" y="4568818"/>
                  <a:pt x="3170855" y="4575374"/>
                  <a:pt x="3164865" y="4581459"/>
                </a:cubicBezTo>
                <a:cubicBezTo>
                  <a:pt x="3152909" y="4593604"/>
                  <a:pt x="3141707" y="4603816"/>
                  <a:pt x="3130648" y="4613579"/>
                </a:cubicBezTo>
                <a:cubicBezTo>
                  <a:pt x="3127889" y="4616008"/>
                  <a:pt x="3125130" y="4618390"/>
                  <a:pt x="3122393" y="4620749"/>
                </a:cubicBezTo>
                <a:cubicBezTo>
                  <a:pt x="3121026" y="4621928"/>
                  <a:pt x="3119658" y="4623083"/>
                  <a:pt x="3118290" y="4624262"/>
                </a:cubicBezTo>
                <a:cubicBezTo>
                  <a:pt x="3116926" y="4625442"/>
                  <a:pt x="3115626" y="4626479"/>
                  <a:pt x="3114257" y="4627588"/>
                </a:cubicBezTo>
                <a:cubicBezTo>
                  <a:pt x="3112914" y="4628672"/>
                  <a:pt x="3111571" y="4629781"/>
                  <a:pt x="3110228" y="4630889"/>
                </a:cubicBezTo>
                <a:cubicBezTo>
                  <a:pt x="3108903" y="4631951"/>
                  <a:pt x="3107560" y="4633036"/>
                  <a:pt x="3106241" y="4634120"/>
                </a:cubicBezTo>
                <a:cubicBezTo>
                  <a:pt x="3103574" y="4636266"/>
                  <a:pt x="3100886" y="4638436"/>
                  <a:pt x="3098200" y="4640629"/>
                </a:cubicBezTo>
                <a:cubicBezTo>
                  <a:pt x="3055134" y="4675297"/>
                  <a:pt x="3008604" y="4713030"/>
                  <a:pt x="2955731" y="4753168"/>
                </a:cubicBezTo>
                <a:cubicBezTo>
                  <a:pt x="2902790" y="4793213"/>
                  <a:pt x="2843687" y="4835662"/>
                  <a:pt x="2773412" y="4879739"/>
                </a:cubicBezTo>
                <a:cubicBezTo>
                  <a:pt x="2703134" y="4923746"/>
                  <a:pt x="2621206" y="4969544"/>
                  <a:pt x="2522534" y="5014848"/>
                </a:cubicBezTo>
                <a:cubicBezTo>
                  <a:pt x="2621253" y="4969450"/>
                  <a:pt x="2703229" y="4923557"/>
                  <a:pt x="2773577" y="4879433"/>
                </a:cubicBezTo>
                <a:cubicBezTo>
                  <a:pt x="2843923" y="4835262"/>
                  <a:pt x="2903093" y="4792670"/>
                  <a:pt x="2956086" y="4752508"/>
                </a:cubicBezTo>
                <a:cubicBezTo>
                  <a:pt x="3009007" y="4712228"/>
                  <a:pt x="3055631" y="4674353"/>
                  <a:pt x="3098764" y="4639521"/>
                </a:cubicBezTo>
                <a:cubicBezTo>
                  <a:pt x="3101476" y="4637328"/>
                  <a:pt x="3104140" y="4635158"/>
                  <a:pt x="3106831" y="4632988"/>
                </a:cubicBezTo>
                <a:cubicBezTo>
                  <a:pt x="3108175" y="4631903"/>
                  <a:pt x="3109494" y="4630819"/>
                  <a:pt x="3110818" y="4629757"/>
                </a:cubicBezTo>
                <a:cubicBezTo>
                  <a:pt x="3112161" y="4628649"/>
                  <a:pt x="3113504" y="4627540"/>
                  <a:pt x="3114824" y="4626456"/>
                </a:cubicBezTo>
                <a:cubicBezTo>
                  <a:pt x="3116168" y="4625347"/>
                  <a:pt x="3117465" y="4624310"/>
                  <a:pt x="3118834" y="4623130"/>
                </a:cubicBezTo>
                <a:cubicBezTo>
                  <a:pt x="3120203" y="4621951"/>
                  <a:pt x="3121571" y="4620772"/>
                  <a:pt x="3122936" y="4619593"/>
                </a:cubicBezTo>
                <a:cubicBezTo>
                  <a:pt x="3125671" y="4617235"/>
                  <a:pt x="3128433" y="4614829"/>
                  <a:pt x="3131190" y="4612400"/>
                </a:cubicBezTo>
                <a:cubicBezTo>
                  <a:pt x="3142249" y="4602613"/>
                  <a:pt x="3153427" y="4592378"/>
                  <a:pt x="3165337" y="4580256"/>
                </a:cubicBezTo>
                <a:cubicBezTo>
                  <a:pt x="3171303" y="4574172"/>
                  <a:pt x="3177411" y="4567663"/>
                  <a:pt x="3183803" y="4560352"/>
                </a:cubicBezTo>
                <a:cubicBezTo>
                  <a:pt x="3190170" y="4553041"/>
                  <a:pt x="3196821" y="4544952"/>
                  <a:pt x="3203589" y="4535991"/>
                </a:cubicBezTo>
                <a:cubicBezTo>
                  <a:pt x="3217196" y="4518091"/>
                  <a:pt x="3231228" y="4496677"/>
                  <a:pt x="3244176" y="4474768"/>
                </a:cubicBezTo>
                <a:cubicBezTo>
                  <a:pt x="3257194" y="4452789"/>
                  <a:pt x="3269410" y="4430314"/>
                  <a:pt x="3281178" y="4407769"/>
                </a:cubicBezTo>
                <a:cubicBezTo>
                  <a:pt x="3292946" y="4385199"/>
                  <a:pt x="3304266" y="4362512"/>
                  <a:pt x="3315397" y="4339637"/>
                </a:cubicBezTo>
                <a:cubicBezTo>
                  <a:pt x="3337659" y="4293885"/>
                  <a:pt x="3359073" y="4247426"/>
                  <a:pt x="3380180" y="4200142"/>
                </a:cubicBezTo>
                <a:cubicBezTo>
                  <a:pt x="3390745" y="4176488"/>
                  <a:pt x="3401216" y="4152622"/>
                  <a:pt x="3411593" y="4128567"/>
                </a:cubicBezTo>
                <a:cubicBezTo>
                  <a:pt x="3421922" y="4104559"/>
                  <a:pt x="3432157" y="4080363"/>
                  <a:pt x="3442227" y="4056072"/>
                </a:cubicBezTo>
                <a:cubicBezTo>
                  <a:pt x="3462368" y="4007491"/>
                  <a:pt x="3481918" y="3958437"/>
                  <a:pt x="3500667" y="3909290"/>
                </a:cubicBezTo>
                <a:cubicBezTo>
                  <a:pt x="3575826" y="3712441"/>
                  <a:pt x="3636978" y="3515285"/>
                  <a:pt x="3678413" y="3332208"/>
                </a:cubicBezTo>
                <a:cubicBezTo>
                  <a:pt x="3720297" y="3148731"/>
                  <a:pt x="3742206" y="2979003"/>
                  <a:pt x="3749800" y="2826962"/>
                </a:cubicBezTo>
                <a:cubicBezTo>
                  <a:pt x="3751757" y="2788898"/>
                  <a:pt x="3752936" y="2751920"/>
                  <a:pt x="3753502" y="2715956"/>
                </a:cubicBezTo>
                <a:cubicBezTo>
                  <a:pt x="3754163" y="2679944"/>
                  <a:pt x="3754234" y="2644970"/>
                  <a:pt x="3754021" y="2611010"/>
                </a:cubicBezTo>
                <a:cubicBezTo>
                  <a:pt x="3754068" y="2576909"/>
                  <a:pt x="3753903" y="2543609"/>
                  <a:pt x="3756804" y="2509862"/>
                </a:cubicBezTo>
                <a:cubicBezTo>
                  <a:pt x="3758337" y="2492976"/>
                  <a:pt x="3760648" y="2475973"/>
                  <a:pt x="3765648" y="2458427"/>
                </a:cubicBezTo>
                <a:cubicBezTo>
                  <a:pt x="3768171" y="2449677"/>
                  <a:pt x="3771355" y="2440810"/>
                  <a:pt x="3775741" y="2431872"/>
                </a:cubicBezTo>
                <a:cubicBezTo>
                  <a:pt x="3780152" y="2422934"/>
                  <a:pt x="3785812" y="2413949"/>
                  <a:pt x="3793075" y="2405270"/>
                </a:cubicBezTo>
                <a:cubicBezTo>
                  <a:pt x="3800339" y="2396591"/>
                  <a:pt x="3809230" y="2388267"/>
                  <a:pt x="3819441" y="2380862"/>
                </a:cubicBezTo>
                <a:cubicBezTo>
                  <a:pt x="3829629" y="2373409"/>
                  <a:pt x="3841020" y="2366806"/>
                  <a:pt x="3853094" y="2361052"/>
                </a:cubicBezTo>
                <a:cubicBezTo>
                  <a:pt x="3865145" y="2355274"/>
                  <a:pt x="3877975" y="2350345"/>
                  <a:pt x="3891134" y="2346076"/>
                </a:cubicBezTo>
                <a:cubicBezTo>
                  <a:pt x="3904341" y="2341760"/>
                  <a:pt x="3918019" y="2338176"/>
                  <a:pt x="3932051" y="2335063"/>
                </a:cubicBezTo>
                <a:cubicBezTo>
                  <a:pt x="3960139" y="2328884"/>
                  <a:pt x="3989688" y="2324804"/>
                  <a:pt x="4020606" y="2322375"/>
                </a:cubicBezTo>
                <a:cubicBezTo>
                  <a:pt x="4051523" y="2319970"/>
                  <a:pt x="4083809" y="2319286"/>
                  <a:pt x="4117486" y="2320276"/>
                </a:cubicBezTo>
                <a:close/>
                <a:moveTo>
                  <a:pt x="4078550" y="2273582"/>
                </a:moveTo>
                <a:cubicBezTo>
                  <a:pt x="4214979" y="2273912"/>
                  <a:pt x="4377278" y="2297778"/>
                  <a:pt x="4560378" y="2363057"/>
                </a:cubicBezTo>
                <a:cubicBezTo>
                  <a:pt x="4742370" y="2428335"/>
                  <a:pt x="4947309" y="2537313"/>
                  <a:pt x="5136658" y="2711145"/>
                </a:cubicBezTo>
                <a:cubicBezTo>
                  <a:pt x="5323437" y="2882430"/>
                  <a:pt x="5493543" y="3125903"/>
                  <a:pt x="5537431" y="3396332"/>
                </a:cubicBezTo>
                <a:cubicBezTo>
                  <a:pt x="5534625" y="3394327"/>
                  <a:pt x="5531701" y="3392370"/>
                  <a:pt x="5528777" y="3390436"/>
                </a:cubicBezTo>
                <a:cubicBezTo>
                  <a:pt x="5483473" y="3121611"/>
                  <a:pt x="5314051" y="2880331"/>
                  <a:pt x="5128333" y="2710485"/>
                </a:cubicBezTo>
                <a:cubicBezTo>
                  <a:pt x="4940068" y="2538162"/>
                  <a:pt x="4736522" y="2430127"/>
                  <a:pt x="4555709" y="2365439"/>
                </a:cubicBezTo>
                <a:cubicBezTo>
                  <a:pt x="4373788" y="2300726"/>
                  <a:pt x="4212479" y="2277167"/>
                  <a:pt x="4076970" y="2276978"/>
                </a:cubicBezTo>
                <a:cubicBezTo>
                  <a:pt x="4042986" y="2277072"/>
                  <a:pt x="4010536" y="2278794"/>
                  <a:pt x="3979547" y="2282166"/>
                </a:cubicBezTo>
                <a:cubicBezTo>
                  <a:pt x="3948582" y="2285539"/>
                  <a:pt x="3919103" y="2290538"/>
                  <a:pt x="3891299" y="2297495"/>
                </a:cubicBezTo>
                <a:cubicBezTo>
                  <a:pt x="3877408" y="2300986"/>
                  <a:pt x="3863919" y="2304948"/>
                  <a:pt x="3850995" y="2309546"/>
                </a:cubicBezTo>
                <a:cubicBezTo>
                  <a:pt x="3838001" y="2314122"/>
                  <a:pt x="3825643" y="2319263"/>
                  <a:pt x="3813969" y="2325182"/>
                </a:cubicBezTo>
                <a:cubicBezTo>
                  <a:pt x="3802319" y="2331054"/>
                  <a:pt x="3791447" y="2337658"/>
                  <a:pt x="3781802" y="2344992"/>
                </a:cubicBezTo>
                <a:cubicBezTo>
                  <a:pt x="3772133" y="2352279"/>
                  <a:pt x="3763808" y="2360298"/>
                  <a:pt x="3757016" y="2368622"/>
                </a:cubicBezTo>
                <a:cubicBezTo>
                  <a:pt x="3750200" y="2376947"/>
                  <a:pt x="3744918" y="2385579"/>
                  <a:pt x="3740791" y="2394187"/>
                </a:cubicBezTo>
                <a:cubicBezTo>
                  <a:pt x="3736687" y="2402771"/>
                  <a:pt x="3733739" y="2411355"/>
                  <a:pt x="3731428" y="2419845"/>
                </a:cubicBezTo>
                <a:cubicBezTo>
                  <a:pt x="3726877" y="2436802"/>
                  <a:pt x="3724943" y="2453381"/>
                  <a:pt x="3723834" y="2469818"/>
                </a:cubicBezTo>
                <a:cubicBezTo>
                  <a:pt x="3721783" y="2502646"/>
                  <a:pt x="3722891" y="2535096"/>
                  <a:pt x="3723905" y="2568325"/>
                </a:cubicBezTo>
                <a:cubicBezTo>
                  <a:pt x="3725155" y="2601412"/>
                  <a:pt x="3726240" y="2635467"/>
                  <a:pt x="3726830" y="2670488"/>
                </a:cubicBezTo>
                <a:cubicBezTo>
                  <a:pt x="3727490" y="2705485"/>
                  <a:pt x="3727655" y="2741473"/>
                  <a:pt x="3727089" y="2778499"/>
                </a:cubicBezTo>
                <a:cubicBezTo>
                  <a:pt x="3725084" y="2926436"/>
                  <a:pt x="3709873" y="3091566"/>
                  <a:pt x="3674381" y="3271011"/>
                </a:cubicBezTo>
                <a:cubicBezTo>
                  <a:pt x="3639336" y="3450078"/>
                  <a:pt x="3584340" y="3643696"/>
                  <a:pt x="3513944" y="3839225"/>
                </a:cubicBezTo>
                <a:cubicBezTo>
                  <a:pt x="3496398" y="3888042"/>
                  <a:pt x="3477932" y="3936930"/>
                  <a:pt x="3458759" y="3985511"/>
                </a:cubicBezTo>
                <a:cubicBezTo>
                  <a:pt x="3449161" y="4009802"/>
                  <a:pt x="3439397" y="4034022"/>
                  <a:pt x="3429492" y="4058148"/>
                </a:cubicBezTo>
                <a:cubicBezTo>
                  <a:pt x="3419540" y="4082297"/>
                  <a:pt x="3409446" y="4106328"/>
                  <a:pt x="3399211" y="4130171"/>
                </a:cubicBezTo>
                <a:cubicBezTo>
                  <a:pt x="3378788" y="4177880"/>
                  <a:pt x="3357893" y="4224952"/>
                  <a:pt x="3335867" y="4271765"/>
                </a:cubicBezTo>
                <a:cubicBezTo>
                  <a:pt x="3324853" y="4295159"/>
                  <a:pt x="3313581" y="4318459"/>
                  <a:pt x="3301742" y="4341807"/>
                </a:cubicBezTo>
                <a:cubicBezTo>
                  <a:pt x="3289927" y="4365107"/>
                  <a:pt x="3277522" y="4388549"/>
                  <a:pt x="3264150" y="4411731"/>
                </a:cubicBezTo>
                <a:cubicBezTo>
                  <a:pt x="3257476" y="4423310"/>
                  <a:pt x="3250496" y="4434819"/>
                  <a:pt x="3243374" y="4445879"/>
                </a:cubicBezTo>
                <a:cubicBezTo>
                  <a:pt x="3236251" y="4456964"/>
                  <a:pt x="3228988" y="4467553"/>
                  <a:pt x="3221842" y="4477269"/>
                </a:cubicBezTo>
                <a:cubicBezTo>
                  <a:pt x="3214696" y="4486985"/>
                  <a:pt x="3207716" y="4495805"/>
                  <a:pt x="3200994" y="4503776"/>
                </a:cubicBezTo>
                <a:cubicBezTo>
                  <a:pt x="3194273" y="4511771"/>
                  <a:pt x="3187811" y="4518917"/>
                  <a:pt x="3181538" y="4525591"/>
                </a:cubicBezTo>
                <a:cubicBezTo>
                  <a:pt x="3168992" y="4538915"/>
                  <a:pt x="3157224" y="4550212"/>
                  <a:pt x="3145597" y="4561013"/>
                </a:cubicBezTo>
                <a:cubicBezTo>
                  <a:pt x="3142697" y="4563701"/>
                  <a:pt x="3139796" y="4566343"/>
                  <a:pt x="3136919" y="4568960"/>
                </a:cubicBezTo>
                <a:cubicBezTo>
                  <a:pt x="3135480" y="4570258"/>
                  <a:pt x="3134045" y="4571554"/>
                  <a:pt x="3132607" y="4572852"/>
                </a:cubicBezTo>
                <a:cubicBezTo>
                  <a:pt x="3131165" y="4574149"/>
                  <a:pt x="3129801" y="4575304"/>
                  <a:pt x="3128383" y="4576554"/>
                </a:cubicBezTo>
                <a:cubicBezTo>
                  <a:pt x="3126970" y="4577780"/>
                  <a:pt x="3125553" y="4579007"/>
                  <a:pt x="3124138" y="4580210"/>
                </a:cubicBezTo>
                <a:cubicBezTo>
                  <a:pt x="3122746" y="4581389"/>
                  <a:pt x="3121332" y="4582592"/>
                  <a:pt x="3119940" y="4583794"/>
                </a:cubicBezTo>
                <a:cubicBezTo>
                  <a:pt x="3117133" y="4586176"/>
                  <a:pt x="3114304" y="4588581"/>
                  <a:pt x="3111477" y="4591011"/>
                </a:cubicBezTo>
                <a:cubicBezTo>
                  <a:pt x="3066170" y="4629451"/>
                  <a:pt x="3017331" y="4670604"/>
                  <a:pt x="2961862" y="4713691"/>
                </a:cubicBezTo>
                <a:cubicBezTo>
                  <a:pt x="2906323" y="4756659"/>
                  <a:pt x="2844346" y="4801585"/>
                  <a:pt x="2770652" y="4847407"/>
                </a:cubicBezTo>
                <a:cubicBezTo>
                  <a:pt x="2696979" y="4893183"/>
                  <a:pt x="2611089" y="4940042"/>
                  <a:pt x="2507865" y="4985204"/>
                </a:cubicBezTo>
                <a:cubicBezTo>
                  <a:pt x="2611136" y="4939948"/>
                  <a:pt x="2697097" y="4892994"/>
                  <a:pt x="2770842" y="4847101"/>
                </a:cubicBezTo>
                <a:cubicBezTo>
                  <a:pt x="2844582" y="4801137"/>
                  <a:pt x="2906631" y="4756117"/>
                  <a:pt x="2962239" y="4712983"/>
                </a:cubicBezTo>
                <a:cubicBezTo>
                  <a:pt x="3017777" y="4669779"/>
                  <a:pt x="3066692" y="4628437"/>
                  <a:pt x="3112067" y="4589831"/>
                </a:cubicBezTo>
                <a:cubicBezTo>
                  <a:pt x="3114893" y="4587402"/>
                  <a:pt x="3117723" y="4584997"/>
                  <a:pt x="3120529" y="4582592"/>
                </a:cubicBezTo>
                <a:cubicBezTo>
                  <a:pt x="3121948" y="4581389"/>
                  <a:pt x="3123336" y="4580186"/>
                  <a:pt x="3124728" y="4579007"/>
                </a:cubicBezTo>
                <a:cubicBezTo>
                  <a:pt x="3126142" y="4577780"/>
                  <a:pt x="3127560" y="4576554"/>
                  <a:pt x="3128949" y="4575328"/>
                </a:cubicBezTo>
                <a:cubicBezTo>
                  <a:pt x="3130366" y="4574078"/>
                  <a:pt x="3131735" y="4572946"/>
                  <a:pt x="3133172" y="4571625"/>
                </a:cubicBezTo>
                <a:cubicBezTo>
                  <a:pt x="3134608" y="4570328"/>
                  <a:pt x="3136046" y="4569008"/>
                  <a:pt x="3137485" y="4567710"/>
                </a:cubicBezTo>
                <a:cubicBezTo>
                  <a:pt x="3140362" y="4565093"/>
                  <a:pt x="3143263" y="4562428"/>
                  <a:pt x="3146163" y="4559739"/>
                </a:cubicBezTo>
                <a:cubicBezTo>
                  <a:pt x="3157790" y="4548915"/>
                  <a:pt x="3169534" y="4537595"/>
                  <a:pt x="3182010" y="4524317"/>
                </a:cubicBezTo>
                <a:cubicBezTo>
                  <a:pt x="3188260" y="4517667"/>
                  <a:pt x="3194651" y="4510545"/>
                  <a:pt x="3201324" y="4502597"/>
                </a:cubicBezTo>
                <a:cubicBezTo>
                  <a:pt x="3207975" y="4494673"/>
                  <a:pt x="3214885" y="4485948"/>
                  <a:pt x="3221913" y="4476373"/>
                </a:cubicBezTo>
                <a:cubicBezTo>
                  <a:pt x="3236016" y="4457223"/>
                  <a:pt x="3250425" y="4434607"/>
                  <a:pt x="3263608" y="4411731"/>
                </a:cubicBezTo>
                <a:cubicBezTo>
                  <a:pt x="3276862" y="4388761"/>
                  <a:pt x="3289148" y="4365508"/>
                  <a:pt x="3300893" y="4342302"/>
                </a:cubicBezTo>
                <a:cubicBezTo>
                  <a:pt x="3312661" y="4319073"/>
                  <a:pt x="3323863" y="4295867"/>
                  <a:pt x="3334853" y="4272519"/>
                </a:cubicBezTo>
                <a:cubicBezTo>
                  <a:pt x="3356785" y="4225848"/>
                  <a:pt x="3377633" y="4178847"/>
                  <a:pt x="3398009" y="4131232"/>
                </a:cubicBezTo>
                <a:cubicBezTo>
                  <a:pt x="3408197" y="4107413"/>
                  <a:pt x="3418266" y="4083429"/>
                  <a:pt x="3428195" y="4059327"/>
                </a:cubicBezTo>
                <a:cubicBezTo>
                  <a:pt x="3438100" y="4035248"/>
                  <a:pt x="3447840" y="4011052"/>
                  <a:pt x="3457391" y="3986785"/>
                </a:cubicBezTo>
                <a:cubicBezTo>
                  <a:pt x="3476517" y="3938251"/>
                  <a:pt x="3494936" y="3889457"/>
                  <a:pt x="3512434" y="3840710"/>
                </a:cubicBezTo>
                <a:cubicBezTo>
                  <a:pt x="3582618" y="3645442"/>
                  <a:pt x="3637402" y="3452083"/>
                  <a:pt x="3672211" y="3273227"/>
                </a:cubicBezTo>
                <a:cubicBezTo>
                  <a:pt x="3707444" y="3093995"/>
                  <a:pt x="3722372" y="2929007"/>
                  <a:pt x="3723905" y="2781140"/>
                </a:cubicBezTo>
                <a:cubicBezTo>
                  <a:pt x="3724353" y="2744138"/>
                  <a:pt x="3724047" y="2708150"/>
                  <a:pt x="3723245" y="2673176"/>
                </a:cubicBezTo>
                <a:cubicBezTo>
                  <a:pt x="3722514" y="2638131"/>
                  <a:pt x="3721264" y="2604077"/>
                  <a:pt x="3719825" y="2570990"/>
                </a:cubicBezTo>
                <a:cubicBezTo>
                  <a:pt x="3718646" y="2537738"/>
                  <a:pt x="3717325" y="2505216"/>
                  <a:pt x="3719141" y="2472129"/>
                </a:cubicBezTo>
                <a:cubicBezTo>
                  <a:pt x="3720155" y="2455550"/>
                  <a:pt x="3721948" y="2438806"/>
                  <a:pt x="3726429" y="2421425"/>
                </a:cubicBezTo>
                <a:cubicBezTo>
                  <a:pt x="3728716" y="2412747"/>
                  <a:pt x="3731640" y="2403926"/>
                  <a:pt x="3735815" y="2394988"/>
                </a:cubicBezTo>
                <a:cubicBezTo>
                  <a:pt x="3740013" y="2386050"/>
                  <a:pt x="3745437" y="2376994"/>
                  <a:pt x="3752535" y="2368198"/>
                </a:cubicBezTo>
                <a:cubicBezTo>
                  <a:pt x="3759610" y="2359401"/>
                  <a:pt x="3768360" y="2350888"/>
                  <a:pt x="3778453" y="2343200"/>
                </a:cubicBezTo>
                <a:cubicBezTo>
                  <a:pt x="3788523" y="2335512"/>
                  <a:pt x="3799843" y="2328578"/>
                  <a:pt x="3811871" y="2322494"/>
                </a:cubicBezTo>
                <a:cubicBezTo>
                  <a:pt x="3823874" y="2316385"/>
                  <a:pt x="3836704" y="2311056"/>
                  <a:pt x="3849910" y="2306410"/>
                </a:cubicBezTo>
                <a:cubicBezTo>
                  <a:pt x="3863140" y="2301717"/>
                  <a:pt x="3876866" y="2297684"/>
                  <a:pt x="3890969" y="2294146"/>
                </a:cubicBezTo>
                <a:cubicBezTo>
                  <a:pt x="3919221" y="2287119"/>
                  <a:pt x="3949031" y="2282096"/>
                  <a:pt x="3980302" y="2278723"/>
                </a:cubicBezTo>
                <a:cubicBezTo>
                  <a:pt x="4011573" y="2275351"/>
                  <a:pt x="4044330" y="2273653"/>
                  <a:pt x="4078550" y="2273582"/>
                </a:cubicBezTo>
                <a:close/>
                <a:moveTo>
                  <a:pt x="4038104" y="2229411"/>
                </a:moveTo>
                <a:cubicBezTo>
                  <a:pt x="4176561" y="2225614"/>
                  <a:pt x="4342422" y="2244480"/>
                  <a:pt x="4532573" y="2304288"/>
                </a:cubicBezTo>
                <a:cubicBezTo>
                  <a:pt x="4721640" y="2364236"/>
                  <a:pt x="4937285" y="2467012"/>
                  <a:pt x="5143685" y="2637990"/>
                </a:cubicBezTo>
                <a:cubicBezTo>
                  <a:pt x="5347138" y="2806421"/>
                  <a:pt x="5541416" y="3051333"/>
                  <a:pt x="5610704" y="3333341"/>
                </a:cubicBezTo>
                <a:cubicBezTo>
                  <a:pt x="5607426" y="3331289"/>
                  <a:pt x="5604219" y="3329214"/>
                  <a:pt x="5600987" y="3327186"/>
                </a:cubicBezTo>
                <a:cubicBezTo>
                  <a:pt x="5530474" y="3047018"/>
                  <a:pt x="5337091" y="2804370"/>
                  <a:pt x="5134842" y="2637400"/>
                </a:cubicBezTo>
                <a:cubicBezTo>
                  <a:pt x="4929668" y="2467955"/>
                  <a:pt x="4715508" y="2366076"/>
                  <a:pt x="4527668" y="2306717"/>
                </a:cubicBezTo>
                <a:cubicBezTo>
                  <a:pt x="4338743" y="2247476"/>
                  <a:pt x="4173896" y="2228892"/>
                  <a:pt x="4036406" y="2232830"/>
                </a:cubicBezTo>
                <a:cubicBezTo>
                  <a:pt x="4001927" y="2233962"/>
                  <a:pt x="3969076" y="2236674"/>
                  <a:pt x="3937828" y="2240990"/>
                </a:cubicBezTo>
                <a:cubicBezTo>
                  <a:pt x="3906580" y="2245306"/>
                  <a:pt x="3876889" y="2251202"/>
                  <a:pt x="3848990" y="2258961"/>
                </a:cubicBezTo>
                <a:cubicBezTo>
                  <a:pt x="3835052" y="2262875"/>
                  <a:pt x="3821539" y="2267215"/>
                  <a:pt x="3808592" y="2272191"/>
                </a:cubicBezTo>
                <a:cubicBezTo>
                  <a:pt x="3795597" y="2277167"/>
                  <a:pt x="3783263" y="2282638"/>
                  <a:pt x="3771637" y="2288888"/>
                </a:cubicBezTo>
                <a:cubicBezTo>
                  <a:pt x="3760034" y="2295090"/>
                  <a:pt x="3749257" y="2302000"/>
                  <a:pt x="3739705" y="2309547"/>
                </a:cubicBezTo>
                <a:cubicBezTo>
                  <a:pt x="3730154" y="2317070"/>
                  <a:pt x="3721971" y="2325277"/>
                  <a:pt x="3715344" y="2333719"/>
                </a:cubicBezTo>
                <a:cubicBezTo>
                  <a:pt x="3708693" y="2342186"/>
                  <a:pt x="3703599" y="2350864"/>
                  <a:pt x="3699685" y="2359472"/>
                </a:cubicBezTo>
                <a:cubicBezTo>
                  <a:pt x="3695793" y="2368080"/>
                  <a:pt x="3693058" y="2376617"/>
                  <a:pt x="3690959" y="2385060"/>
                </a:cubicBezTo>
                <a:cubicBezTo>
                  <a:pt x="3686855" y="2401898"/>
                  <a:pt x="3685393" y="2418265"/>
                  <a:pt x="3684756" y="2434420"/>
                </a:cubicBezTo>
                <a:cubicBezTo>
                  <a:pt x="3683672" y="2466705"/>
                  <a:pt x="3685841" y="2498448"/>
                  <a:pt x="3687987" y="2530875"/>
                </a:cubicBezTo>
                <a:cubicBezTo>
                  <a:pt x="3690393" y="2563161"/>
                  <a:pt x="3692680" y="2596366"/>
                  <a:pt x="3694567" y="2630491"/>
                </a:cubicBezTo>
                <a:cubicBezTo>
                  <a:pt x="3696524" y="2664568"/>
                  <a:pt x="3698081" y="2699613"/>
                  <a:pt x="3698953" y="2735625"/>
                </a:cubicBezTo>
                <a:cubicBezTo>
                  <a:pt x="3702727" y="2879553"/>
                  <a:pt x="3694260" y="3040084"/>
                  <a:pt x="3665347" y="3215213"/>
                </a:cubicBezTo>
                <a:cubicBezTo>
                  <a:pt x="3636882" y="3390012"/>
                  <a:pt x="3588301" y="3579668"/>
                  <a:pt x="3523093" y="3773098"/>
                </a:cubicBezTo>
                <a:cubicBezTo>
                  <a:pt x="3506845" y="3821396"/>
                  <a:pt x="3489605" y="3869883"/>
                  <a:pt x="3471541" y="3918229"/>
                </a:cubicBezTo>
                <a:cubicBezTo>
                  <a:pt x="3462508" y="3942401"/>
                  <a:pt x="3453264" y="3966551"/>
                  <a:pt x="3443854" y="3990629"/>
                </a:cubicBezTo>
                <a:cubicBezTo>
                  <a:pt x="3434397" y="4014731"/>
                  <a:pt x="3424775" y="4038763"/>
                  <a:pt x="3414988" y="4062699"/>
                </a:cubicBezTo>
                <a:cubicBezTo>
                  <a:pt x="3395437" y="4110503"/>
                  <a:pt x="3375274" y="4157905"/>
                  <a:pt x="3353742" y="4205331"/>
                </a:cubicBezTo>
                <a:cubicBezTo>
                  <a:pt x="3342988" y="4229032"/>
                  <a:pt x="3331928" y="4252733"/>
                  <a:pt x="3320207" y="4276599"/>
                </a:cubicBezTo>
                <a:cubicBezTo>
                  <a:pt x="3308510" y="4300418"/>
                  <a:pt x="3296152" y="4324497"/>
                  <a:pt x="3282662" y="4348528"/>
                </a:cubicBezTo>
                <a:cubicBezTo>
                  <a:pt x="3275941" y="4360532"/>
                  <a:pt x="3268890" y="4372512"/>
                  <a:pt x="3261626" y="4384092"/>
                </a:cubicBezTo>
                <a:cubicBezTo>
                  <a:pt x="3254386" y="4395695"/>
                  <a:pt x="3246934" y="4406850"/>
                  <a:pt x="3239599" y="4417155"/>
                </a:cubicBezTo>
                <a:cubicBezTo>
                  <a:pt x="3232241" y="4427461"/>
                  <a:pt x="3225025" y="4436895"/>
                  <a:pt x="3218068" y="4445455"/>
                </a:cubicBezTo>
                <a:cubicBezTo>
                  <a:pt x="3211087" y="4454040"/>
                  <a:pt x="3204390" y="4461775"/>
                  <a:pt x="3197857" y="4469015"/>
                </a:cubicBezTo>
                <a:cubicBezTo>
                  <a:pt x="3184816" y="4483471"/>
                  <a:pt x="3172505" y="4495853"/>
                  <a:pt x="3160360" y="4507668"/>
                </a:cubicBezTo>
                <a:cubicBezTo>
                  <a:pt x="3157318" y="4510616"/>
                  <a:pt x="3154299" y="4513516"/>
                  <a:pt x="3151280" y="4516370"/>
                </a:cubicBezTo>
                <a:cubicBezTo>
                  <a:pt x="3149771" y="4517785"/>
                  <a:pt x="3148262" y="4519224"/>
                  <a:pt x="3146752" y="4520639"/>
                </a:cubicBezTo>
                <a:cubicBezTo>
                  <a:pt x="3145243" y="4522054"/>
                  <a:pt x="3143804" y="4523327"/>
                  <a:pt x="3142319" y="4524695"/>
                </a:cubicBezTo>
                <a:cubicBezTo>
                  <a:pt x="3140856" y="4526039"/>
                  <a:pt x="3139371" y="4527383"/>
                  <a:pt x="3137885" y="4528727"/>
                </a:cubicBezTo>
                <a:cubicBezTo>
                  <a:pt x="3136423" y="4530025"/>
                  <a:pt x="3134961" y="4531345"/>
                  <a:pt x="3133500" y="4532666"/>
                </a:cubicBezTo>
                <a:cubicBezTo>
                  <a:pt x="3130554" y="4535284"/>
                  <a:pt x="3127604" y="4537925"/>
                  <a:pt x="3124634" y="4540590"/>
                </a:cubicBezTo>
                <a:cubicBezTo>
                  <a:pt x="3077207" y="4582757"/>
                  <a:pt x="3026151" y="4627258"/>
                  <a:pt x="2968183" y="4673151"/>
                </a:cubicBezTo>
                <a:cubicBezTo>
                  <a:pt x="2910147" y="4718926"/>
                  <a:pt x="2845386" y="4766140"/>
                  <a:pt x="2768341" y="4813542"/>
                </a:cubicBezTo>
                <a:cubicBezTo>
                  <a:pt x="2691318" y="4860873"/>
                  <a:pt x="2601490" y="4908559"/>
                  <a:pt x="2493620" y="4953249"/>
                </a:cubicBezTo>
                <a:cubicBezTo>
                  <a:pt x="2601560" y="4908465"/>
                  <a:pt x="2691436" y="4860662"/>
                  <a:pt x="2768529" y="4813212"/>
                </a:cubicBezTo>
                <a:cubicBezTo>
                  <a:pt x="2845644" y="4765692"/>
                  <a:pt x="2910474" y="4718360"/>
                  <a:pt x="2968559" y="4672420"/>
                </a:cubicBezTo>
                <a:cubicBezTo>
                  <a:pt x="3026597" y="4626386"/>
                  <a:pt x="3077728" y="4581719"/>
                  <a:pt x="3125225" y="4539364"/>
                </a:cubicBezTo>
                <a:cubicBezTo>
                  <a:pt x="3128193" y="4536699"/>
                  <a:pt x="3131144" y="4534057"/>
                  <a:pt x="3134089" y="4531416"/>
                </a:cubicBezTo>
                <a:cubicBezTo>
                  <a:pt x="3135550" y="4530095"/>
                  <a:pt x="3137036" y="4528775"/>
                  <a:pt x="3138498" y="4527454"/>
                </a:cubicBezTo>
                <a:cubicBezTo>
                  <a:pt x="3139984" y="4526110"/>
                  <a:pt x="3141446" y="4524766"/>
                  <a:pt x="3142908" y="4523421"/>
                </a:cubicBezTo>
                <a:cubicBezTo>
                  <a:pt x="3144394" y="4522054"/>
                  <a:pt x="3145809" y="4520804"/>
                  <a:pt x="3147318" y="4519365"/>
                </a:cubicBezTo>
                <a:cubicBezTo>
                  <a:pt x="3148828" y="4517926"/>
                  <a:pt x="3150337" y="4516512"/>
                  <a:pt x="3151846" y="4515073"/>
                </a:cubicBezTo>
                <a:cubicBezTo>
                  <a:pt x="3154865" y="4512196"/>
                  <a:pt x="3157884" y="4509295"/>
                  <a:pt x="3160926" y="4506347"/>
                </a:cubicBezTo>
                <a:cubicBezTo>
                  <a:pt x="3173071" y="4494508"/>
                  <a:pt x="3185358" y="4482104"/>
                  <a:pt x="3198352" y="4467694"/>
                </a:cubicBezTo>
                <a:cubicBezTo>
                  <a:pt x="3204861" y="4460478"/>
                  <a:pt x="3211512" y="4452766"/>
                  <a:pt x="3218422" y="4444253"/>
                </a:cubicBezTo>
                <a:cubicBezTo>
                  <a:pt x="3225308" y="4435739"/>
                  <a:pt x="3232454" y="4426423"/>
                  <a:pt x="3239694" y="4416259"/>
                </a:cubicBezTo>
                <a:cubicBezTo>
                  <a:pt x="3254197" y="4395931"/>
                  <a:pt x="3268866" y="4372253"/>
                  <a:pt x="3282144" y="4348552"/>
                </a:cubicBezTo>
                <a:cubicBezTo>
                  <a:pt x="3295492" y="4324756"/>
                  <a:pt x="3307731" y="4300866"/>
                  <a:pt x="3319382" y="4277142"/>
                </a:cubicBezTo>
                <a:cubicBezTo>
                  <a:pt x="3331032" y="4253393"/>
                  <a:pt x="3342045" y="4229787"/>
                  <a:pt x="3352752" y="4206156"/>
                </a:cubicBezTo>
                <a:cubicBezTo>
                  <a:pt x="3374189" y="4158872"/>
                  <a:pt x="3394305" y="4111564"/>
                  <a:pt x="3413785" y="4063831"/>
                </a:cubicBezTo>
                <a:cubicBezTo>
                  <a:pt x="3423548" y="4039942"/>
                  <a:pt x="3433147" y="4015958"/>
                  <a:pt x="3442580" y="3991879"/>
                </a:cubicBezTo>
                <a:cubicBezTo>
                  <a:pt x="3451966" y="3967848"/>
                  <a:pt x="3461187" y="3943722"/>
                  <a:pt x="3470196" y="3919597"/>
                </a:cubicBezTo>
                <a:cubicBezTo>
                  <a:pt x="3488214" y="3871322"/>
                  <a:pt x="3505406" y="3822905"/>
                  <a:pt x="3521608" y="3774678"/>
                </a:cubicBezTo>
                <a:cubicBezTo>
                  <a:pt x="3586603" y="3581531"/>
                  <a:pt x="3634996" y="3392134"/>
                  <a:pt x="3663225" y="3217548"/>
                </a:cubicBezTo>
                <a:cubicBezTo>
                  <a:pt x="3691902" y="3042607"/>
                  <a:pt x="3700085" y="2882242"/>
                  <a:pt x="3695864" y="2738384"/>
                </a:cubicBezTo>
                <a:cubicBezTo>
                  <a:pt x="3694874" y="2702372"/>
                  <a:pt x="3693199" y="2667375"/>
                  <a:pt x="3691100" y="2633297"/>
                </a:cubicBezTo>
                <a:cubicBezTo>
                  <a:pt x="3689072" y="2599172"/>
                  <a:pt x="3686596" y="2565967"/>
                  <a:pt x="3684025" y="2533681"/>
                </a:cubicBezTo>
                <a:cubicBezTo>
                  <a:pt x="3681691" y="2501207"/>
                  <a:pt x="3679332" y="2469417"/>
                  <a:pt x="3680158" y="2436873"/>
                </a:cubicBezTo>
                <a:cubicBezTo>
                  <a:pt x="3680676" y="2420576"/>
                  <a:pt x="3681997" y="2404045"/>
                  <a:pt x="3686030" y="2386782"/>
                </a:cubicBezTo>
                <a:cubicBezTo>
                  <a:pt x="3688082" y="2378174"/>
                  <a:pt x="3690794" y="2369377"/>
                  <a:pt x="3694756" y="2360416"/>
                </a:cubicBezTo>
                <a:cubicBezTo>
                  <a:pt x="3698741" y="2351454"/>
                  <a:pt x="3703977" y="2342351"/>
                  <a:pt x="3710887" y="2333413"/>
                </a:cubicBezTo>
                <a:cubicBezTo>
                  <a:pt x="3717773" y="2324475"/>
                  <a:pt x="3726381" y="2315773"/>
                  <a:pt x="3736380" y="2307849"/>
                </a:cubicBezTo>
                <a:cubicBezTo>
                  <a:pt x="3746332" y="2299901"/>
                  <a:pt x="3757581" y="2292685"/>
                  <a:pt x="3769562" y="2286246"/>
                </a:cubicBezTo>
                <a:cubicBezTo>
                  <a:pt x="3781518" y="2279808"/>
                  <a:pt x="3794348" y="2274125"/>
                  <a:pt x="3807531" y="2269078"/>
                </a:cubicBezTo>
                <a:cubicBezTo>
                  <a:pt x="3820784" y="2263984"/>
                  <a:pt x="3834533" y="2259574"/>
                  <a:pt x="3848707" y="2255612"/>
                </a:cubicBezTo>
                <a:cubicBezTo>
                  <a:pt x="3877078" y="2247735"/>
                  <a:pt x="3907075" y="2241839"/>
                  <a:pt x="3938653" y="2237500"/>
                </a:cubicBezTo>
                <a:cubicBezTo>
                  <a:pt x="3970231" y="2233184"/>
                  <a:pt x="4003366" y="2230496"/>
                  <a:pt x="4038104" y="2229411"/>
                </a:cubicBezTo>
                <a:close/>
                <a:moveTo>
                  <a:pt x="4106506" y="2186316"/>
                </a:moveTo>
                <a:cubicBezTo>
                  <a:pt x="4222423" y="2189487"/>
                  <a:pt x="4354397" y="2207520"/>
                  <a:pt x="4501892" y="2248183"/>
                </a:cubicBezTo>
                <a:cubicBezTo>
                  <a:pt x="4697562" y="2302660"/>
                  <a:pt x="4923207" y="2398927"/>
                  <a:pt x="5146304" y="2566132"/>
                </a:cubicBezTo>
                <a:cubicBezTo>
                  <a:pt x="5366123" y="2730884"/>
                  <a:pt x="5584645" y="2975702"/>
                  <a:pt x="5681242" y="3268346"/>
                </a:cubicBezTo>
                <a:cubicBezTo>
                  <a:pt x="5677681" y="3266176"/>
                  <a:pt x="5674144" y="3264030"/>
                  <a:pt x="5670630" y="3261884"/>
                </a:cubicBezTo>
                <a:cubicBezTo>
                  <a:pt x="5573042" y="2971268"/>
                  <a:pt x="5355652" y="2728785"/>
                  <a:pt x="5137177" y="2565542"/>
                </a:cubicBezTo>
                <a:cubicBezTo>
                  <a:pt x="4915448" y="2399894"/>
                  <a:pt x="4691360" y="2304523"/>
                  <a:pt x="4496963" y="2250588"/>
                </a:cubicBezTo>
                <a:cubicBezTo>
                  <a:pt x="4301553" y="2196913"/>
                  <a:pt x="4133570" y="2183211"/>
                  <a:pt x="3994311" y="2191159"/>
                </a:cubicBezTo>
                <a:cubicBezTo>
                  <a:pt x="3959408" y="2193305"/>
                  <a:pt x="3926226" y="2196960"/>
                  <a:pt x="3894719" y="2202195"/>
                </a:cubicBezTo>
                <a:cubicBezTo>
                  <a:pt x="3863212" y="2207431"/>
                  <a:pt x="3833379" y="2214176"/>
                  <a:pt x="3805409" y="2222760"/>
                </a:cubicBezTo>
                <a:cubicBezTo>
                  <a:pt x="3791424" y="2227076"/>
                  <a:pt x="3777887" y="2231816"/>
                  <a:pt x="3764964" y="2237146"/>
                </a:cubicBezTo>
                <a:cubicBezTo>
                  <a:pt x="3751969" y="2242476"/>
                  <a:pt x="3739659" y="2248324"/>
                  <a:pt x="3728103" y="2254880"/>
                </a:cubicBezTo>
                <a:cubicBezTo>
                  <a:pt x="3716548" y="2261413"/>
                  <a:pt x="3705841" y="2268582"/>
                  <a:pt x="3696431" y="2276388"/>
                </a:cubicBezTo>
                <a:cubicBezTo>
                  <a:pt x="3686974" y="2284171"/>
                  <a:pt x="3678932" y="2292543"/>
                  <a:pt x="3672470" y="2301127"/>
                </a:cubicBezTo>
                <a:cubicBezTo>
                  <a:pt x="3665985" y="2309711"/>
                  <a:pt x="3661056" y="2318484"/>
                  <a:pt x="3657330" y="2327116"/>
                </a:cubicBezTo>
                <a:cubicBezTo>
                  <a:pt x="3653627" y="2335747"/>
                  <a:pt x="3651081" y="2344284"/>
                  <a:pt x="3649194" y="2352680"/>
                </a:cubicBezTo>
                <a:cubicBezTo>
                  <a:pt x="3645491" y="2369424"/>
                  <a:pt x="3644454" y="2385602"/>
                  <a:pt x="3644289" y="2401544"/>
                </a:cubicBezTo>
                <a:cubicBezTo>
                  <a:pt x="3644100" y="2433358"/>
                  <a:pt x="3647236" y="2464464"/>
                  <a:pt x="3650420" y="2496184"/>
                </a:cubicBezTo>
                <a:cubicBezTo>
                  <a:pt x="3653863" y="2527762"/>
                  <a:pt x="3657307" y="2560165"/>
                  <a:pt x="3660419" y="2593441"/>
                </a:cubicBezTo>
                <a:cubicBezTo>
                  <a:pt x="3663603" y="2626670"/>
                  <a:pt x="3666433" y="2660818"/>
                  <a:pt x="3668674" y="2695887"/>
                </a:cubicBezTo>
                <a:cubicBezTo>
                  <a:pt x="3677871" y="2836042"/>
                  <a:pt x="3675937" y="2992045"/>
                  <a:pt x="3653486" y="3162905"/>
                </a:cubicBezTo>
                <a:cubicBezTo>
                  <a:pt x="3631483" y="3333435"/>
                  <a:pt x="3589316" y="3518965"/>
                  <a:pt x="3529485" y="3709847"/>
                </a:cubicBezTo>
                <a:cubicBezTo>
                  <a:pt x="3514581" y="3757533"/>
                  <a:pt x="3498615" y="3805477"/>
                  <a:pt x="3481729" y="3853422"/>
                </a:cubicBezTo>
                <a:cubicBezTo>
                  <a:pt x="3473287" y="3877406"/>
                  <a:pt x="3464631" y="3901390"/>
                  <a:pt x="3455741" y="3925327"/>
                </a:cubicBezTo>
                <a:cubicBezTo>
                  <a:pt x="3446826" y="3949311"/>
                  <a:pt x="3437723" y="3973272"/>
                  <a:pt x="3428431" y="3997138"/>
                </a:cubicBezTo>
                <a:cubicBezTo>
                  <a:pt x="3409848" y="4044870"/>
                  <a:pt x="3390556" y="4092343"/>
                  <a:pt x="3369709" y="4140147"/>
                </a:cubicBezTo>
                <a:cubicBezTo>
                  <a:pt x="3359285" y="4164036"/>
                  <a:pt x="3348508" y="4187997"/>
                  <a:pt x="3337023" y="4212240"/>
                </a:cubicBezTo>
                <a:cubicBezTo>
                  <a:pt x="3325538" y="4236437"/>
                  <a:pt x="3313321" y="4261011"/>
                  <a:pt x="3299856" y="4285749"/>
                </a:cubicBezTo>
                <a:cubicBezTo>
                  <a:pt x="3293134" y="4298083"/>
                  <a:pt x="3286059" y="4310488"/>
                  <a:pt x="3278725" y="4322516"/>
                </a:cubicBezTo>
                <a:cubicBezTo>
                  <a:pt x="3271414" y="4334567"/>
                  <a:pt x="3263844" y="4346240"/>
                  <a:pt x="3256345" y="4357089"/>
                </a:cubicBezTo>
                <a:cubicBezTo>
                  <a:pt x="3248846" y="4367937"/>
                  <a:pt x="3241441" y="4377913"/>
                  <a:pt x="3234272" y="4387039"/>
                </a:cubicBezTo>
                <a:cubicBezTo>
                  <a:pt x="3227102" y="4396190"/>
                  <a:pt x="3220168" y="4404467"/>
                  <a:pt x="3213424" y="4412250"/>
                </a:cubicBezTo>
                <a:cubicBezTo>
                  <a:pt x="3199911" y="4427768"/>
                  <a:pt x="3187129" y="4441210"/>
                  <a:pt x="3174512" y="4454016"/>
                </a:cubicBezTo>
                <a:cubicBezTo>
                  <a:pt x="3171352" y="4457199"/>
                  <a:pt x="3168215" y="4460359"/>
                  <a:pt x="3165078" y="4463449"/>
                </a:cubicBezTo>
                <a:cubicBezTo>
                  <a:pt x="3163522" y="4464982"/>
                  <a:pt x="3161942" y="4466538"/>
                  <a:pt x="3160385" y="4468095"/>
                </a:cubicBezTo>
                <a:cubicBezTo>
                  <a:pt x="3158805" y="4469651"/>
                  <a:pt x="3157320" y="4471019"/>
                  <a:pt x="3155763" y="4472505"/>
                </a:cubicBezTo>
                <a:cubicBezTo>
                  <a:pt x="3154229" y="4473967"/>
                  <a:pt x="3152697" y="4475429"/>
                  <a:pt x="3151141" y="4476891"/>
                </a:cubicBezTo>
                <a:cubicBezTo>
                  <a:pt x="3149608" y="4478306"/>
                  <a:pt x="3148099" y="4479745"/>
                  <a:pt x="3146565" y="4481160"/>
                </a:cubicBezTo>
                <a:cubicBezTo>
                  <a:pt x="3143499" y="4484013"/>
                  <a:pt x="3140434" y="4486891"/>
                  <a:pt x="3137344" y="4489768"/>
                </a:cubicBezTo>
                <a:cubicBezTo>
                  <a:pt x="3087963" y="4535566"/>
                  <a:pt x="3034808" y="4583275"/>
                  <a:pt x="2974457" y="4631810"/>
                </a:cubicBezTo>
                <a:cubicBezTo>
                  <a:pt x="2914014" y="4680249"/>
                  <a:pt x="2846567" y="4729562"/>
                  <a:pt x="2766221" y="4778309"/>
                </a:cubicBezTo>
                <a:cubicBezTo>
                  <a:pt x="2685897" y="4826961"/>
                  <a:pt x="2592176" y="4875212"/>
                  <a:pt x="2479473" y="4919101"/>
                </a:cubicBezTo>
                <a:cubicBezTo>
                  <a:pt x="2592270" y="4875117"/>
                  <a:pt x="2686038" y="4826772"/>
                  <a:pt x="2766434" y="4777978"/>
                </a:cubicBezTo>
                <a:cubicBezTo>
                  <a:pt x="2846826" y="4729114"/>
                  <a:pt x="2914347" y="4679660"/>
                  <a:pt x="2974858" y="4631078"/>
                </a:cubicBezTo>
                <a:cubicBezTo>
                  <a:pt x="3035279" y="4582379"/>
                  <a:pt x="3088507" y="4534505"/>
                  <a:pt x="3137957" y="4488518"/>
                </a:cubicBezTo>
                <a:cubicBezTo>
                  <a:pt x="3141047" y="4485617"/>
                  <a:pt x="3144135" y="4482740"/>
                  <a:pt x="3147202" y="4479886"/>
                </a:cubicBezTo>
                <a:cubicBezTo>
                  <a:pt x="3148735" y="4478448"/>
                  <a:pt x="3150268" y="4477009"/>
                  <a:pt x="3151777" y="4475594"/>
                </a:cubicBezTo>
                <a:cubicBezTo>
                  <a:pt x="3153310" y="4474132"/>
                  <a:pt x="3154843" y="4472670"/>
                  <a:pt x="3156376" y="4471208"/>
                </a:cubicBezTo>
                <a:cubicBezTo>
                  <a:pt x="3157908" y="4469722"/>
                  <a:pt x="3159418" y="4468354"/>
                  <a:pt x="3160975" y="4466798"/>
                </a:cubicBezTo>
                <a:cubicBezTo>
                  <a:pt x="3162555" y="4465241"/>
                  <a:pt x="3164112" y="4463708"/>
                  <a:pt x="3165668" y="4462152"/>
                </a:cubicBezTo>
                <a:cubicBezTo>
                  <a:pt x="3168805" y="4459039"/>
                  <a:pt x="3171941" y="4455879"/>
                  <a:pt x="3175101" y="4452695"/>
                </a:cubicBezTo>
                <a:cubicBezTo>
                  <a:pt x="3187718" y="4439866"/>
                  <a:pt x="3200500" y="4426423"/>
                  <a:pt x="3213919" y="4410953"/>
                </a:cubicBezTo>
                <a:cubicBezTo>
                  <a:pt x="3220641" y="4403194"/>
                  <a:pt x="3227527" y="4394963"/>
                  <a:pt x="3234625" y="4385884"/>
                </a:cubicBezTo>
                <a:cubicBezTo>
                  <a:pt x="3241724" y="4376828"/>
                  <a:pt x="3249035" y="4366946"/>
                  <a:pt x="3256415" y="4356263"/>
                </a:cubicBezTo>
                <a:cubicBezTo>
                  <a:pt x="3271225" y="4334873"/>
                  <a:pt x="3286036" y="4310276"/>
                  <a:pt x="3299290" y="4285891"/>
                </a:cubicBezTo>
                <a:cubicBezTo>
                  <a:pt x="3312614" y="4261411"/>
                  <a:pt x="3324736" y="4237003"/>
                  <a:pt x="3336150" y="4212924"/>
                </a:cubicBezTo>
                <a:cubicBezTo>
                  <a:pt x="3347588" y="4188799"/>
                  <a:pt x="3358295" y="4164933"/>
                  <a:pt x="3368695" y="4141113"/>
                </a:cubicBezTo>
                <a:cubicBezTo>
                  <a:pt x="3389448" y="4093452"/>
                  <a:pt x="3408716" y="4046073"/>
                  <a:pt x="3427229" y="3998411"/>
                </a:cubicBezTo>
                <a:cubicBezTo>
                  <a:pt x="3436497" y="3974569"/>
                  <a:pt x="3445600" y="3950655"/>
                  <a:pt x="3454467" y="3926719"/>
                </a:cubicBezTo>
                <a:cubicBezTo>
                  <a:pt x="3463311" y="3902805"/>
                  <a:pt x="3471966" y="3878844"/>
                  <a:pt x="3480385" y="3854907"/>
                </a:cubicBezTo>
                <a:cubicBezTo>
                  <a:pt x="3497224" y="3807010"/>
                  <a:pt x="3513142" y="3759136"/>
                  <a:pt x="3528000" y="3711545"/>
                </a:cubicBezTo>
                <a:cubicBezTo>
                  <a:pt x="3587642" y="3520946"/>
                  <a:pt x="3629620" y="3335652"/>
                  <a:pt x="3651411" y="3165358"/>
                </a:cubicBezTo>
                <a:cubicBezTo>
                  <a:pt x="3673626" y="2994710"/>
                  <a:pt x="3675300" y="2838848"/>
                  <a:pt x="3665655" y="2698787"/>
                </a:cubicBezTo>
                <a:cubicBezTo>
                  <a:pt x="3663320" y="2663743"/>
                  <a:pt x="3660349" y="2629618"/>
                  <a:pt x="3657023" y="2596389"/>
                </a:cubicBezTo>
                <a:cubicBezTo>
                  <a:pt x="3653769" y="2563089"/>
                  <a:pt x="3650184" y="2530710"/>
                  <a:pt x="3646552" y="2499132"/>
                </a:cubicBezTo>
                <a:cubicBezTo>
                  <a:pt x="3643180" y="2467389"/>
                  <a:pt x="3639831" y="2436259"/>
                  <a:pt x="3639761" y="2404162"/>
                </a:cubicBezTo>
                <a:cubicBezTo>
                  <a:pt x="3639831" y="2388102"/>
                  <a:pt x="3640704" y="2371759"/>
                  <a:pt x="3644336" y="2354590"/>
                </a:cubicBezTo>
                <a:cubicBezTo>
                  <a:pt x="3646175" y="2346006"/>
                  <a:pt x="3648699" y="2337257"/>
                  <a:pt x="3652448" y="2328248"/>
                </a:cubicBezTo>
                <a:cubicBezTo>
                  <a:pt x="3656245" y="2319263"/>
                  <a:pt x="3661292" y="2310089"/>
                  <a:pt x="3668013" y="2301009"/>
                </a:cubicBezTo>
                <a:cubicBezTo>
                  <a:pt x="3674734" y="2291953"/>
                  <a:pt x="3683201" y="2283039"/>
                  <a:pt x="3693059" y="2274855"/>
                </a:cubicBezTo>
                <a:cubicBezTo>
                  <a:pt x="3702893" y="2266648"/>
                  <a:pt x="3714048" y="2259125"/>
                  <a:pt x="3725981" y="2252381"/>
                </a:cubicBezTo>
                <a:cubicBezTo>
                  <a:pt x="3737890" y="2245612"/>
                  <a:pt x="3750672" y="2239551"/>
                  <a:pt x="3763855" y="2234151"/>
                </a:cubicBezTo>
                <a:cubicBezTo>
                  <a:pt x="3777086" y="2228680"/>
                  <a:pt x="3790858" y="2223868"/>
                  <a:pt x="3805079" y="2219506"/>
                </a:cubicBezTo>
                <a:cubicBezTo>
                  <a:pt x="3833520" y="2210803"/>
                  <a:pt x="3863683" y="2204035"/>
                  <a:pt x="3895497" y="2198799"/>
                </a:cubicBezTo>
                <a:cubicBezTo>
                  <a:pt x="3927311" y="2193564"/>
                  <a:pt x="3960799" y="2189932"/>
                  <a:pt x="3995962" y="2187810"/>
                </a:cubicBezTo>
                <a:cubicBezTo>
                  <a:pt x="4031013" y="2185853"/>
                  <a:pt x="4067867" y="2185259"/>
                  <a:pt x="4106506" y="2186316"/>
                </a:cubicBezTo>
                <a:close/>
                <a:moveTo>
                  <a:pt x="4064551" y="2143850"/>
                </a:moveTo>
                <a:cubicBezTo>
                  <a:pt x="4182181" y="2143774"/>
                  <a:pt x="4316857" y="2158066"/>
                  <a:pt x="4468898" y="2194484"/>
                </a:cubicBezTo>
                <a:cubicBezTo>
                  <a:pt x="4670653" y="2243466"/>
                  <a:pt x="4905636" y="2332894"/>
                  <a:pt x="5144959" y="2495500"/>
                </a:cubicBezTo>
                <a:cubicBezTo>
                  <a:pt x="5380697" y="2655772"/>
                  <a:pt x="5623321" y="2898985"/>
                  <a:pt x="5748878" y="3201228"/>
                </a:cubicBezTo>
                <a:cubicBezTo>
                  <a:pt x="5745010" y="3199058"/>
                  <a:pt x="5741166" y="3196818"/>
                  <a:pt x="5737346" y="3194625"/>
                </a:cubicBezTo>
                <a:cubicBezTo>
                  <a:pt x="5611034" y="2894599"/>
                  <a:pt x="5369801" y="2653814"/>
                  <a:pt x="5135526" y="2495052"/>
                </a:cubicBezTo>
                <a:cubicBezTo>
                  <a:pt x="4897712" y="2334002"/>
                  <a:pt x="4664380" y="2245424"/>
                  <a:pt x="4463946" y="2196960"/>
                </a:cubicBezTo>
                <a:cubicBezTo>
                  <a:pt x="4262545" y="2148921"/>
                  <a:pt x="4091779" y="2139959"/>
                  <a:pt x="3951035" y="2151798"/>
                </a:cubicBezTo>
                <a:cubicBezTo>
                  <a:pt x="3915778" y="2154911"/>
                  <a:pt x="3882313" y="2159510"/>
                  <a:pt x="3850617" y="2165618"/>
                </a:cubicBezTo>
                <a:cubicBezTo>
                  <a:pt x="3818921" y="2171726"/>
                  <a:pt x="3788947" y="2179320"/>
                  <a:pt x="3760930" y="2188682"/>
                </a:cubicBezTo>
                <a:cubicBezTo>
                  <a:pt x="3746922" y="2193399"/>
                  <a:pt x="3733385" y="2198517"/>
                  <a:pt x="3720485" y="2204200"/>
                </a:cubicBezTo>
                <a:cubicBezTo>
                  <a:pt x="3707514" y="2209884"/>
                  <a:pt x="3695251" y="2216063"/>
                  <a:pt x="3683742" y="2222949"/>
                </a:cubicBezTo>
                <a:cubicBezTo>
                  <a:pt x="3672257" y="2229788"/>
                  <a:pt x="3661621" y="2237264"/>
                  <a:pt x="3652306" y="2245306"/>
                </a:cubicBezTo>
                <a:cubicBezTo>
                  <a:pt x="3642967" y="2253324"/>
                  <a:pt x="3635067" y="2261885"/>
                  <a:pt x="3628723" y="2270611"/>
                </a:cubicBezTo>
                <a:cubicBezTo>
                  <a:pt x="3622379" y="2279336"/>
                  <a:pt x="3617639" y="2288180"/>
                  <a:pt x="3614077" y="2296859"/>
                </a:cubicBezTo>
                <a:cubicBezTo>
                  <a:pt x="3610540" y="2305537"/>
                  <a:pt x="3608182" y="2314051"/>
                  <a:pt x="3606484" y="2322423"/>
                </a:cubicBezTo>
                <a:cubicBezTo>
                  <a:pt x="3603158" y="2339120"/>
                  <a:pt x="3602522" y="2355156"/>
                  <a:pt x="3602734" y="2370886"/>
                </a:cubicBezTo>
                <a:cubicBezTo>
                  <a:pt x="3603371" y="2402323"/>
                  <a:pt x="3607380" y="2432816"/>
                  <a:pt x="3611531" y="2463899"/>
                </a:cubicBezTo>
                <a:cubicBezTo>
                  <a:pt x="3615941" y="2494816"/>
                  <a:pt x="3620422" y="2526489"/>
                  <a:pt x="3624666" y="2559010"/>
                </a:cubicBezTo>
                <a:cubicBezTo>
                  <a:pt x="3628982" y="2591460"/>
                  <a:pt x="3633015" y="2624760"/>
                  <a:pt x="3636529" y="2658955"/>
                </a:cubicBezTo>
                <a:cubicBezTo>
                  <a:pt x="3650820" y="2795573"/>
                  <a:pt x="3655160" y="2947237"/>
                  <a:pt x="3639052" y="3113805"/>
                </a:cubicBezTo>
                <a:cubicBezTo>
                  <a:pt x="3623393" y="3280067"/>
                  <a:pt x="3587570" y="3461398"/>
                  <a:pt x="3533211" y="3649427"/>
                </a:cubicBezTo>
                <a:cubicBezTo>
                  <a:pt x="3519674" y="3696381"/>
                  <a:pt x="3505005" y="3743713"/>
                  <a:pt x="3489369" y="3791162"/>
                </a:cubicBezTo>
                <a:cubicBezTo>
                  <a:pt x="3481540" y="3814887"/>
                  <a:pt x="3473474" y="3838635"/>
                  <a:pt x="3465197" y="3862407"/>
                </a:cubicBezTo>
                <a:cubicBezTo>
                  <a:pt x="3456872" y="3886203"/>
                  <a:pt x="3448311" y="3909998"/>
                  <a:pt x="3439538" y="3933746"/>
                </a:cubicBezTo>
                <a:cubicBezTo>
                  <a:pt x="3422016" y="3981219"/>
                  <a:pt x="3403692" y="4028598"/>
                  <a:pt x="3383646" y="4076566"/>
                </a:cubicBezTo>
                <a:cubicBezTo>
                  <a:pt x="3373623" y="4100550"/>
                  <a:pt x="3363223" y="4124652"/>
                  <a:pt x="3351997" y="4149155"/>
                </a:cubicBezTo>
                <a:cubicBezTo>
                  <a:pt x="3340795" y="4173611"/>
                  <a:pt x="3328839" y="4198562"/>
                  <a:pt x="3315467" y="4223867"/>
                </a:cubicBezTo>
                <a:cubicBezTo>
                  <a:pt x="3308793" y="4236508"/>
                  <a:pt x="3301741" y="4249219"/>
                  <a:pt x="3294383" y="4261671"/>
                </a:cubicBezTo>
                <a:cubicBezTo>
                  <a:pt x="3287049" y="4274123"/>
                  <a:pt x="3279408" y="4286245"/>
                  <a:pt x="3271814" y="4297588"/>
                </a:cubicBezTo>
                <a:cubicBezTo>
                  <a:pt x="3264197" y="4308932"/>
                  <a:pt x="3256650" y="4319426"/>
                  <a:pt x="3249339" y="4329072"/>
                </a:cubicBezTo>
                <a:cubicBezTo>
                  <a:pt x="3242005" y="4338741"/>
                  <a:pt x="3234906" y="4347538"/>
                  <a:pt x="3227949" y="4355839"/>
                </a:cubicBezTo>
                <a:cubicBezTo>
                  <a:pt x="3214059" y="4372394"/>
                  <a:pt x="3200852" y="4386804"/>
                  <a:pt x="3187787" y="4400553"/>
                </a:cubicBezTo>
                <a:cubicBezTo>
                  <a:pt x="3184533" y="4403972"/>
                  <a:pt x="3181278" y="4407368"/>
                  <a:pt x="3178024" y="4410693"/>
                </a:cubicBezTo>
                <a:cubicBezTo>
                  <a:pt x="3176397" y="4412344"/>
                  <a:pt x="3174793" y="4414019"/>
                  <a:pt x="3173166" y="4415669"/>
                </a:cubicBezTo>
                <a:cubicBezTo>
                  <a:pt x="3171538" y="4417320"/>
                  <a:pt x="3169982" y="4418830"/>
                  <a:pt x="3168378" y="4420410"/>
                </a:cubicBezTo>
                <a:cubicBezTo>
                  <a:pt x="3166798" y="4421990"/>
                  <a:pt x="3165195" y="4423546"/>
                  <a:pt x="3163591" y="4425126"/>
                </a:cubicBezTo>
                <a:cubicBezTo>
                  <a:pt x="3162011" y="4426659"/>
                  <a:pt x="3160431" y="4428192"/>
                  <a:pt x="3158850" y="4429749"/>
                </a:cubicBezTo>
                <a:cubicBezTo>
                  <a:pt x="3155667" y="4432838"/>
                  <a:pt x="3152483" y="4435904"/>
                  <a:pt x="3149276" y="4439017"/>
                </a:cubicBezTo>
                <a:cubicBezTo>
                  <a:pt x="3098080" y="4488306"/>
                  <a:pt x="3042964" y="4539033"/>
                  <a:pt x="2980350" y="4590044"/>
                </a:cubicBezTo>
                <a:cubicBezTo>
                  <a:pt x="2917642" y="4640936"/>
                  <a:pt x="2847602" y="4692136"/>
                  <a:pt x="2764001" y="4741990"/>
                </a:cubicBezTo>
                <a:cubicBezTo>
                  <a:pt x="2680422" y="4791727"/>
                  <a:pt x="2582811" y="4840262"/>
                  <a:pt x="2464989" y="4883018"/>
                </a:cubicBezTo>
                <a:cubicBezTo>
                  <a:pt x="2582881" y="4840167"/>
                  <a:pt x="2680563" y="4791515"/>
                  <a:pt x="2764213" y="4741660"/>
                </a:cubicBezTo>
                <a:cubicBezTo>
                  <a:pt x="2847860" y="4691688"/>
                  <a:pt x="2917975" y="4640347"/>
                  <a:pt x="2980750" y="4589289"/>
                </a:cubicBezTo>
                <a:cubicBezTo>
                  <a:pt x="3043434" y="4538137"/>
                  <a:pt x="3098596" y="4487221"/>
                  <a:pt x="3149889" y="4437743"/>
                </a:cubicBezTo>
                <a:cubicBezTo>
                  <a:pt x="3153096" y="4434630"/>
                  <a:pt x="3156280" y="4431541"/>
                  <a:pt x="3159464" y="4428452"/>
                </a:cubicBezTo>
                <a:cubicBezTo>
                  <a:pt x="3161044" y="4426919"/>
                  <a:pt x="3162648" y="4425362"/>
                  <a:pt x="3164228" y="4423829"/>
                </a:cubicBezTo>
                <a:cubicBezTo>
                  <a:pt x="3165831" y="4422249"/>
                  <a:pt x="3167411" y="4420693"/>
                  <a:pt x="3168991" y="4419113"/>
                </a:cubicBezTo>
                <a:cubicBezTo>
                  <a:pt x="3170595" y="4417533"/>
                  <a:pt x="3172128" y="4416023"/>
                  <a:pt x="3173755" y="4414372"/>
                </a:cubicBezTo>
                <a:cubicBezTo>
                  <a:pt x="3175382" y="4412698"/>
                  <a:pt x="3177010" y="4411047"/>
                  <a:pt x="3178613" y="4409373"/>
                </a:cubicBezTo>
                <a:cubicBezTo>
                  <a:pt x="3181868" y="4406024"/>
                  <a:pt x="3185099" y="4402652"/>
                  <a:pt x="3188377" y="4399208"/>
                </a:cubicBezTo>
                <a:cubicBezTo>
                  <a:pt x="3201418" y="4385436"/>
                  <a:pt x="3214625" y="4371003"/>
                  <a:pt x="3228421" y="4354518"/>
                </a:cubicBezTo>
                <a:cubicBezTo>
                  <a:pt x="3235331" y="4346240"/>
                  <a:pt x="3242406" y="4337491"/>
                  <a:pt x="3249646" y="4327916"/>
                </a:cubicBezTo>
                <a:cubicBezTo>
                  <a:pt x="3256910" y="4318365"/>
                  <a:pt x="3264362" y="4307965"/>
                  <a:pt x="3271838" y="4296786"/>
                </a:cubicBezTo>
                <a:cubicBezTo>
                  <a:pt x="3286860" y="4274430"/>
                  <a:pt x="3301718" y="4249030"/>
                  <a:pt x="3314854" y="4224079"/>
                </a:cubicBezTo>
                <a:cubicBezTo>
                  <a:pt x="3328084" y="4199034"/>
                  <a:pt x="3339970" y="4174272"/>
                  <a:pt x="3351077" y="4149910"/>
                </a:cubicBezTo>
                <a:cubicBezTo>
                  <a:pt x="3362209" y="4125525"/>
                  <a:pt x="3372585" y="4101517"/>
                  <a:pt x="3382561" y="4077604"/>
                </a:cubicBezTo>
                <a:cubicBezTo>
                  <a:pt x="3402512" y="4029777"/>
                  <a:pt x="3420813" y="3982493"/>
                  <a:pt x="3438288" y="3935091"/>
                </a:cubicBezTo>
                <a:cubicBezTo>
                  <a:pt x="3447038" y="3911366"/>
                  <a:pt x="3455575" y="3887618"/>
                  <a:pt x="3463876" y="3863869"/>
                </a:cubicBezTo>
                <a:cubicBezTo>
                  <a:pt x="3472154" y="3840144"/>
                  <a:pt x="3480195" y="3816420"/>
                  <a:pt x="3488002" y="3792742"/>
                </a:cubicBezTo>
                <a:cubicBezTo>
                  <a:pt x="3503590" y="3745364"/>
                  <a:pt x="3518212" y="3698126"/>
                  <a:pt x="3531701" y="3651219"/>
                </a:cubicBezTo>
                <a:cubicBezTo>
                  <a:pt x="3585872" y="3463473"/>
                  <a:pt x="3621530" y="3282425"/>
                  <a:pt x="3636977" y="3116352"/>
                </a:cubicBezTo>
                <a:cubicBezTo>
                  <a:pt x="3652872" y="2949972"/>
                  <a:pt x="3648297" y="2798474"/>
                  <a:pt x="3633534" y="2661950"/>
                </a:cubicBezTo>
                <a:cubicBezTo>
                  <a:pt x="3629902" y="2627778"/>
                  <a:pt x="3625728" y="2594526"/>
                  <a:pt x="3621270" y="2562076"/>
                </a:cubicBezTo>
                <a:cubicBezTo>
                  <a:pt x="3616884" y="2529578"/>
                  <a:pt x="3612238" y="2497882"/>
                  <a:pt x="3607639" y="2466964"/>
                </a:cubicBezTo>
                <a:cubicBezTo>
                  <a:pt x="3603300" y="2435858"/>
                  <a:pt x="3599079" y="2405294"/>
                  <a:pt x="3598182" y="2373622"/>
                </a:cubicBezTo>
                <a:cubicBezTo>
                  <a:pt x="3597829" y="2357751"/>
                  <a:pt x="3598324" y="2341573"/>
                  <a:pt x="3601555" y="2324451"/>
                </a:cubicBezTo>
                <a:cubicBezTo>
                  <a:pt x="3603206" y="2315890"/>
                  <a:pt x="3605540" y="2307141"/>
                  <a:pt x="3609125" y="2298109"/>
                </a:cubicBezTo>
                <a:cubicBezTo>
                  <a:pt x="3612733" y="2289076"/>
                  <a:pt x="3617615" y="2279808"/>
                  <a:pt x="3624195" y="2270587"/>
                </a:cubicBezTo>
                <a:cubicBezTo>
                  <a:pt x="3630775" y="2261366"/>
                  <a:pt x="3639076" y="2252263"/>
                  <a:pt x="3648839" y="2243844"/>
                </a:cubicBezTo>
                <a:cubicBezTo>
                  <a:pt x="3658555" y="2235401"/>
                  <a:pt x="3669640" y="2227571"/>
                  <a:pt x="3681502" y="2220496"/>
                </a:cubicBezTo>
                <a:cubicBezTo>
                  <a:pt x="3693341" y="2213398"/>
                  <a:pt x="3706076" y="2207007"/>
                  <a:pt x="3719259" y="2201229"/>
                </a:cubicBezTo>
                <a:cubicBezTo>
                  <a:pt x="3732489" y="2195404"/>
                  <a:pt x="3746262" y="2190215"/>
                  <a:pt x="3760482" y="2185452"/>
                </a:cubicBezTo>
                <a:cubicBezTo>
                  <a:pt x="3788971" y="2175971"/>
                  <a:pt x="3819275" y="2168354"/>
                  <a:pt x="3851278" y="2162222"/>
                </a:cubicBezTo>
                <a:cubicBezTo>
                  <a:pt x="3883304" y="2156090"/>
                  <a:pt x="3917051" y="2151515"/>
                  <a:pt x="3952591" y="2148426"/>
                </a:cubicBezTo>
                <a:cubicBezTo>
                  <a:pt x="3988025" y="2145496"/>
                  <a:pt x="4025341" y="2143875"/>
                  <a:pt x="4064551" y="2143850"/>
                </a:cubicBezTo>
                <a:close/>
                <a:moveTo>
                  <a:pt x="4021442" y="2103727"/>
                </a:moveTo>
                <a:cubicBezTo>
                  <a:pt x="4140582" y="2100491"/>
                  <a:pt x="4277699" y="2111135"/>
                  <a:pt x="4433878" y="2143308"/>
                </a:cubicBezTo>
                <a:cubicBezTo>
                  <a:pt x="4641269" y="2186772"/>
                  <a:pt x="4884837" y="2269219"/>
                  <a:pt x="5139866" y="2426496"/>
                </a:cubicBezTo>
                <a:cubicBezTo>
                  <a:pt x="5391027" y="2581603"/>
                  <a:pt x="5657352" y="2821703"/>
                  <a:pt x="5813332" y="3132365"/>
                </a:cubicBezTo>
                <a:cubicBezTo>
                  <a:pt x="5809157" y="3130030"/>
                  <a:pt x="5804983" y="3127743"/>
                  <a:pt x="5800809" y="3125455"/>
                </a:cubicBezTo>
                <a:cubicBezTo>
                  <a:pt x="5644335" y="2817246"/>
                  <a:pt x="5379660" y="2579621"/>
                  <a:pt x="5130102" y="2426024"/>
                </a:cubicBezTo>
                <a:cubicBezTo>
                  <a:pt x="4876771" y="2270304"/>
                  <a:pt x="4634878" y="2188682"/>
                  <a:pt x="4428855" y="2145737"/>
                </a:cubicBezTo>
                <a:cubicBezTo>
                  <a:pt x="4221983" y="2103335"/>
                  <a:pt x="4048741" y="2098948"/>
                  <a:pt x="3906699" y="2114584"/>
                </a:cubicBezTo>
                <a:cubicBezTo>
                  <a:pt x="3871135" y="2118640"/>
                  <a:pt x="3837435" y="2124135"/>
                  <a:pt x="3805574" y="2131092"/>
                </a:cubicBezTo>
                <a:cubicBezTo>
                  <a:pt x="3773713" y="2138049"/>
                  <a:pt x="3743668" y="2146445"/>
                  <a:pt x="3715628" y="2156586"/>
                </a:cubicBezTo>
                <a:cubicBezTo>
                  <a:pt x="3701619" y="2161680"/>
                  <a:pt x="3688082" y="2167151"/>
                  <a:pt x="3675206" y="2173212"/>
                </a:cubicBezTo>
                <a:cubicBezTo>
                  <a:pt x="3662259" y="2179249"/>
                  <a:pt x="3650043" y="2185758"/>
                  <a:pt x="3638605" y="2192951"/>
                </a:cubicBezTo>
                <a:cubicBezTo>
                  <a:pt x="3627167" y="2200097"/>
                  <a:pt x="3616649" y="2207856"/>
                  <a:pt x="3607428" y="2216133"/>
                </a:cubicBezTo>
                <a:cubicBezTo>
                  <a:pt x="3598183" y="2224387"/>
                  <a:pt x="3590401" y="2233160"/>
                  <a:pt x="3584222" y="2242028"/>
                </a:cubicBezTo>
                <a:cubicBezTo>
                  <a:pt x="3578019" y="2250895"/>
                  <a:pt x="3573421" y="2259857"/>
                  <a:pt x="3570025" y="2268582"/>
                </a:cubicBezTo>
                <a:cubicBezTo>
                  <a:pt x="3566653" y="2277308"/>
                  <a:pt x="3564459" y="2285845"/>
                  <a:pt x="3562926" y="2294217"/>
                </a:cubicBezTo>
                <a:cubicBezTo>
                  <a:pt x="3559931" y="2310891"/>
                  <a:pt x="3559648" y="2326809"/>
                  <a:pt x="3560214" y="2342374"/>
                </a:cubicBezTo>
                <a:cubicBezTo>
                  <a:pt x="3561582" y="2373481"/>
                  <a:pt x="3566393" y="2403502"/>
                  <a:pt x="3571416" y="2433995"/>
                </a:cubicBezTo>
                <a:cubicBezTo>
                  <a:pt x="3576699" y="2464347"/>
                  <a:pt x="3582147" y="2495382"/>
                  <a:pt x="3587429" y="2527172"/>
                </a:cubicBezTo>
                <a:cubicBezTo>
                  <a:pt x="3592783" y="2558916"/>
                  <a:pt x="3597947" y="2591437"/>
                  <a:pt x="3602664" y="2624807"/>
                </a:cubicBezTo>
                <a:cubicBezTo>
                  <a:pt x="3621743" y="2758123"/>
                  <a:pt x="3632072" y="2905589"/>
                  <a:pt x="3622120" y="3067983"/>
                </a:cubicBezTo>
                <a:cubicBezTo>
                  <a:pt x="3612616" y="3230047"/>
                  <a:pt x="3583114" y="3407133"/>
                  <a:pt x="3534296" y="3592026"/>
                </a:cubicBezTo>
                <a:cubicBezTo>
                  <a:pt x="3522127" y="3638201"/>
                  <a:pt x="3508826" y="3684825"/>
                  <a:pt x="3494441" y="3731662"/>
                </a:cubicBezTo>
                <a:cubicBezTo>
                  <a:pt x="3487248" y="3755080"/>
                  <a:pt x="3479819" y="3778569"/>
                  <a:pt x="3472107" y="3802057"/>
                </a:cubicBezTo>
                <a:cubicBezTo>
                  <a:pt x="3464372" y="3825594"/>
                  <a:pt x="3456401" y="3849177"/>
                  <a:pt x="3448194" y="3872737"/>
                </a:cubicBezTo>
                <a:cubicBezTo>
                  <a:pt x="3431803" y="3919832"/>
                  <a:pt x="3414493" y="3966951"/>
                  <a:pt x="3395368" y="4014920"/>
                </a:cubicBezTo>
                <a:cubicBezTo>
                  <a:pt x="3385793" y="4038904"/>
                  <a:pt x="3375793" y="4063053"/>
                  <a:pt x="3364945" y="4087721"/>
                </a:cubicBezTo>
                <a:cubicBezTo>
                  <a:pt x="3354121" y="4112342"/>
                  <a:pt x="3342447" y="4137552"/>
                  <a:pt x="3329264" y="4163329"/>
                </a:cubicBezTo>
                <a:cubicBezTo>
                  <a:pt x="3322684" y="4176182"/>
                  <a:pt x="3315680" y="4189200"/>
                  <a:pt x="3308345" y="4201982"/>
                </a:cubicBezTo>
                <a:cubicBezTo>
                  <a:pt x="3301035" y="4214787"/>
                  <a:pt x="3293370" y="4227310"/>
                  <a:pt x="3285706" y="4239078"/>
                </a:cubicBezTo>
                <a:cubicBezTo>
                  <a:pt x="3278041" y="4250846"/>
                  <a:pt x="3270376" y="4261813"/>
                  <a:pt x="3262924" y="4271930"/>
                </a:cubicBezTo>
                <a:cubicBezTo>
                  <a:pt x="3255472" y="4282070"/>
                  <a:pt x="3248208" y="4291362"/>
                  <a:pt x="3241086" y="4300135"/>
                </a:cubicBezTo>
                <a:cubicBezTo>
                  <a:pt x="3226866" y="4317657"/>
                  <a:pt x="3213305" y="4332987"/>
                  <a:pt x="3199863" y="4347632"/>
                </a:cubicBezTo>
                <a:cubicBezTo>
                  <a:pt x="3196514" y="4351287"/>
                  <a:pt x="3193165" y="4354895"/>
                  <a:pt x="3189816" y="4358457"/>
                </a:cubicBezTo>
                <a:cubicBezTo>
                  <a:pt x="3188142" y="4360225"/>
                  <a:pt x="3186467" y="4361994"/>
                  <a:pt x="3184793" y="4363763"/>
                </a:cubicBezTo>
                <a:cubicBezTo>
                  <a:pt x="3183119" y="4365532"/>
                  <a:pt x="3181515" y="4367135"/>
                  <a:pt x="3179864" y="4368833"/>
                </a:cubicBezTo>
                <a:cubicBezTo>
                  <a:pt x="3178213" y="4370508"/>
                  <a:pt x="3176586" y="4372182"/>
                  <a:pt x="3174935" y="4373880"/>
                </a:cubicBezTo>
                <a:cubicBezTo>
                  <a:pt x="3173308" y="4375531"/>
                  <a:pt x="3171681" y="4377158"/>
                  <a:pt x="3170030" y="4378809"/>
                </a:cubicBezTo>
                <a:cubicBezTo>
                  <a:pt x="3166752" y="4382111"/>
                  <a:pt x="3163474" y="4385389"/>
                  <a:pt x="3160149" y="4388690"/>
                </a:cubicBezTo>
                <a:cubicBezTo>
                  <a:pt x="3107302" y="4441257"/>
                  <a:pt x="3050395" y="4494862"/>
                  <a:pt x="2985635" y="4548113"/>
                </a:cubicBezTo>
                <a:cubicBezTo>
                  <a:pt x="2920781" y="4601269"/>
                  <a:pt x="2848237" y="4654143"/>
                  <a:pt x="2761430" y="4704847"/>
                </a:cubicBezTo>
                <a:cubicBezTo>
                  <a:pt x="2674597" y="4755433"/>
                  <a:pt x="2573118" y="4803967"/>
                  <a:pt x="2449825" y="4845214"/>
                </a:cubicBezTo>
                <a:cubicBezTo>
                  <a:pt x="2573212" y="4803849"/>
                  <a:pt x="2674762" y="4755197"/>
                  <a:pt x="2761642" y="4704493"/>
                </a:cubicBezTo>
                <a:cubicBezTo>
                  <a:pt x="2848520" y="4653648"/>
                  <a:pt x="2921109" y="4600656"/>
                  <a:pt x="2986037" y="4547334"/>
                </a:cubicBezTo>
                <a:cubicBezTo>
                  <a:pt x="3050866" y="4493919"/>
                  <a:pt x="3107817" y="4440149"/>
                  <a:pt x="3160738" y="4387393"/>
                </a:cubicBezTo>
                <a:cubicBezTo>
                  <a:pt x="3164040" y="4384068"/>
                  <a:pt x="3167342" y="4380766"/>
                  <a:pt x="3170619" y="4377465"/>
                </a:cubicBezTo>
                <a:cubicBezTo>
                  <a:pt x="3172247" y="4375814"/>
                  <a:pt x="3173897" y="4374163"/>
                  <a:pt x="3175525" y="4372512"/>
                </a:cubicBezTo>
                <a:cubicBezTo>
                  <a:pt x="3177176" y="4370838"/>
                  <a:pt x="3178803" y="4369163"/>
                  <a:pt x="3180454" y="4367489"/>
                </a:cubicBezTo>
                <a:cubicBezTo>
                  <a:pt x="3182105" y="4365791"/>
                  <a:pt x="3183708" y="4364187"/>
                  <a:pt x="3185382" y="4362419"/>
                </a:cubicBezTo>
                <a:cubicBezTo>
                  <a:pt x="3187057" y="4360650"/>
                  <a:pt x="3188731" y="4358858"/>
                  <a:pt x="3190382" y="4357089"/>
                </a:cubicBezTo>
                <a:cubicBezTo>
                  <a:pt x="3193731" y="4353528"/>
                  <a:pt x="3197080" y="4349919"/>
                  <a:pt x="3200429" y="4346264"/>
                </a:cubicBezTo>
                <a:cubicBezTo>
                  <a:pt x="3213848" y="4331595"/>
                  <a:pt x="3227408" y="4316243"/>
                  <a:pt x="3241558" y="4298815"/>
                </a:cubicBezTo>
                <a:cubicBezTo>
                  <a:pt x="3248633" y="4290065"/>
                  <a:pt x="3255849" y="4280844"/>
                  <a:pt x="3263231" y="4270798"/>
                </a:cubicBezTo>
                <a:cubicBezTo>
                  <a:pt x="3270612" y="4260775"/>
                  <a:pt x="3278159" y="4249927"/>
                  <a:pt x="3285729" y="4238324"/>
                </a:cubicBezTo>
                <a:cubicBezTo>
                  <a:pt x="3300870" y="4215118"/>
                  <a:pt x="3315680" y="4189011"/>
                  <a:pt x="3328627" y="4163636"/>
                </a:cubicBezTo>
                <a:cubicBezTo>
                  <a:pt x="3341668" y="4138142"/>
                  <a:pt x="3353248" y="4113097"/>
                  <a:pt x="3364025" y="4088594"/>
                </a:cubicBezTo>
                <a:cubicBezTo>
                  <a:pt x="3374803" y="4064044"/>
                  <a:pt x="3384755" y="4039989"/>
                  <a:pt x="3394306" y="4016075"/>
                </a:cubicBezTo>
                <a:cubicBezTo>
                  <a:pt x="3413362" y="3968249"/>
                  <a:pt x="3430624" y="3921224"/>
                  <a:pt x="3446968" y="3874222"/>
                </a:cubicBezTo>
                <a:cubicBezTo>
                  <a:pt x="3455151" y="3850710"/>
                  <a:pt x="3463098" y="3827174"/>
                  <a:pt x="3470810" y="3803661"/>
                </a:cubicBezTo>
                <a:cubicBezTo>
                  <a:pt x="3478475" y="3780196"/>
                  <a:pt x="3485904" y="3756754"/>
                  <a:pt x="3493073" y="3733383"/>
                </a:cubicBezTo>
                <a:cubicBezTo>
                  <a:pt x="3507411" y="3686618"/>
                  <a:pt x="3520665" y="3640088"/>
                  <a:pt x="3532787" y="3593983"/>
                </a:cubicBezTo>
                <a:cubicBezTo>
                  <a:pt x="3581439" y="3409397"/>
                  <a:pt x="3610800" y="3232570"/>
                  <a:pt x="3620116" y="3070718"/>
                </a:cubicBezTo>
                <a:cubicBezTo>
                  <a:pt x="3629856" y="2908560"/>
                  <a:pt x="3619314" y="2761236"/>
                  <a:pt x="3599763" y="2628038"/>
                </a:cubicBezTo>
                <a:cubicBezTo>
                  <a:pt x="3594929" y="2594691"/>
                  <a:pt x="3589646" y="2562217"/>
                  <a:pt x="3584151" y="2530474"/>
                </a:cubicBezTo>
                <a:cubicBezTo>
                  <a:pt x="3578727" y="2498684"/>
                  <a:pt x="3573114" y="2467648"/>
                  <a:pt x="3567643" y="2437297"/>
                </a:cubicBezTo>
                <a:cubicBezTo>
                  <a:pt x="3562431" y="2406756"/>
                  <a:pt x="3557384" y="2376711"/>
                  <a:pt x="3555757" y="2345369"/>
                </a:cubicBezTo>
                <a:cubicBezTo>
                  <a:pt x="3555049" y="2329663"/>
                  <a:pt x="3555167" y="2313603"/>
                  <a:pt x="3558068" y="2296505"/>
                </a:cubicBezTo>
                <a:cubicBezTo>
                  <a:pt x="3559554" y="2287968"/>
                  <a:pt x="3561700" y="2279195"/>
                  <a:pt x="3565120" y="2270092"/>
                </a:cubicBezTo>
                <a:cubicBezTo>
                  <a:pt x="3568563" y="2261012"/>
                  <a:pt x="3573280" y="2251650"/>
                  <a:pt x="3579718" y="2242263"/>
                </a:cubicBezTo>
                <a:cubicBezTo>
                  <a:pt x="3586132" y="2232901"/>
                  <a:pt x="3594316" y="2223586"/>
                  <a:pt x="3603961" y="2214907"/>
                </a:cubicBezTo>
                <a:cubicBezTo>
                  <a:pt x="3613583" y="2206205"/>
                  <a:pt x="3624549" y="2198092"/>
                  <a:pt x="3636365" y="2190687"/>
                </a:cubicBezTo>
                <a:cubicBezTo>
                  <a:pt x="3648133" y="2183282"/>
                  <a:pt x="3660844" y="2176537"/>
                  <a:pt x="3673980" y="2170405"/>
                </a:cubicBezTo>
                <a:cubicBezTo>
                  <a:pt x="3687163" y="2164227"/>
                  <a:pt x="3700936" y="2158661"/>
                  <a:pt x="3715180" y="2153496"/>
                </a:cubicBezTo>
                <a:cubicBezTo>
                  <a:pt x="3743692" y="2143238"/>
                  <a:pt x="3774067" y="2134818"/>
                  <a:pt x="3806234" y="2127814"/>
                </a:cubicBezTo>
                <a:cubicBezTo>
                  <a:pt x="3838426" y="2120833"/>
                  <a:pt x="3872409" y="2115362"/>
                  <a:pt x="3908255" y="2111306"/>
                </a:cubicBezTo>
                <a:cubicBezTo>
                  <a:pt x="3944013" y="2107427"/>
                  <a:pt x="3981729" y="2104806"/>
                  <a:pt x="4021442" y="2103727"/>
                </a:cubicBezTo>
                <a:close/>
                <a:moveTo>
                  <a:pt x="4104217" y="2063971"/>
                </a:moveTo>
                <a:cubicBezTo>
                  <a:pt x="4193035" y="2066279"/>
                  <a:pt x="4290492" y="2075648"/>
                  <a:pt x="4397135" y="2094302"/>
                </a:cubicBezTo>
                <a:cubicBezTo>
                  <a:pt x="4609691" y="2132295"/>
                  <a:pt x="4861183" y="2207667"/>
                  <a:pt x="5131234" y="2358929"/>
                </a:cubicBezTo>
                <a:cubicBezTo>
                  <a:pt x="5397206" y="2508282"/>
                  <a:pt x="5686642" y="2743855"/>
                  <a:pt x="5874271" y="3061544"/>
                </a:cubicBezTo>
                <a:cubicBezTo>
                  <a:pt x="5869790" y="3059186"/>
                  <a:pt x="5865285" y="3056851"/>
                  <a:pt x="5860781" y="3054540"/>
                </a:cubicBezTo>
                <a:cubicBezTo>
                  <a:pt x="5672988" y="2739492"/>
                  <a:pt x="5385438" y="2506443"/>
                  <a:pt x="5121211" y="2358576"/>
                </a:cubicBezTo>
                <a:cubicBezTo>
                  <a:pt x="4852976" y="2208869"/>
                  <a:pt x="4603253" y="2134276"/>
                  <a:pt x="4392112" y="2096778"/>
                </a:cubicBezTo>
                <a:cubicBezTo>
                  <a:pt x="4180217" y="2059941"/>
                  <a:pt x="4004805" y="2059989"/>
                  <a:pt x="3861655" y="2079280"/>
                </a:cubicBezTo>
                <a:cubicBezTo>
                  <a:pt x="3825808" y="2084256"/>
                  <a:pt x="3791943" y="2090623"/>
                  <a:pt x="3759940" y="2098406"/>
                </a:cubicBezTo>
                <a:cubicBezTo>
                  <a:pt x="3727961" y="2106188"/>
                  <a:pt x="3697846" y="2115362"/>
                  <a:pt x="3669829" y="2126234"/>
                </a:cubicBezTo>
                <a:cubicBezTo>
                  <a:pt x="3655821" y="2131682"/>
                  <a:pt x="3642307" y="2137530"/>
                  <a:pt x="3629454" y="2143921"/>
                </a:cubicBezTo>
                <a:cubicBezTo>
                  <a:pt x="3616554" y="2150312"/>
                  <a:pt x="3604362" y="2157151"/>
                  <a:pt x="3592995" y="2164627"/>
                </a:cubicBezTo>
                <a:cubicBezTo>
                  <a:pt x="3581627" y="2172080"/>
                  <a:pt x="3571180" y="2180121"/>
                  <a:pt x="3562077" y="2188635"/>
                </a:cubicBezTo>
                <a:cubicBezTo>
                  <a:pt x="3552951" y="2197148"/>
                  <a:pt x="3545262" y="2206110"/>
                  <a:pt x="3539225" y="2215142"/>
                </a:cubicBezTo>
                <a:cubicBezTo>
                  <a:pt x="3533164" y="2224175"/>
                  <a:pt x="3528683" y="2233231"/>
                  <a:pt x="3525429" y="2242027"/>
                </a:cubicBezTo>
                <a:cubicBezTo>
                  <a:pt x="3522198" y="2250824"/>
                  <a:pt x="3520146" y="2259385"/>
                  <a:pt x="3518755" y="2267757"/>
                </a:cubicBezTo>
                <a:cubicBezTo>
                  <a:pt x="3516066" y="2284454"/>
                  <a:pt x="3516090" y="2300278"/>
                  <a:pt x="3516986" y="2315725"/>
                </a:cubicBezTo>
                <a:cubicBezTo>
                  <a:pt x="3518991" y="2346572"/>
                  <a:pt x="3524533" y="2376169"/>
                  <a:pt x="3530358" y="2406190"/>
                </a:cubicBezTo>
                <a:cubicBezTo>
                  <a:pt x="3536442" y="2436023"/>
                  <a:pt x="3542762" y="2466492"/>
                  <a:pt x="3549012" y="2497669"/>
                </a:cubicBezTo>
                <a:cubicBezTo>
                  <a:pt x="3555332" y="2528776"/>
                  <a:pt x="3561535" y="2560590"/>
                  <a:pt x="3567360" y="2593181"/>
                </a:cubicBezTo>
                <a:cubicBezTo>
                  <a:pt x="3590896" y="2723455"/>
                  <a:pt x="3606909" y="2866959"/>
                  <a:pt x="3602947" y="3025203"/>
                </a:cubicBezTo>
                <a:cubicBezTo>
                  <a:pt x="3599433" y="3183163"/>
                  <a:pt x="3576156" y="3355981"/>
                  <a:pt x="3532881" y="3537524"/>
                </a:cubicBezTo>
                <a:cubicBezTo>
                  <a:pt x="3522103" y="3582875"/>
                  <a:pt x="3510147" y="3628721"/>
                  <a:pt x="3497058" y="3674873"/>
                </a:cubicBezTo>
                <a:cubicBezTo>
                  <a:pt x="3490526" y="3697961"/>
                  <a:pt x="3483710" y="3721096"/>
                  <a:pt x="3476635" y="3744302"/>
                </a:cubicBezTo>
                <a:cubicBezTo>
                  <a:pt x="3469513" y="3767555"/>
                  <a:pt x="3462155" y="3790855"/>
                  <a:pt x="3454537" y="3814179"/>
                </a:cubicBezTo>
                <a:cubicBezTo>
                  <a:pt x="3439303" y="3860780"/>
                  <a:pt x="3423101" y="3907522"/>
                  <a:pt x="3404942" y="3955325"/>
                </a:cubicBezTo>
                <a:cubicBezTo>
                  <a:pt x="3395862" y="3979238"/>
                  <a:pt x="3386311" y="4003364"/>
                  <a:pt x="3375887" y="4028103"/>
                </a:cubicBezTo>
                <a:cubicBezTo>
                  <a:pt x="3365464" y="4052794"/>
                  <a:pt x="3354144" y="4078170"/>
                  <a:pt x="3341220" y="4104300"/>
                </a:cubicBezTo>
                <a:cubicBezTo>
                  <a:pt x="3334758" y="4117341"/>
                  <a:pt x="3327872" y="4130572"/>
                  <a:pt x="3320585" y="4143660"/>
                </a:cubicBezTo>
                <a:cubicBezTo>
                  <a:pt x="3313321" y="4156749"/>
                  <a:pt x="3305680" y="4169626"/>
                  <a:pt x="3297992" y="4181771"/>
                </a:cubicBezTo>
                <a:cubicBezTo>
                  <a:pt x="3290304" y="4193940"/>
                  <a:pt x="3282569" y="4205330"/>
                  <a:pt x="3275046" y="4215872"/>
                </a:cubicBezTo>
                <a:cubicBezTo>
                  <a:pt x="3267499" y="4226461"/>
                  <a:pt x="3260118" y="4236177"/>
                  <a:pt x="3252877" y="4245398"/>
                </a:cubicBezTo>
                <a:cubicBezTo>
                  <a:pt x="3238397" y="4263793"/>
                  <a:pt x="3224507" y="4279995"/>
                  <a:pt x="3210734" y="4295489"/>
                </a:cubicBezTo>
                <a:cubicBezTo>
                  <a:pt x="3207291" y="4299357"/>
                  <a:pt x="3203848" y="4303177"/>
                  <a:pt x="3200428" y="4306927"/>
                </a:cubicBezTo>
                <a:cubicBezTo>
                  <a:pt x="3198707" y="4308790"/>
                  <a:pt x="3197009" y="4310677"/>
                  <a:pt x="3195287" y="4312540"/>
                </a:cubicBezTo>
                <a:cubicBezTo>
                  <a:pt x="3193566" y="4314403"/>
                  <a:pt x="3191915" y="4316125"/>
                  <a:pt x="3190217" y="4317917"/>
                </a:cubicBezTo>
                <a:cubicBezTo>
                  <a:pt x="3188543" y="4319686"/>
                  <a:pt x="3186844" y="4321478"/>
                  <a:pt x="3185146" y="4323246"/>
                </a:cubicBezTo>
                <a:cubicBezTo>
                  <a:pt x="3183472" y="4324992"/>
                  <a:pt x="3181798" y="4326737"/>
                  <a:pt x="3180100" y="4328482"/>
                </a:cubicBezTo>
                <a:cubicBezTo>
                  <a:pt x="3176727" y="4331972"/>
                  <a:pt x="3173355" y="4335463"/>
                  <a:pt x="3169959" y="4338953"/>
                </a:cubicBezTo>
                <a:cubicBezTo>
                  <a:pt x="3115626" y="4394609"/>
                  <a:pt x="3057093" y="4450832"/>
                  <a:pt x="2990305" y="4506134"/>
                </a:cubicBezTo>
                <a:cubicBezTo>
                  <a:pt x="2856066" y="4615513"/>
                  <a:pt x="2691953" y="4725930"/>
                  <a:pt x="2433788" y="4805759"/>
                </a:cubicBezTo>
                <a:cubicBezTo>
                  <a:pt x="2692119" y="4725718"/>
                  <a:pt x="2856328" y="4615042"/>
                  <a:pt x="2990703" y="4505356"/>
                </a:cubicBezTo>
                <a:cubicBezTo>
                  <a:pt x="3057538" y="4449912"/>
                  <a:pt x="3116142" y="4393525"/>
                  <a:pt x="3170525" y="4337656"/>
                </a:cubicBezTo>
                <a:cubicBezTo>
                  <a:pt x="3173921" y="4334142"/>
                  <a:pt x="3177317" y="4330652"/>
                  <a:pt x="3180689" y="4327161"/>
                </a:cubicBezTo>
                <a:cubicBezTo>
                  <a:pt x="3182364" y="4325416"/>
                  <a:pt x="3184062" y="4323671"/>
                  <a:pt x="3185736" y="4321926"/>
                </a:cubicBezTo>
                <a:cubicBezTo>
                  <a:pt x="3187434" y="4320157"/>
                  <a:pt x="3189108" y="4318365"/>
                  <a:pt x="3190783" y="4316596"/>
                </a:cubicBezTo>
                <a:cubicBezTo>
                  <a:pt x="3192481" y="4314804"/>
                  <a:pt x="3194108" y="4313106"/>
                  <a:pt x="3195830" y="4311219"/>
                </a:cubicBezTo>
                <a:cubicBezTo>
                  <a:pt x="3197551" y="4309333"/>
                  <a:pt x="3199249" y="4307469"/>
                  <a:pt x="3200971" y="4305583"/>
                </a:cubicBezTo>
                <a:cubicBezTo>
                  <a:pt x="3204390" y="4301809"/>
                  <a:pt x="3207833" y="4297989"/>
                  <a:pt x="3211277" y="4294121"/>
                </a:cubicBezTo>
                <a:cubicBezTo>
                  <a:pt x="3225026" y="4278627"/>
                  <a:pt x="3238893" y="4262402"/>
                  <a:pt x="3253302" y="4244078"/>
                </a:cubicBezTo>
                <a:cubicBezTo>
                  <a:pt x="3260495" y="4234904"/>
                  <a:pt x="3267829" y="4225211"/>
                  <a:pt x="3275305" y="4214740"/>
                </a:cubicBezTo>
                <a:cubicBezTo>
                  <a:pt x="3282781" y="4204269"/>
                  <a:pt x="3290398" y="4193020"/>
                  <a:pt x="3297968" y="4181016"/>
                </a:cubicBezTo>
                <a:cubicBezTo>
                  <a:pt x="3313180" y="4157032"/>
                  <a:pt x="3327848" y="4130359"/>
                  <a:pt x="3340536" y="4104630"/>
                </a:cubicBezTo>
                <a:cubicBezTo>
                  <a:pt x="3353318" y="4078783"/>
                  <a:pt x="3364544" y="4053596"/>
                  <a:pt x="3374897" y="4028999"/>
                </a:cubicBezTo>
                <a:cubicBezTo>
                  <a:pt x="3385274" y="4004378"/>
                  <a:pt x="3394754" y="3980347"/>
                  <a:pt x="3403810" y="3956527"/>
                </a:cubicBezTo>
                <a:cubicBezTo>
                  <a:pt x="3421898" y="3908866"/>
                  <a:pt x="3438053" y="3862242"/>
                  <a:pt x="3453241" y="3815712"/>
                </a:cubicBezTo>
                <a:cubicBezTo>
                  <a:pt x="3460834" y="3792435"/>
                  <a:pt x="3468192" y="3769182"/>
                  <a:pt x="3475291" y="3745977"/>
                </a:cubicBezTo>
                <a:cubicBezTo>
                  <a:pt x="3482342" y="3722818"/>
                  <a:pt x="3489134" y="3699706"/>
                  <a:pt x="3495667" y="3676665"/>
                </a:cubicBezTo>
                <a:cubicBezTo>
                  <a:pt x="3508708" y="3630584"/>
                  <a:pt x="3520618" y="3584832"/>
                  <a:pt x="3531372" y="3539553"/>
                </a:cubicBezTo>
                <a:cubicBezTo>
                  <a:pt x="3574482" y="3358316"/>
                  <a:pt x="3597641" y="3185757"/>
                  <a:pt x="3600990" y="3028009"/>
                </a:cubicBezTo>
                <a:cubicBezTo>
                  <a:pt x="3604763" y="2869978"/>
                  <a:pt x="3588538" y="2726639"/>
                  <a:pt x="3564530" y="2596483"/>
                </a:cubicBezTo>
                <a:cubicBezTo>
                  <a:pt x="3558587" y="2563915"/>
                  <a:pt x="3552243" y="2532124"/>
                  <a:pt x="3545781" y="2501042"/>
                </a:cubicBezTo>
                <a:cubicBezTo>
                  <a:pt x="3539390" y="2469889"/>
                  <a:pt x="3532881" y="2439443"/>
                  <a:pt x="3526632" y="2409586"/>
                </a:cubicBezTo>
                <a:cubicBezTo>
                  <a:pt x="3520618" y="2379565"/>
                  <a:pt x="3514864" y="2349921"/>
                  <a:pt x="3512552" y="2318838"/>
                </a:cubicBezTo>
                <a:cubicBezTo>
                  <a:pt x="3511515" y="2303249"/>
                  <a:pt x="3511326" y="2287284"/>
                  <a:pt x="3513897" y="2270186"/>
                </a:cubicBezTo>
                <a:cubicBezTo>
                  <a:pt x="3515217" y="2261649"/>
                  <a:pt x="3517222" y="2252829"/>
                  <a:pt x="3520500" y="2243678"/>
                </a:cubicBezTo>
                <a:cubicBezTo>
                  <a:pt x="3523801" y="2234528"/>
                  <a:pt x="3528353" y="2225047"/>
                  <a:pt x="3534650" y="2215520"/>
                </a:cubicBezTo>
                <a:cubicBezTo>
                  <a:pt x="3540946" y="2205992"/>
                  <a:pt x="3548988" y="2196465"/>
                  <a:pt x="3558540" y="2187527"/>
                </a:cubicBezTo>
                <a:cubicBezTo>
                  <a:pt x="3568044" y="2178565"/>
                  <a:pt x="3578939" y="2170169"/>
                  <a:pt x="3590660" y="2162458"/>
                </a:cubicBezTo>
                <a:cubicBezTo>
                  <a:pt x="3602357" y="2154746"/>
                  <a:pt x="3615021" y="2147647"/>
                  <a:pt x="3628134" y="2141162"/>
                </a:cubicBezTo>
                <a:cubicBezTo>
                  <a:pt x="3641293" y="2134629"/>
                  <a:pt x="3655042" y="2128710"/>
                  <a:pt x="3669286" y="2123168"/>
                </a:cubicBezTo>
                <a:cubicBezTo>
                  <a:pt x="3697798" y="2112155"/>
                  <a:pt x="3728244" y="2102957"/>
                  <a:pt x="3760530" y="2095128"/>
                </a:cubicBezTo>
                <a:cubicBezTo>
                  <a:pt x="3792839" y="2087322"/>
                  <a:pt x="3827035" y="2080954"/>
                  <a:pt x="3863140" y="2076001"/>
                </a:cubicBezTo>
                <a:cubicBezTo>
                  <a:pt x="3935223" y="2066415"/>
                  <a:pt x="4015400" y="2061663"/>
                  <a:pt x="4104217" y="2063971"/>
                </a:cubicBezTo>
                <a:close/>
                <a:moveTo>
                  <a:pt x="4061015" y="2024429"/>
                </a:moveTo>
                <a:cubicBezTo>
                  <a:pt x="4151009" y="2024538"/>
                  <a:pt x="4250106" y="2031465"/>
                  <a:pt x="4359072" y="2047372"/>
                </a:cubicBezTo>
                <a:cubicBezTo>
                  <a:pt x="4576368" y="2079964"/>
                  <a:pt x="4835123" y="2148261"/>
                  <a:pt x="5119490" y="2292944"/>
                </a:cubicBezTo>
                <a:cubicBezTo>
                  <a:pt x="5399635" y="2436023"/>
                  <a:pt x="5711405" y="2665724"/>
                  <a:pt x="5931577" y="2989026"/>
                </a:cubicBezTo>
                <a:cubicBezTo>
                  <a:pt x="5926673" y="2986668"/>
                  <a:pt x="5921814" y="2984286"/>
                  <a:pt x="5916980" y="2981951"/>
                </a:cubicBezTo>
                <a:cubicBezTo>
                  <a:pt x="5696972" y="2661526"/>
                  <a:pt x="5387347" y="2434349"/>
                  <a:pt x="5109089" y="2292755"/>
                </a:cubicBezTo>
                <a:cubicBezTo>
                  <a:pt x="4826680" y="2149605"/>
                  <a:pt x="4569765" y="2082039"/>
                  <a:pt x="4353931" y="2049919"/>
                </a:cubicBezTo>
                <a:cubicBezTo>
                  <a:pt x="4137461" y="2018577"/>
                  <a:pt x="3960138" y="2022892"/>
                  <a:pt x="3816068" y="2045697"/>
                </a:cubicBezTo>
                <a:cubicBezTo>
                  <a:pt x="3780010" y="2051570"/>
                  <a:pt x="3745979" y="2058762"/>
                  <a:pt x="3713882" y="2067347"/>
                </a:cubicBezTo>
                <a:cubicBezTo>
                  <a:pt x="3681809" y="2075931"/>
                  <a:pt x="3651670" y="2085860"/>
                  <a:pt x="3623653" y="2097439"/>
                </a:cubicBezTo>
                <a:cubicBezTo>
                  <a:pt x="3609644" y="2103241"/>
                  <a:pt x="3596178" y="2109443"/>
                  <a:pt x="3583349" y="2116164"/>
                </a:cubicBezTo>
                <a:cubicBezTo>
                  <a:pt x="3570473" y="2122885"/>
                  <a:pt x="3558351" y="2130031"/>
                  <a:pt x="3547055" y="2137813"/>
                </a:cubicBezTo>
                <a:cubicBezTo>
                  <a:pt x="3535758" y="2145549"/>
                  <a:pt x="3525405" y="2153874"/>
                  <a:pt x="3516373" y="2162647"/>
                </a:cubicBezTo>
                <a:cubicBezTo>
                  <a:pt x="3507340" y="2171396"/>
                  <a:pt x="3499770" y="2180570"/>
                  <a:pt x="3493827" y="2189744"/>
                </a:cubicBezTo>
                <a:cubicBezTo>
                  <a:pt x="3487884" y="2198941"/>
                  <a:pt x="3483545" y="2208091"/>
                  <a:pt x="3480409" y="2216982"/>
                </a:cubicBezTo>
                <a:cubicBezTo>
                  <a:pt x="3477295" y="2225850"/>
                  <a:pt x="3475385" y="2234481"/>
                  <a:pt x="3474135" y="2242853"/>
                </a:cubicBezTo>
                <a:cubicBezTo>
                  <a:pt x="3471706" y="2259597"/>
                  <a:pt x="3472013" y="2275374"/>
                  <a:pt x="3473216" y="2290727"/>
                </a:cubicBezTo>
                <a:cubicBezTo>
                  <a:pt x="3475810" y="2321385"/>
                  <a:pt x="3481988" y="2350652"/>
                  <a:pt x="3488521" y="2380249"/>
                </a:cubicBezTo>
                <a:cubicBezTo>
                  <a:pt x="3495313" y="2409657"/>
                  <a:pt x="3502459" y="2439631"/>
                  <a:pt x="3509581" y="2470242"/>
                </a:cubicBezTo>
                <a:cubicBezTo>
                  <a:pt x="3516774" y="2500783"/>
                  <a:pt x="3523967" y="2531960"/>
                  <a:pt x="3530829" y="2563868"/>
                </a:cubicBezTo>
                <a:cubicBezTo>
                  <a:pt x="3558516" y="2691382"/>
                  <a:pt x="3579930" y="2831089"/>
                  <a:pt x="3581746" y="2985324"/>
                </a:cubicBezTo>
                <a:cubicBezTo>
                  <a:pt x="3584009" y="3139275"/>
                  <a:pt x="3566841" y="3307848"/>
                  <a:pt x="3529131" y="3485901"/>
                </a:cubicBezTo>
                <a:cubicBezTo>
                  <a:pt x="3519745" y="3530379"/>
                  <a:pt x="3509133" y="3575399"/>
                  <a:pt x="3497365" y="3620797"/>
                </a:cubicBezTo>
                <a:cubicBezTo>
                  <a:pt x="3491493" y="3643508"/>
                  <a:pt x="3485314" y="3666289"/>
                  <a:pt x="3478852" y="3689165"/>
                </a:cubicBezTo>
                <a:cubicBezTo>
                  <a:pt x="3472367" y="3712088"/>
                  <a:pt x="3465622" y="3735058"/>
                  <a:pt x="3458594" y="3758099"/>
                </a:cubicBezTo>
                <a:cubicBezTo>
                  <a:pt x="3444562" y="3804133"/>
                  <a:pt x="3429516" y="3850356"/>
                  <a:pt x="3412394" y="3897876"/>
                </a:cubicBezTo>
                <a:cubicBezTo>
                  <a:pt x="3403834" y="3921625"/>
                  <a:pt x="3394778" y="3945679"/>
                  <a:pt x="3384802" y="3970395"/>
                </a:cubicBezTo>
                <a:cubicBezTo>
                  <a:pt x="3374826" y="3995086"/>
                  <a:pt x="3363931" y="4020556"/>
                  <a:pt x="3351314" y="4046946"/>
                </a:cubicBezTo>
                <a:cubicBezTo>
                  <a:pt x="3345017" y="4060105"/>
                  <a:pt x="3338249" y="4073548"/>
                  <a:pt x="3331079" y="4086849"/>
                </a:cubicBezTo>
                <a:cubicBezTo>
                  <a:pt x="3323910" y="4100173"/>
                  <a:pt x="3316316" y="4113356"/>
                  <a:pt x="3308652" y="4125832"/>
                </a:cubicBezTo>
                <a:cubicBezTo>
                  <a:pt x="3300964" y="4138331"/>
                  <a:pt x="3293229" y="4150099"/>
                  <a:pt x="3285611" y="4161065"/>
                </a:cubicBezTo>
                <a:cubicBezTo>
                  <a:pt x="3277994" y="4172031"/>
                  <a:pt x="3270541" y="4182172"/>
                  <a:pt x="3263207" y="4191794"/>
                </a:cubicBezTo>
                <a:cubicBezTo>
                  <a:pt x="3248538" y="4210991"/>
                  <a:pt x="3234388" y="4228018"/>
                  <a:pt x="3220333" y="4244290"/>
                </a:cubicBezTo>
                <a:cubicBezTo>
                  <a:pt x="3216819" y="4248347"/>
                  <a:pt x="3213305" y="4252356"/>
                  <a:pt x="3209815" y="4256318"/>
                </a:cubicBezTo>
                <a:cubicBezTo>
                  <a:pt x="3208069" y="4258275"/>
                  <a:pt x="3206324" y="4260256"/>
                  <a:pt x="3204555" y="4262214"/>
                </a:cubicBezTo>
                <a:cubicBezTo>
                  <a:pt x="3202810" y="4264171"/>
                  <a:pt x="3201112" y="4265987"/>
                  <a:pt x="3199367" y="4267873"/>
                </a:cubicBezTo>
                <a:cubicBezTo>
                  <a:pt x="3197646" y="4269737"/>
                  <a:pt x="3195924" y="4271623"/>
                  <a:pt x="3194179" y="4273486"/>
                </a:cubicBezTo>
                <a:cubicBezTo>
                  <a:pt x="3192457" y="4275326"/>
                  <a:pt x="3190759" y="4277142"/>
                  <a:pt x="3189014" y="4278981"/>
                </a:cubicBezTo>
                <a:cubicBezTo>
                  <a:pt x="3185571" y="4282660"/>
                  <a:pt x="3182104" y="4286316"/>
                  <a:pt x="3178614" y="4289994"/>
                </a:cubicBezTo>
                <a:cubicBezTo>
                  <a:pt x="3122983" y="4348528"/>
                  <a:pt x="3062938" y="4407132"/>
                  <a:pt x="2994267" y="4464227"/>
                </a:cubicBezTo>
                <a:cubicBezTo>
                  <a:pt x="2855926" y="4577026"/>
                  <a:pt x="2687354" y="4689258"/>
                  <a:pt x="2416642" y="4764654"/>
                </a:cubicBezTo>
                <a:cubicBezTo>
                  <a:pt x="2687519" y="4689023"/>
                  <a:pt x="2856234" y="4576531"/>
                  <a:pt x="2994668" y="4463426"/>
                </a:cubicBezTo>
                <a:cubicBezTo>
                  <a:pt x="3063410" y="4406189"/>
                  <a:pt x="3123500" y="4347396"/>
                  <a:pt x="3179180" y="4288674"/>
                </a:cubicBezTo>
                <a:cubicBezTo>
                  <a:pt x="3182670" y="4284995"/>
                  <a:pt x="3186137" y="4281292"/>
                  <a:pt x="3189580" y="4277613"/>
                </a:cubicBezTo>
                <a:cubicBezTo>
                  <a:pt x="3191302" y="4275774"/>
                  <a:pt x="3193023" y="4273934"/>
                  <a:pt x="3194745" y="4272095"/>
                </a:cubicBezTo>
                <a:cubicBezTo>
                  <a:pt x="3196466" y="4270232"/>
                  <a:pt x="3198188" y="4268345"/>
                  <a:pt x="3199910" y="4266482"/>
                </a:cubicBezTo>
                <a:cubicBezTo>
                  <a:pt x="3201631" y="4264595"/>
                  <a:pt x="3203329" y="4262803"/>
                  <a:pt x="3205074" y="4260822"/>
                </a:cubicBezTo>
                <a:cubicBezTo>
                  <a:pt x="3206820" y="4258841"/>
                  <a:pt x="3208588" y="4256884"/>
                  <a:pt x="3210333" y="4254903"/>
                </a:cubicBezTo>
                <a:cubicBezTo>
                  <a:pt x="3213824" y="4250941"/>
                  <a:pt x="3217338" y="4246931"/>
                  <a:pt x="3220851" y="4242875"/>
                </a:cubicBezTo>
                <a:cubicBezTo>
                  <a:pt x="3234883" y="4226603"/>
                  <a:pt x="3249010" y="4209576"/>
                  <a:pt x="3263608" y="4190450"/>
                </a:cubicBezTo>
                <a:cubicBezTo>
                  <a:pt x="3270895" y="4180875"/>
                  <a:pt x="3278324" y="4170781"/>
                  <a:pt x="3285847" y="4159910"/>
                </a:cubicBezTo>
                <a:cubicBezTo>
                  <a:pt x="3293370" y="4149061"/>
                  <a:pt x="3301011" y="4137411"/>
                  <a:pt x="3308581" y="4125101"/>
                </a:cubicBezTo>
                <a:cubicBezTo>
                  <a:pt x="3323769" y="4100432"/>
                  <a:pt x="3338249" y="4073288"/>
                  <a:pt x="3350606" y="4047300"/>
                </a:cubicBezTo>
                <a:cubicBezTo>
                  <a:pt x="3363082" y="4021193"/>
                  <a:pt x="3373883" y="3995912"/>
                  <a:pt x="3383811" y="3971338"/>
                </a:cubicBezTo>
                <a:cubicBezTo>
                  <a:pt x="3393740" y="3946741"/>
                  <a:pt x="3402725" y="3922804"/>
                  <a:pt x="3411262" y="3899103"/>
                </a:cubicBezTo>
                <a:cubicBezTo>
                  <a:pt x="3428313" y="3851748"/>
                  <a:pt x="3443335" y="3805595"/>
                  <a:pt x="3457320" y="3759655"/>
                </a:cubicBezTo>
                <a:cubicBezTo>
                  <a:pt x="3464325" y="3736661"/>
                  <a:pt x="3471069" y="3713739"/>
                  <a:pt x="3477531" y="3690863"/>
                </a:cubicBezTo>
                <a:cubicBezTo>
                  <a:pt x="3483970" y="3668034"/>
                  <a:pt x="3490125" y="3645276"/>
                  <a:pt x="3495973" y="3622613"/>
                </a:cubicBezTo>
                <a:cubicBezTo>
                  <a:pt x="3507694" y="3577286"/>
                  <a:pt x="3518283" y="3532336"/>
                  <a:pt x="3527622" y="3487953"/>
                </a:cubicBezTo>
                <a:cubicBezTo>
                  <a:pt x="3565214" y="3310206"/>
                  <a:pt x="3582264" y="3141893"/>
                  <a:pt x="3579835" y="2988177"/>
                </a:cubicBezTo>
                <a:cubicBezTo>
                  <a:pt x="3577831" y="2834155"/>
                  <a:pt x="3556205" y="2694613"/>
                  <a:pt x="3528070" y="2567240"/>
                </a:cubicBezTo>
                <a:cubicBezTo>
                  <a:pt x="3521090" y="2535356"/>
                  <a:pt x="3513779" y="2504202"/>
                  <a:pt x="3506444" y="2473709"/>
                </a:cubicBezTo>
                <a:cubicBezTo>
                  <a:pt x="3499157" y="2443122"/>
                  <a:pt x="3491870" y="2413171"/>
                  <a:pt x="3484889" y="2383763"/>
                </a:cubicBezTo>
                <a:cubicBezTo>
                  <a:pt x="3478144" y="2354142"/>
                  <a:pt x="3471753" y="2324852"/>
                  <a:pt x="3468853" y="2293958"/>
                </a:cubicBezTo>
                <a:cubicBezTo>
                  <a:pt x="3467508" y="2278464"/>
                  <a:pt x="3467037" y="2262545"/>
                  <a:pt x="3469348" y="2245400"/>
                </a:cubicBezTo>
                <a:cubicBezTo>
                  <a:pt x="3470551" y="2236839"/>
                  <a:pt x="3472414" y="2227996"/>
                  <a:pt x="3475527" y="2218751"/>
                </a:cubicBezTo>
                <a:cubicBezTo>
                  <a:pt x="3478687" y="2209507"/>
                  <a:pt x="3483120" y="2199908"/>
                  <a:pt x="3489299" y="2190215"/>
                </a:cubicBezTo>
                <a:cubicBezTo>
                  <a:pt x="3495455" y="2180523"/>
                  <a:pt x="3503402" y="2170783"/>
                  <a:pt x="3512835" y="2161585"/>
                </a:cubicBezTo>
                <a:cubicBezTo>
                  <a:pt x="3522245" y="2152364"/>
                  <a:pt x="3533046" y="2143686"/>
                  <a:pt x="3544720" y="2135667"/>
                </a:cubicBezTo>
                <a:cubicBezTo>
                  <a:pt x="3556346" y="2127649"/>
                  <a:pt x="3568963" y="2120220"/>
                  <a:pt x="3582029" y="2113405"/>
                </a:cubicBezTo>
                <a:cubicBezTo>
                  <a:pt x="3595141" y="2106542"/>
                  <a:pt x="3608890" y="2100245"/>
                  <a:pt x="3623111" y="2094373"/>
                </a:cubicBezTo>
                <a:cubicBezTo>
                  <a:pt x="3651599" y="2082652"/>
                  <a:pt x="3682069" y="2072653"/>
                  <a:pt x="3714472" y="2064045"/>
                </a:cubicBezTo>
                <a:cubicBezTo>
                  <a:pt x="3746875" y="2055437"/>
                  <a:pt x="3781212" y="2048244"/>
                  <a:pt x="3817578" y="2042396"/>
                </a:cubicBezTo>
                <a:cubicBezTo>
                  <a:pt x="3890132" y="2031029"/>
                  <a:pt x="3971022" y="2024320"/>
                  <a:pt x="4061015" y="2024429"/>
                </a:cubicBezTo>
                <a:close/>
                <a:moveTo>
                  <a:pt x="4017077" y="1986701"/>
                </a:moveTo>
                <a:cubicBezTo>
                  <a:pt x="4108117" y="1984681"/>
                  <a:pt x="4208682" y="1989227"/>
                  <a:pt x="4319735" y="2002422"/>
                </a:cubicBezTo>
                <a:cubicBezTo>
                  <a:pt x="4541371" y="2029731"/>
                  <a:pt x="4806705" y="2090977"/>
                  <a:pt x="5104632" y="2228632"/>
                </a:cubicBezTo>
                <a:cubicBezTo>
                  <a:pt x="5398243" y="2364990"/>
                  <a:pt x="5731404" y="2587616"/>
                  <a:pt x="5984782" y="2914951"/>
                </a:cubicBezTo>
                <a:cubicBezTo>
                  <a:pt x="5979546" y="2912616"/>
                  <a:pt x="5974334" y="2910234"/>
                  <a:pt x="5969146" y="2907876"/>
                </a:cubicBezTo>
                <a:cubicBezTo>
                  <a:pt x="5716310" y="2583607"/>
                  <a:pt x="5385532" y="2363504"/>
                  <a:pt x="5093949" y="2228608"/>
                </a:cubicBezTo>
                <a:cubicBezTo>
                  <a:pt x="4798121" y="2092486"/>
                  <a:pt x="4534649" y="2031901"/>
                  <a:pt x="4314523" y="2005063"/>
                </a:cubicBezTo>
                <a:cubicBezTo>
                  <a:pt x="4093902" y="1979098"/>
                  <a:pt x="3914906" y="1987493"/>
                  <a:pt x="3770034" y="2013718"/>
                </a:cubicBezTo>
                <a:cubicBezTo>
                  <a:pt x="3733787" y="2020439"/>
                  <a:pt x="3699615" y="2028434"/>
                  <a:pt x="3667471" y="2037797"/>
                </a:cubicBezTo>
                <a:cubicBezTo>
                  <a:pt x="3635327" y="2047159"/>
                  <a:pt x="3605164" y="2057819"/>
                  <a:pt x="3577194" y="2070082"/>
                </a:cubicBezTo>
                <a:cubicBezTo>
                  <a:pt x="3563209" y="2076237"/>
                  <a:pt x="3549743" y="2082770"/>
                  <a:pt x="3536985" y="2089821"/>
                </a:cubicBezTo>
                <a:cubicBezTo>
                  <a:pt x="3524155" y="2096872"/>
                  <a:pt x="3512081" y="2104325"/>
                  <a:pt x="3500832" y="2112414"/>
                </a:cubicBezTo>
                <a:cubicBezTo>
                  <a:pt x="3489606" y="2120456"/>
                  <a:pt x="3479324" y="2129040"/>
                  <a:pt x="3470386" y="2138049"/>
                </a:cubicBezTo>
                <a:cubicBezTo>
                  <a:pt x="3461424" y="2147034"/>
                  <a:pt x="3453972" y="2156420"/>
                  <a:pt x="3448147" y="2165783"/>
                </a:cubicBezTo>
                <a:cubicBezTo>
                  <a:pt x="3442298" y="2175145"/>
                  <a:pt x="3438077" y="2184437"/>
                  <a:pt x="3435058" y="2193399"/>
                </a:cubicBezTo>
                <a:cubicBezTo>
                  <a:pt x="3432063" y="2202360"/>
                  <a:pt x="3430271" y="2211039"/>
                  <a:pt x="3429139" y="2219458"/>
                </a:cubicBezTo>
                <a:cubicBezTo>
                  <a:pt x="3426945" y="2236273"/>
                  <a:pt x="3427488" y="2252026"/>
                  <a:pt x="3428950" y="2267332"/>
                </a:cubicBezTo>
                <a:cubicBezTo>
                  <a:pt x="3432063" y="2297896"/>
                  <a:pt x="3438784" y="2326880"/>
                  <a:pt x="3446001" y="2356146"/>
                </a:cubicBezTo>
                <a:cubicBezTo>
                  <a:pt x="3453429" y="2385224"/>
                  <a:pt x="3461282" y="2414751"/>
                  <a:pt x="3469230" y="2444866"/>
                </a:cubicBezTo>
                <a:cubicBezTo>
                  <a:pt x="3477225" y="2474911"/>
                  <a:pt x="3485290" y="2505523"/>
                  <a:pt x="3493120" y="2536817"/>
                </a:cubicBezTo>
                <a:cubicBezTo>
                  <a:pt x="3524627" y="2661832"/>
                  <a:pt x="3551135" y="2798001"/>
                  <a:pt x="3558540" y="2948344"/>
                </a:cubicBezTo>
                <a:cubicBezTo>
                  <a:pt x="3566393" y="3098428"/>
                  <a:pt x="3555191" y="3262780"/>
                  <a:pt x="3522976" y="3437225"/>
                </a:cubicBezTo>
                <a:cubicBezTo>
                  <a:pt x="3514981" y="3480806"/>
                  <a:pt x="3505713" y="3524954"/>
                  <a:pt x="3495266" y="3569550"/>
                </a:cubicBezTo>
                <a:cubicBezTo>
                  <a:pt x="3490031" y="3591860"/>
                  <a:pt x="3484512" y="3614264"/>
                  <a:pt x="3478710" y="3636762"/>
                </a:cubicBezTo>
                <a:cubicBezTo>
                  <a:pt x="3472862" y="3659308"/>
                  <a:pt x="3466730" y="3681948"/>
                  <a:pt x="3460316" y="3704658"/>
                </a:cubicBezTo>
                <a:cubicBezTo>
                  <a:pt x="3447510" y="3750033"/>
                  <a:pt x="3433619" y="3795666"/>
                  <a:pt x="3417583" y="3842785"/>
                </a:cubicBezTo>
                <a:cubicBezTo>
                  <a:pt x="3409565" y="3866345"/>
                  <a:pt x="3401027" y="3890211"/>
                  <a:pt x="3391547" y="3914879"/>
                </a:cubicBezTo>
                <a:cubicBezTo>
                  <a:pt x="3382043" y="3939500"/>
                  <a:pt x="3371596" y="3964970"/>
                  <a:pt x="3359356" y="3991548"/>
                </a:cubicBezTo>
                <a:cubicBezTo>
                  <a:pt x="3353248" y="4004802"/>
                  <a:pt x="3346621" y="4018362"/>
                  <a:pt x="3339569" y="4031876"/>
                </a:cubicBezTo>
                <a:cubicBezTo>
                  <a:pt x="3332542" y="4045389"/>
                  <a:pt x="3325019" y="4058831"/>
                  <a:pt x="3317378" y="4071613"/>
                </a:cubicBezTo>
                <a:cubicBezTo>
                  <a:pt x="3309737" y="4084419"/>
                  <a:pt x="3301978" y="4096517"/>
                  <a:pt x="3294361" y="4107837"/>
                </a:cubicBezTo>
                <a:cubicBezTo>
                  <a:pt x="3286720" y="4119157"/>
                  <a:pt x="3279196" y="4129675"/>
                  <a:pt x="3271791" y="4139651"/>
                </a:cubicBezTo>
                <a:cubicBezTo>
                  <a:pt x="3256958" y="4159602"/>
                  <a:pt x="3242619" y="4177360"/>
                  <a:pt x="3228328" y="4194341"/>
                </a:cubicBezTo>
                <a:cubicBezTo>
                  <a:pt x="3224767" y="4198585"/>
                  <a:pt x="3221182" y="4202760"/>
                  <a:pt x="3217621" y="4206887"/>
                </a:cubicBezTo>
                <a:cubicBezTo>
                  <a:pt x="3215852" y="4208938"/>
                  <a:pt x="3214060" y="4210990"/>
                  <a:pt x="3212267" y="4213042"/>
                </a:cubicBezTo>
                <a:cubicBezTo>
                  <a:pt x="3210475" y="4215094"/>
                  <a:pt x="3208753" y="4216980"/>
                  <a:pt x="3206985" y="4218961"/>
                </a:cubicBezTo>
                <a:cubicBezTo>
                  <a:pt x="3205240" y="4220919"/>
                  <a:pt x="3203471" y="4222876"/>
                  <a:pt x="3201702" y="4224833"/>
                </a:cubicBezTo>
                <a:cubicBezTo>
                  <a:pt x="3199957" y="4226744"/>
                  <a:pt x="3198212" y="4228678"/>
                  <a:pt x="3196443" y="4230588"/>
                </a:cubicBezTo>
                <a:cubicBezTo>
                  <a:pt x="3192929" y="4234432"/>
                  <a:pt x="3189392" y="4238252"/>
                  <a:pt x="3185831" y="4242097"/>
                </a:cubicBezTo>
                <a:cubicBezTo>
                  <a:pt x="3129043" y="4303248"/>
                  <a:pt x="3067680" y="4364022"/>
                  <a:pt x="2997192" y="4422650"/>
                </a:cubicBezTo>
                <a:cubicBezTo>
                  <a:pt x="2854891" y="4538325"/>
                  <a:pt x="2682238" y="4652020"/>
                  <a:pt x="2397873" y="4722156"/>
                </a:cubicBezTo>
                <a:cubicBezTo>
                  <a:pt x="2682428" y="4651784"/>
                  <a:pt x="2855199" y="4537853"/>
                  <a:pt x="2997614" y="4421848"/>
                </a:cubicBezTo>
                <a:cubicBezTo>
                  <a:pt x="3068155" y="4363055"/>
                  <a:pt x="3129587" y="4302116"/>
                  <a:pt x="3186420" y="4240776"/>
                </a:cubicBezTo>
                <a:cubicBezTo>
                  <a:pt x="3189981" y="4236932"/>
                  <a:pt x="3193519" y="4233088"/>
                  <a:pt x="3197033" y="4229220"/>
                </a:cubicBezTo>
                <a:cubicBezTo>
                  <a:pt x="3198801" y="4227286"/>
                  <a:pt x="3200546" y="4225376"/>
                  <a:pt x="3202292" y="4223442"/>
                </a:cubicBezTo>
                <a:cubicBezTo>
                  <a:pt x="3204060" y="4221485"/>
                  <a:pt x="3205806" y="4219527"/>
                  <a:pt x="3207551" y="4217570"/>
                </a:cubicBezTo>
                <a:cubicBezTo>
                  <a:pt x="3209319" y="4215589"/>
                  <a:pt x="3211017" y="4213702"/>
                  <a:pt x="3212810" y="4211651"/>
                </a:cubicBezTo>
                <a:cubicBezTo>
                  <a:pt x="3214602" y="4209599"/>
                  <a:pt x="3216371" y="4207547"/>
                  <a:pt x="3218163" y="4205472"/>
                </a:cubicBezTo>
                <a:cubicBezTo>
                  <a:pt x="3221724" y="4201345"/>
                  <a:pt x="3225285" y="4197147"/>
                  <a:pt x="3228846" y="4192926"/>
                </a:cubicBezTo>
                <a:cubicBezTo>
                  <a:pt x="3243114" y="4175945"/>
                  <a:pt x="3257453" y="4158187"/>
                  <a:pt x="3272192" y="4138307"/>
                </a:cubicBezTo>
                <a:cubicBezTo>
                  <a:pt x="3279574" y="4128355"/>
                  <a:pt x="3287026" y="4117907"/>
                  <a:pt x="3294596" y="4106705"/>
                </a:cubicBezTo>
                <a:cubicBezTo>
                  <a:pt x="3302143" y="4095503"/>
                  <a:pt x="3309784" y="4083547"/>
                  <a:pt x="3317331" y="4070929"/>
                </a:cubicBezTo>
                <a:cubicBezTo>
                  <a:pt x="3332424" y="4045695"/>
                  <a:pt x="3346644" y="4018150"/>
                  <a:pt x="3358672" y="3991996"/>
                </a:cubicBezTo>
                <a:cubicBezTo>
                  <a:pt x="3370770" y="3965701"/>
                  <a:pt x="3381147" y="3940420"/>
                  <a:pt x="3390580" y="3915940"/>
                </a:cubicBezTo>
                <a:cubicBezTo>
                  <a:pt x="3400037" y="3891414"/>
                  <a:pt x="3408503" y="3867618"/>
                  <a:pt x="3416498" y="3844130"/>
                </a:cubicBezTo>
                <a:cubicBezTo>
                  <a:pt x="3432464" y="3797175"/>
                  <a:pt x="3446307" y="3751613"/>
                  <a:pt x="3459089" y="3706333"/>
                </a:cubicBezTo>
                <a:cubicBezTo>
                  <a:pt x="3465480" y="3683669"/>
                  <a:pt x="3471589" y="3661077"/>
                  <a:pt x="3477437" y="3638578"/>
                </a:cubicBezTo>
                <a:cubicBezTo>
                  <a:pt x="3483239" y="3616127"/>
                  <a:pt x="3488733" y="3593747"/>
                  <a:pt x="3493945" y="3571484"/>
                </a:cubicBezTo>
                <a:cubicBezTo>
                  <a:pt x="3504369" y="3526959"/>
                  <a:pt x="3513590" y="3482882"/>
                  <a:pt x="3521561" y="3439371"/>
                </a:cubicBezTo>
                <a:cubicBezTo>
                  <a:pt x="3553658" y="3265232"/>
                  <a:pt x="3564742" y="3101140"/>
                  <a:pt x="3556748" y="2951269"/>
                </a:cubicBezTo>
                <a:cubicBezTo>
                  <a:pt x="3549177" y="2801138"/>
                  <a:pt x="3522457" y="2665157"/>
                  <a:pt x="3490502" y="2540284"/>
                </a:cubicBezTo>
                <a:cubicBezTo>
                  <a:pt x="3482555" y="2509036"/>
                  <a:pt x="3474371" y="2478449"/>
                  <a:pt x="3466212" y="2448427"/>
                </a:cubicBezTo>
                <a:cubicBezTo>
                  <a:pt x="3458122" y="2418335"/>
                  <a:pt x="3450104" y="2388809"/>
                  <a:pt x="3442463" y="2359755"/>
                </a:cubicBezTo>
                <a:cubicBezTo>
                  <a:pt x="3435058" y="2330488"/>
                  <a:pt x="3428101" y="2301457"/>
                  <a:pt x="3424682" y="2270681"/>
                </a:cubicBezTo>
                <a:cubicBezTo>
                  <a:pt x="3423078" y="2255234"/>
                  <a:pt x="3422370" y="2239339"/>
                  <a:pt x="3424422" y="2222123"/>
                </a:cubicBezTo>
                <a:cubicBezTo>
                  <a:pt x="3425483" y="2213515"/>
                  <a:pt x="3427228" y="2204624"/>
                  <a:pt x="3430247" y="2195285"/>
                </a:cubicBezTo>
                <a:cubicBezTo>
                  <a:pt x="3433289" y="2185946"/>
                  <a:pt x="3437605" y="2176230"/>
                  <a:pt x="3443666" y="2166349"/>
                </a:cubicBezTo>
                <a:cubicBezTo>
                  <a:pt x="3449727" y="2156491"/>
                  <a:pt x="3457533" y="2146515"/>
                  <a:pt x="3466895" y="2137058"/>
                </a:cubicBezTo>
                <a:cubicBezTo>
                  <a:pt x="3476211" y="2127601"/>
                  <a:pt x="3486941" y="2118616"/>
                  <a:pt x="3498520" y="2110291"/>
                </a:cubicBezTo>
                <a:cubicBezTo>
                  <a:pt x="3510076" y="2101966"/>
                  <a:pt x="3522622" y="2094231"/>
                  <a:pt x="3535664" y="2087085"/>
                </a:cubicBezTo>
                <a:cubicBezTo>
                  <a:pt x="3548753" y="2079893"/>
                  <a:pt x="3562455" y="2073266"/>
                  <a:pt x="3576652" y="2067016"/>
                </a:cubicBezTo>
                <a:cubicBezTo>
                  <a:pt x="3605117" y="2054588"/>
                  <a:pt x="3635610" y="2043857"/>
                  <a:pt x="3668084" y="2034471"/>
                </a:cubicBezTo>
                <a:cubicBezTo>
                  <a:pt x="3700558" y="2025085"/>
                  <a:pt x="3735037" y="2017067"/>
                  <a:pt x="3771567" y="2010369"/>
                </a:cubicBezTo>
                <a:cubicBezTo>
                  <a:pt x="3844522" y="1997304"/>
                  <a:pt x="3926037" y="1988720"/>
                  <a:pt x="4017077" y="1986701"/>
                </a:cubicBezTo>
                <a:close/>
                <a:moveTo>
                  <a:pt x="4118211" y="1949483"/>
                </a:moveTo>
                <a:cubicBezTo>
                  <a:pt x="4169295" y="1950862"/>
                  <a:pt x="4223003" y="1954071"/>
                  <a:pt x="4279479" y="1959359"/>
                </a:cubicBezTo>
                <a:cubicBezTo>
                  <a:pt x="4505029" y="1981504"/>
                  <a:pt x="4776354" y="2035863"/>
                  <a:pt x="5087063" y="2166090"/>
                </a:cubicBezTo>
                <a:cubicBezTo>
                  <a:pt x="5393432" y="2295397"/>
                  <a:pt x="5746874" y="2509863"/>
                  <a:pt x="6033788" y="2839603"/>
                </a:cubicBezTo>
                <a:cubicBezTo>
                  <a:pt x="6028174" y="2837198"/>
                  <a:pt x="6022633" y="2834839"/>
                  <a:pt x="6017090" y="2832481"/>
                </a:cubicBezTo>
                <a:cubicBezTo>
                  <a:pt x="5731097" y="2505995"/>
                  <a:pt x="5380273" y="2294029"/>
                  <a:pt x="5076073" y="2166161"/>
                </a:cubicBezTo>
                <a:cubicBezTo>
                  <a:pt x="4767604" y="2037420"/>
                  <a:pt x="4498213" y="1983697"/>
                  <a:pt x="4274173" y="1962001"/>
                </a:cubicBezTo>
                <a:cubicBezTo>
                  <a:pt x="4049778" y="1941271"/>
                  <a:pt x="3869343" y="1953558"/>
                  <a:pt x="3723811" y="1983061"/>
                </a:cubicBezTo>
                <a:cubicBezTo>
                  <a:pt x="3687398" y="1990607"/>
                  <a:pt x="3653132" y="1999380"/>
                  <a:pt x="3620941" y="2009474"/>
                </a:cubicBezTo>
                <a:cubicBezTo>
                  <a:pt x="3588750" y="2019567"/>
                  <a:pt x="3558587" y="2030958"/>
                  <a:pt x="3530641" y="2043905"/>
                </a:cubicBezTo>
                <a:cubicBezTo>
                  <a:pt x="3516680" y="2050391"/>
                  <a:pt x="3503261" y="2057253"/>
                  <a:pt x="3490526" y="2064611"/>
                </a:cubicBezTo>
                <a:cubicBezTo>
                  <a:pt x="3477744" y="2071969"/>
                  <a:pt x="3465716" y="2079752"/>
                  <a:pt x="3454538" y="2088124"/>
                </a:cubicBezTo>
                <a:cubicBezTo>
                  <a:pt x="3443383" y="2096449"/>
                  <a:pt x="3433171" y="2105316"/>
                  <a:pt x="3424328" y="2114584"/>
                </a:cubicBezTo>
                <a:cubicBezTo>
                  <a:pt x="3415460" y="2123829"/>
                  <a:pt x="3408102" y="2133427"/>
                  <a:pt x="3402372" y="2142955"/>
                </a:cubicBezTo>
                <a:cubicBezTo>
                  <a:pt x="3396641" y="2152482"/>
                  <a:pt x="3392490" y="2161916"/>
                  <a:pt x="3389566" y="2170995"/>
                </a:cubicBezTo>
                <a:cubicBezTo>
                  <a:pt x="3386665" y="2180075"/>
                  <a:pt x="3384991" y="2188824"/>
                  <a:pt x="3383953" y="2197290"/>
                </a:cubicBezTo>
                <a:cubicBezTo>
                  <a:pt x="3381972" y="2214200"/>
                  <a:pt x="3382727" y="2230000"/>
                  <a:pt x="3384401" y="2245282"/>
                </a:cubicBezTo>
                <a:cubicBezTo>
                  <a:pt x="3387962" y="2275799"/>
                  <a:pt x="3395203" y="2304618"/>
                  <a:pt x="3402961" y="2333602"/>
                </a:cubicBezTo>
                <a:cubicBezTo>
                  <a:pt x="3410980" y="2362397"/>
                  <a:pt x="3419469" y="2391593"/>
                  <a:pt x="3428148" y="2421284"/>
                </a:cubicBezTo>
                <a:cubicBezTo>
                  <a:pt x="3436874" y="2450904"/>
                  <a:pt x="3445765" y="2481044"/>
                  <a:pt x="3454467" y="2511773"/>
                </a:cubicBezTo>
                <a:cubicBezTo>
                  <a:pt x="3489512" y="2634571"/>
                  <a:pt x="3520807" y="2767438"/>
                  <a:pt x="3533589" y="2914032"/>
                </a:cubicBezTo>
                <a:cubicBezTo>
                  <a:pt x="3546795" y="3060389"/>
                  <a:pt x="3541442" y="3220590"/>
                  <a:pt x="3514675" y="3391356"/>
                </a:cubicBezTo>
                <a:cubicBezTo>
                  <a:pt x="3508025" y="3434018"/>
                  <a:pt x="3500124" y="3477293"/>
                  <a:pt x="3490974" y="3521064"/>
                </a:cubicBezTo>
                <a:cubicBezTo>
                  <a:pt x="3486399" y="3542949"/>
                  <a:pt x="3481517" y="3564952"/>
                  <a:pt x="3476352" y="3587050"/>
                </a:cubicBezTo>
                <a:cubicBezTo>
                  <a:pt x="3471140" y="3609218"/>
                  <a:pt x="3465622" y="3631457"/>
                  <a:pt x="3459844" y="3653814"/>
                </a:cubicBezTo>
                <a:cubicBezTo>
                  <a:pt x="3448265" y="3698480"/>
                  <a:pt x="3435553" y="3743453"/>
                  <a:pt x="3420649" y="3790101"/>
                </a:cubicBezTo>
                <a:cubicBezTo>
                  <a:pt x="3413173" y="3813425"/>
                  <a:pt x="3405202" y="3837079"/>
                  <a:pt x="3396216" y="3861629"/>
                </a:cubicBezTo>
                <a:cubicBezTo>
                  <a:pt x="3387231" y="3886132"/>
                  <a:pt x="3377256" y="3911531"/>
                  <a:pt x="3365441" y="3938204"/>
                </a:cubicBezTo>
                <a:cubicBezTo>
                  <a:pt x="3359521" y="3951528"/>
                  <a:pt x="3353106" y="3965183"/>
                  <a:pt x="3346197" y="3978838"/>
                </a:cubicBezTo>
                <a:cubicBezTo>
                  <a:pt x="3339310" y="3992492"/>
                  <a:pt x="3331905" y="4006147"/>
                  <a:pt x="3324335" y="4019189"/>
                </a:cubicBezTo>
                <a:cubicBezTo>
                  <a:pt x="3316765" y="4032230"/>
                  <a:pt x="3309029" y="4044635"/>
                  <a:pt x="3301412" y="4056261"/>
                </a:cubicBezTo>
                <a:cubicBezTo>
                  <a:pt x="3293771" y="4067888"/>
                  <a:pt x="3286224" y="4078736"/>
                  <a:pt x="3278749" y="4089042"/>
                </a:cubicBezTo>
                <a:cubicBezTo>
                  <a:pt x="3263820" y="4109654"/>
                  <a:pt x="3249317" y="4128072"/>
                  <a:pt x="3234813" y="4145713"/>
                </a:cubicBezTo>
                <a:cubicBezTo>
                  <a:pt x="3231205" y="4150099"/>
                  <a:pt x="3227573" y="4154462"/>
                  <a:pt x="3223965" y="4158731"/>
                </a:cubicBezTo>
                <a:cubicBezTo>
                  <a:pt x="3222149" y="4160876"/>
                  <a:pt x="3220356" y="4162999"/>
                  <a:pt x="3218541" y="4165122"/>
                </a:cubicBezTo>
                <a:cubicBezTo>
                  <a:pt x="3216725" y="4167244"/>
                  <a:pt x="3214979" y="4169225"/>
                  <a:pt x="3213187" y="4171277"/>
                </a:cubicBezTo>
                <a:cubicBezTo>
                  <a:pt x="3211395" y="4173305"/>
                  <a:pt x="3209602" y="4175357"/>
                  <a:pt x="3207810" y="4177385"/>
                </a:cubicBezTo>
                <a:cubicBezTo>
                  <a:pt x="3206041" y="4179389"/>
                  <a:pt x="3204249" y="4181370"/>
                  <a:pt x="3202457" y="4183375"/>
                </a:cubicBezTo>
                <a:cubicBezTo>
                  <a:pt x="3198896" y="4187360"/>
                  <a:pt x="3195288" y="4191346"/>
                  <a:pt x="3191679" y="4195332"/>
                </a:cubicBezTo>
                <a:cubicBezTo>
                  <a:pt x="3133900" y="4258865"/>
                  <a:pt x="3071312" y="4321549"/>
                  <a:pt x="2999146" y="4381498"/>
                </a:cubicBezTo>
                <a:cubicBezTo>
                  <a:pt x="2852977" y="4499531"/>
                  <a:pt x="2676648" y="4614311"/>
                  <a:pt x="2377330" y="4678269"/>
                </a:cubicBezTo>
                <a:cubicBezTo>
                  <a:pt x="2676837" y="4614099"/>
                  <a:pt x="2853284" y="4499060"/>
                  <a:pt x="2999547" y="4380696"/>
                </a:cubicBezTo>
                <a:cubicBezTo>
                  <a:pt x="3071782" y="4320606"/>
                  <a:pt x="3134419" y="4257757"/>
                  <a:pt x="3192222" y="4194035"/>
                </a:cubicBezTo>
                <a:cubicBezTo>
                  <a:pt x="3195830" y="4190025"/>
                  <a:pt x="3199438" y="4186040"/>
                  <a:pt x="3202999" y="4182031"/>
                </a:cubicBezTo>
                <a:cubicBezTo>
                  <a:pt x="3204792" y="4180026"/>
                  <a:pt x="3206560" y="4178022"/>
                  <a:pt x="3208352" y="4176041"/>
                </a:cubicBezTo>
                <a:cubicBezTo>
                  <a:pt x="3210145" y="4174013"/>
                  <a:pt x="3211937" y="4171984"/>
                  <a:pt x="3213706" y="4169933"/>
                </a:cubicBezTo>
                <a:cubicBezTo>
                  <a:pt x="3215498" y="4167881"/>
                  <a:pt x="3217243" y="4165923"/>
                  <a:pt x="3219059" y="4163777"/>
                </a:cubicBezTo>
                <a:cubicBezTo>
                  <a:pt x="3220875" y="4161631"/>
                  <a:pt x="3222668" y="4159509"/>
                  <a:pt x="3224484" y="4157363"/>
                </a:cubicBezTo>
                <a:cubicBezTo>
                  <a:pt x="3228092" y="4153071"/>
                  <a:pt x="3231700" y="4148731"/>
                  <a:pt x="3235332" y="4144321"/>
                </a:cubicBezTo>
                <a:cubicBezTo>
                  <a:pt x="3249788" y="4126681"/>
                  <a:pt x="3264268" y="4108262"/>
                  <a:pt x="3279102" y="4087745"/>
                </a:cubicBezTo>
                <a:cubicBezTo>
                  <a:pt x="3286507" y="4077463"/>
                  <a:pt x="3294007" y="4066709"/>
                  <a:pt x="3301577" y="4055177"/>
                </a:cubicBezTo>
                <a:cubicBezTo>
                  <a:pt x="3309124" y="4043668"/>
                  <a:pt x="3316741" y="4031405"/>
                  <a:pt x="3324193" y="4018552"/>
                </a:cubicBezTo>
                <a:cubicBezTo>
                  <a:pt x="3339169" y="3992799"/>
                  <a:pt x="3353059" y="3964971"/>
                  <a:pt x="3364686" y="3938723"/>
                </a:cubicBezTo>
                <a:cubicBezTo>
                  <a:pt x="3376383" y="3912333"/>
                  <a:pt x="3386288" y="3887099"/>
                  <a:pt x="3395203" y="3862738"/>
                </a:cubicBezTo>
                <a:cubicBezTo>
                  <a:pt x="3404140" y="3838329"/>
                  <a:pt x="3412088" y="3814769"/>
                  <a:pt x="3419517" y="3791516"/>
                </a:cubicBezTo>
                <a:cubicBezTo>
                  <a:pt x="3434374" y="3745057"/>
                  <a:pt x="3447038" y="3700155"/>
                  <a:pt x="3458594" y="3655582"/>
                </a:cubicBezTo>
                <a:cubicBezTo>
                  <a:pt x="3464372" y="3633273"/>
                  <a:pt x="3469867" y="3611057"/>
                  <a:pt x="3475055" y="3588960"/>
                </a:cubicBezTo>
                <a:cubicBezTo>
                  <a:pt x="3480220" y="3566886"/>
                  <a:pt x="3485078" y="3544930"/>
                  <a:pt x="3489630" y="3523092"/>
                </a:cubicBezTo>
                <a:cubicBezTo>
                  <a:pt x="3498756" y="3479392"/>
                  <a:pt x="3506633" y="3436212"/>
                  <a:pt x="3513236" y="3393620"/>
                </a:cubicBezTo>
                <a:cubicBezTo>
                  <a:pt x="3539886" y="3223137"/>
                  <a:pt x="3545168" y="3063196"/>
                  <a:pt x="3531820" y="2917074"/>
                </a:cubicBezTo>
                <a:cubicBezTo>
                  <a:pt x="3518920" y="2770693"/>
                  <a:pt x="3487389" y="2638014"/>
                  <a:pt x="3451896" y="2515357"/>
                </a:cubicBezTo>
                <a:cubicBezTo>
                  <a:pt x="3443076" y="2484676"/>
                  <a:pt x="3434068" y="2454583"/>
                  <a:pt x="3425177" y="2424987"/>
                </a:cubicBezTo>
                <a:cubicBezTo>
                  <a:pt x="3416357" y="2395319"/>
                  <a:pt x="3407678" y="2366123"/>
                  <a:pt x="3399471" y="2337351"/>
                </a:cubicBezTo>
                <a:cubicBezTo>
                  <a:pt x="3391500" y="2308344"/>
                  <a:pt x="3384024" y="2279525"/>
                  <a:pt x="3380156" y="2248773"/>
                </a:cubicBezTo>
                <a:cubicBezTo>
                  <a:pt x="3378317" y="2233349"/>
                  <a:pt x="3377397" y="2217431"/>
                  <a:pt x="3379237" y="2200097"/>
                </a:cubicBezTo>
                <a:cubicBezTo>
                  <a:pt x="3380204" y="2191442"/>
                  <a:pt x="3381831" y="2182457"/>
                  <a:pt x="3384755" y="2173023"/>
                </a:cubicBezTo>
                <a:cubicBezTo>
                  <a:pt x="3387703" y="2163590"/>
                  <a:pt x="3391901" y="2153709"/>
                  <a:pt x="3397867" y="2143662"/>
                </a:cubicBezTo>
                <a:cubicBezTo>
                  <a:pt x="3403810" y="2133616"/>
                  <a:pt x="3411546" y="2123428"/>
                  <a:pt x="3420814" y="2113712"/>
                </a:cubicBezTo>
                <a:cubicBezTo>
                  <a:pt x="3430035" y="2103995"/>
                  <a:pt x="3440694" y="2094727"/>
                  <a:pt x="3452227" y="2086096"/>
                </a:cubicBezTo>
                <a:cubicBezTo>
                  <a:pt x="3463735" y="2077464"/>
                  <a:pt x="3476211" y="2069422"/>
                  <a:pt x="3489205" y="2061946"/>
                </a:cubicBezTo>
                <a:cubicBezTo>
                  <a:pt x="3502247" y="2054423"/>
                  <a:pt x="3515901" y="2047466"/>
                  <a:pt x="3530098" y="2040887"/>
                </a:cubicBezTo>
                <a:cubicBezTo>
                  <a:pt x="3558516" y="2027774"/>
                  <a:pt x="3589033" y="2016336"/>
                  <a:pt x="3621554" y="2006196"/>
                </a:cubicBezTo>
                <a:cubicBezTo>
                  <a:pt x="3654099" y="1996055"/>
                  <a:pt x="3688672" y="1987282"/>
                  <a:pt x="3725368" y="1979759"/>
                </a:cubicBezTo>
                <a:cubicBezTo>
                  <a:pt x="3835313" y="1957685"/>
                  <a:pt x="3964957" y="1945348"/>
                  <a:pt x="4118211" y="1949483"/>
                </a:cubicBezTo>
                <a:close/>
                <a:moveTo>
                  <a:pt x="4075058" y="1911605"/>
                </a:moveTo>
                <a:cubicBezTo>
                  <a:pt x="4126754" y="1911866"/>
                  <a:pt x="4181184" y="1913885"/>
                  <a:pt x="4238515" y="1917900"/>
                </a:cubicBezTo>
                <a:cubicBezTo>
                  <a:pt x="4467650" y="1935021"/>
                  <a:pt x="4744375" y="1982659"/>
                  <a:pt x="5067017" y="2105174"/>
                </a:cubicBezTo>
                <a:cubicBezTo>
                  <a:pt x="5385367" y="2227170"/>
                  <a:pt x="5757911" y="2432533"/>
                  <a:pt x="6078383" y="2763004"/>
                </a:cubicBezTo>
                <a:cubicBezTo>
                  <a:pt x="6072417" y="2760623"/>
                  <a:pt x="6066521" y="2758264"/>
                  <a:pt x="6060649" y="2755929"/>
                </a:cubicBezTo>
                <a:cubicBezTo>
                  <a:pt x="5741497" y="2428878"/>
                  <a:pt x="5371807" y="2225991"/>
                  <a:pt x="5055721" y="2105386"/>
                </a:cubicBezTo>
                <a:cubicBezTo>
                  <a:pt x="4735437" y="1984310"/>
                  <a:pt x="4460669" y="1937285"/>
                  <a:pt x="4233114" y="1920565"/>
                </a:cubicBezTo>
                <a:cubicBezTo>
                  <a:pt x="4005324" y="1904882"/>
                  <a:pt x="3823615" y="1920942"/>
                  <a:pt x="3677517" y="1953581"/>
                </a:cubicBezTo>
                <a:cubicBezTo>
                  <a:pt x="3640963" y="1961906"/>
                  <a:pt x="3606626" y="1971434"/>
                  <a:pt x="3574411" y="1982235"/>
                </a:cubicBezTo>
                <a:cubicBezTo>
                  <a:pt x="3542197" y="1993060"/>
                  <a:pt x="3512034" y="2005111"/>
                  <a:pt x="3484135" y="2018718"/>
                </a:cubicBezTo>
                <a:cubicBezTo>
                  <a:pt x="3470197" y="2025534"/>
                  <a:pt x="3456802" y="2032727"/>
                  <a:pt x="3444114" y="2040391"/>
                </a:cubicBezTo>
                <a:cubicBezTo>
                  <a:pt x="3431379" y="2048079"/>
                  <a:pt x="3419399" y="2056145"/>
                  <a:pt x="3408291" y="2064800"/>
                </a:cubicBezTo>
                <a:cubicBezTo>
                  <a:pt x="3397183" y="2073408"/>
                  <a:pt x="3387043" y="2082558"/>
                  <a:pt x="3378270" y="2092062"/>
                </a:cubicBezTo>
                <a:cubicBezTo>
                  <a:pt x="3369473" y="2101542"/>
                  <a:pt x="3362186" y="2111353"/>
                  <a:pt x="3356550" y="2121069"/>
                </a:cubicBezTo>
                <a:cubicBezTo>
                  <a:pt x="3350890" y="2130786"/>
                  <a:pt x="3346833" y="2140360"/>
                  <a:pt x="3344003" y="2149558"/>
                </a:cubicBezTo>
                <a:cubicBezTo>
                  <a:pt x="3341197" y="2158732"/>
                  <a:pt x="3339593" y="2167575"/>
                  <a:pt x="3338650" y="2176112"/>
                </a:cubicBezTo>
                <a:cubicBezTo>
                  <a:pt x="3336834" y="2193163"/>
                  <a:pt x="3337777" y="2209011"/>
                  <a:pt x="3339640" y="2224317"/>
                </a:cubicBezTo>
                <a:cubicBezTo>
                  <a:pt x="3343579" y="2254857"/>
                  <a:pt x="3351243" y="2283558"/>
                  <a:pt x="3359521" y="2312353"/>
                </a:cubicBezTo>
                <a:cubicBezTo>
                  <a:pt x="3368035" y="2340959"/>
                  <a:pt x="3377114" y="2369872"/>
                  <a:pt x="3386453" y="2399233"/>
                </a:cubicBezTo>
                <a:cubicBezTo>
                  <a:pt x="3395839" y="2428524"/>
                  <a:pt x="3405461" y="2458239"/>
                  <a:pt x="3414989" y="2488472"/>
                </a:cubicBezTo>
                <a:cubicBezTo>
                  <a:pt x="3453264" y="2609360"/>
                  <a:pt x="3489087" y="2739162"/>
                  <a:pt x="3506987" y="2882194"/>
                </a:cubicBezTo>
                <a:cubicBezTo>
                  <a:pt x="3525311" y="3024967"/>
                  <a:pt x="3525641" y="3181135"/>
                  <a:pt x="3504251" y="3348199"/>
                </a:cubicBezTo>
                <a:cubicBezTo>
                  <a:pt x="3498969" y="3389941"/>
                  <a:pt x="3492365" y="3432296"/>
                  <a:pt x="3484536" y="3475218"/>
                </a:cubicBezTo>
                <a:cubicBezTo>
                  <a:pt x="3480621" y="3496678"/>
                  <a:pt x="3476376" y="3518257"/>
                  <a:pt x="3471848" y="3539954"/>
                </a:cubicBezTo>
                <a:cubicBezTo>
                  <a:pt x="3467273" y="3561697"/>
                  <a:pt x="3462391" y="3583559"/>
                  <a:pt x="3457203" y="3605539"/>
                </a:cubicBezTo>
                <a:cubicBezTo>
                  <a:pt x="3446850" y="3649427"/>
                  <a:pt x="3435365" y="3693716"/>
                  <a:pt x="3421568" y="3739774"/>
                </a:cubicBezTo>
                <a:cubicBezTo>
                  <a:pt x="3414659" y="3762815"/>
                  <a:pt x="3407254" y="3786233"/>
                  <a:pt x="3398787" y="3810571"/>
                </a:cubicBezTo>
                <a:cubicBezTo>
                  <a:pt x="3390344" y="3834885"/>
                  <a:pt x="3380864" y="3860190"/>
                  <a:pt x="3369473" y="3886910"/>
                </a:cubicBezTo>
                <a:cubicBezTo>
                  <a:pt x="3363790" y="3900234"/>
                  <a:pt x="3357540" y="3913960"/>
                  <a:pt x="3350795" y="3927756"/>
                </a:cubicBezTo>
                <a:cubicBezTo>
                  <a:pt x="3344074" y="3941529"/>
                  <a:pt x="3336810" y="3955348"/>
                  <a:pt x="3329335" y="3968602"/>
                </a:cubicBezTo>
                <a:cubicBezTo>
                  <a:pt x="3321859" y="3981856"/>
                  <a:pt x="3314194" y="3994520"/>
                  <a:pt x="3306577" y="4006406"/>
                </a:cubicBezTo>
                <a:cubicBezTo>
                  <a:pt x="3298959" y="4018316"/>
                  <a:pt x="3291389" y="4029447"/>
                  <a:pt x="3283913" y="4040059"/>
                </a:cubicBezTo>
                <a:cubicBezTo>
                  <a:pt x="3268938" y="4061261"/>
                  <a:pt x="3254293" y="4080293"/>
                  <a:pt x="3239671" y="4098499"/>
                </a:cubicBezTo>
                <a:cubicBezTo>
                  <a:pt x="3236016" y="4103050"/>
                  <a:pt x="3232360" y="4107531"/>
                  <a:pt x="3228705" y="4111965"/>
                </a:cubicBezTo>
                <a:cubicBezTo>
                  <a:pt x="3226889" y="4114182"/>
                  <a:pt x="3225050" y="4116375"/>
                  <a:pt x="3223210" y="4118568"/>
                </a:cubicBezTo>
                <a:cubicBezTo>
                  <a:pt x="3221370" y="4120761"/>
                  <a:pt x="3219602" y="4122813"/>
                  <a:pt x="3217786" y="4124935"/>
                </a:cubicBezTo>
                <a:cubicBezTo>
                  <a:pt x="3215970" y="4127034"/>
                  <a:pt x="3214154" y="4129157"/>
                  <a:pt x="3212338" y="4131256"/>
                </a:cubicBezTo>
                <a:cubicBezTo>
                  <a:pt x="3210546" y="4133331"/>
                  <a:pt x="3208730" y="4135383"/>
                  <a:pt x="3206914" y="4137458"/>
                </a:cubicBezTo>
                <a:cubicBezTo>
                  <a:pt x="3203282" y="4141585"/>
                  <a:pt x="3199650" y="4145712"/>
                  <a:pt x="3195971" y="4149839"/>
                </a:cubicBezTo>
                <a:cubicBezTo>
                  <a:pt x="3137343" y="4215519"/>
                  <a:pt x="3073669" y="4279854"/>
                  <a:pt x="2999877" y="4340840"/>
                </a:cubicBezTo>
                <a:cubicBezTo>
                  <a:pt x="2849935" y="4460690"/>
                  <a:pt x="2670278" y="4576271"/>
                  <a:pt x="2354640" y="4632989"/>
                </a:cubicBezTo>
                <a:cubicBezTo>
                  <a:pt x="2670490" y="4576035"/>
                  <a:pt x="2850241" y="4460218"/>
                  <a:pt x="3000278" y="4340038"/>
                </a:cubicBezTo>
                <a:cubicBezTo>
                  <a:pt x="3074117" y="4278887"/>
                  <a:pt x="3137839" y="4214387"/>
                  <a:pt x="3196490" y="4148519"/>
                </a:cubicBezTo>
                <a:cubicBezTo>
                  <a:pt x="3200169" y="4144392"/>
                  <a:pt x="3203801" y="4140241"/>
                  <a:pt x="3207433" y="4136114"/>
                </a:cubicBezTo>
                <a:cubicBezTo>
                  <a:pt x="3209249" y="4134039"/>
                  <a:pt x="3211065" y="4131987"/>
                  <a:pt x="3212857" y="4129911"/>
                </a:cubicBezTo>
                <a:cubicBezTo>
                  <a:pt x="3214673" y="4127813"/>
                  <a:pt x="3216489" y="4125714"/>
                  <a:pt x="3218281" y="4123615"/>
                </a:cubicBezTo>
                <a:cubicBezTo>
                  <a:pt x="3220097" y="4121492"/>
                  <a:pt x="3221866" y="4119464"/>
                  <a:pt x="3223705" y="4117247"/>
                </a:cubicBezTo>
                <a:cubicBezTo>
                  <a:pt x="3225545" y="4115054"/>
                  <a:pt x="3227361" y="4112837"/>
                  <a:pt x="3229200" y="4110621"/>
                </a:cubicBezTo>
                <a:cubicBezTo>
                  <a:pt x="3232855" y="4106187"/>
                  <a:pt x="3236511" y="4101706"/>
                  <a:pt x="3240166" y="4097154"/>
                </a:cubicBezTo>
                <a:cubicBezTo>
                  <a:pt x="3254764" y="4078948"/>
                  <a:pt x="3269386" y="4059917"/>
                  <a:pt x="3284267" y="4038809"/>
                </a:cubicBezTo>
                <a:cubicBezTo>
                  <a:pt x="3291696" y="4028244"/>
                  <a:pt x="3299219" y="4017184"/>
                  <a:pt x="3306742" y="4005392"/>
                </a:cubicBezTo>
                <a:cubicBezTo>
                  <a:pt x="3314265" y="3993624"/>
                  <a:pt x="3321835" y="3981101"/>
                  <a:pt x="3329193" y="3968036"/>
                </a:cubicBezTo>
                <a:cubicBezTo>
                  <a:pt x="3343980" y="3941859"/>
                  <a:pt x="3357540" y="3913818"/>
                  <a:pt x="3368718" y="3887523"/>
                </a:cubicBezTo>
                <a:cubicBezTo>
                  <a:pt x="3379991" y="3861110"/>
                  <a:pt x="3389377" y="3835994"/>
                  <a:pt x="3397773" y="3811797"/>
                </a:cubicBezTo>
                <a:cubicBezTo>
                  <a:pt x="3406192" y="3787578"/>
                  <a:pt x="3413574" y="3764254"/>
                  <a:pt x="3420437" y="3741284"/>
                </a:cubicBezTo>
                <a:cubicBezTo>
                  <a:pt x="3434162" y="3695391"/>
                  <a:pt x="3445624" y="3651196"/>
                  <a:pt x="3455929" y="3607378"/>
                </a:cubicBezTo>
                <a:cubicBezTo>
                  <a:pt x="3461094" y="3585469"/>
                  <a:pt x="3465952" y="3563631"/>
                  <a:pt x="3470527" y="3541935"/>
                </a:cubicBezTo>
                <a:cubicBezTo>
                  <a:pt x="3475055" y="3520285"/>
                  <a:pt x="3479277" y="3498730"/>
                  <a:pt x="3483191" y="3477317"/>
                </a:cubicBezTo>
                <a:cubicBezTo>
                  <a:pt x="3490998" y="3434489"/>
                  <a:pt x="3497577" y="3392205"/>
                  <a:pt x="3502836" y="3350533"/>
                </a:cubicBezTo>
                <a:cubicBezTo>
                  <a:pt x="3524108" y="3183753"/>
                  <a:pt x="3523731" y="3027891"/>
                  <a:pt x="3505289" y="2885331"/>
                </a:cubicBezTo>
                <a:cubicBezTo>
                  <a:pt x="3487271" y="2742534"/>
                  <a:pt x="3451260" y="2612921"/>
                  <a:pt x="3412513" y="2492198"/>
                </a:cubicBezTo>
                <a:cubicBezTo>
                  <a:pt x="3402867" y="2461988"/>
                  <a:pt x="3393127" y="2432321"/>
                  <a:pt x="3383576" y="2403077"/>
                </a:cubicBezTo>
                <a:cubicBezTo>
                  <a:pt x="3374095" y="2373740"/>
                  <a:pt x="3364827" y="2344850"/>
                  <a:pt x="3356125" y="2316268"/>
                </a:cubicBezTo>
                <a:cubicBezTo>
                  <a:pt x="3347635" y="2287473"/>
                  <a:pt x="3339735" y="2258748"/>
                  <a:pt x="3335490" y="2227996"/>
                </a:cubicBezTo>
                <a:cubicBezTo>
                  <a:pt x="3333462" y="2212572"/>
                  <a:pt x="3332353" y="2196583"/>
                  <a:pt x="3334028" y="2179131"/>
                </a:cubicBezTo>
                <a:cubicBezTo>
                  <a:pt x="3334900" y="2170405"/>
                  <a:pt x="3336457" y="2161349"/>
                  <a:pt x="3339263" y="2151775"/>
                </a:cubicBezTo>
                <a:cubicBezTo>
                  <a:pt x="3342117" y="2142223"/>
                  <a:pt x="3346220" y="2132201"/>
                  <a:pt x="3352092" y="2121942"/>
                </a:cubicBezTo>
                <a:cubicBezTo>
                  <a:pt x="3357965" y="2111707"/>
                  <a:pt x="3365606" y="2101283"/>
                  <a:pt x="3374779" y="2091307"/>
                </a:cubicBezTo>
                <a:cubicBezTo>
                  <a:pt x="3383930" y="2081332"/>
                  <a:pt x="3394519" y="2071780"/>
                  <a:pt x="3405980" y="2062866"/>
                </a:cubicBezTo>
                <a:cubicBezTo>
                  <a:pt x="3417418" y="2053951"/>
                  <a:pt x="3429870" y="2045579"/>
                  <a:pt x="3442817" y="2037797"/>
                </a:cubicBezTo>
                <a:cubicBezTo>
                  <a:pt x="3455811" y="2029944"/>
                  <a:pt x="3469443" y="2022680"/>
                  <a:pt x="3483616" y="2015770"/>
                </a:cubicBezTo>
                <a:cubicBezTo>
                  <a:pt x="3511986" y="2001998"/>
                  <a:pt x="3542480" y="1989876"/>
                  <a:pt x="3575048" y="1979004"/>
                </a:cubicBezTo>
                <a:cubicBezTo>
                  <a:pt x="3607617" y="1968156"/>
                  <a:pt x="3642284" y="1958604"/>
                  <a:pt x="3679121" y="1950303"/>
                </a:cubicBezTo>
                <a:cubicBezTo>
                  <a:pt x="3789490" y="1925859"/>
                  <a:pt x="3919971" y="1910821"/>
                  <a:pt x="4075058" y="1911605"/>
                </a:cubicBezTo>
                <a:close/>
                <a:moveTo>
                  <a:pt x="4031605" y="1874980"/>
                </a:moveTo>
                <a:cubicBezTo>
                  <a:pt x="4083849" y="1874168"/>
                  <a:pt x="4138929" y="1875043"/>
                  <a:pt x="4197032" y="1877832"/>
                </a:cubicBezTo>
                <a:cubicBezTo>
                  <a:pt x="4429397" y="1890095"/>
                  <a:pt x="4710981" y="1931248"/>
                  <a:pt x="5044731" y="2045863"/>
                </a:cubicBezTo>
                <a:cubicBezTo>
                  <a:pt x="5374306" y="2160383"/>
                  <a:pt x="5764655" y="2355840"/>
                  <a:pt x="6118427" y="2685345"/>
                </a:cubicBezTo>
                <a:cubicBezTo>
                  <a:pt x="6112107" y="2683057"/>
                  <a:pt x="6105881" y="2680746"/>
                  <a:pt x="6099655" y="2678435"/>
                </a:cubicBezTo>
                <a:cubicBezTo>
                  <a:pt x="5747628" y="2352492"/>
                  <a:pt x="5360321" y="2159439"/>
                  <a:pt x="5033127" y="2046311"/>
                </a:cubicBezTo>
                <a:cubicBezTo>
                  <a:pt x="4701854" y="1933111"/>
                  <a:pt x="4422275" y="1892548"/>
                  <a:pt x="4191513" y="1880662"/>
                </a:cubicBezTo>
                <a:cubicBezTo>
                  <a:pt x="3960657" y="1869861"/>
                  <a:pt x="3777840" y="1889482"/>
                  <a:pt x="3631294" y="1925164"/>
                </a:cubicBezTo>
                <a:cubicBezTo>
                  <a:pt x="3594645" y="1934243"/>
                  <a:pt x="3560237" y="1944502"/>
                  <a:pt x="3527975" y="1955987"/>
                </a:cubicBezTo>
                <a:cubicBezTo>
                  <a:pt x="3495737" y="1967496"/>
                  <a:pt x="3465598" y="1980230"/>
                  <a:pt x="3437746" y="1994451"/>
                </a:cubicBezTo>
                <a:cubicBezTo>
                  <a:pt x="3423832" y="2001597"/>
                  <a:pt x="3410484" y="2009073"/>
                  <a:pt x="3397820" y="2017044"/>
                </a:cubicBezTo>
                <a:cubicBezTo>
                  <a:pt x="3385108" y="2025039"/>
                  <a:pt x="3373175" y="2033387"/>
                  <a:pt x="3362138" y="2042325"/>
                </a:cubicBezTo>
                <a:cubicBezTo>
                  <a:pt x="3351078" y="2051216"/>
                  <a:pt x="3341008" y="2060626"/>
                  <a:pt x="3332305" y="2070389"/>
                </a:cubicBezTo>
                <a:cubicBezTo>
                  <a:pt x="3323580" y="2080129"/>
                  <a:pt x="3316363" y="2090152"/>
                  <a:pt x="3310774" y="2100057"/>
                </a:cubicBezTo>
                <a:cubicBezTo>
                  <a:pt x="3305185" y="2109962"/>
                  <a:pt x="3301199" y="2119702"/>
                  <a:pt x="3298440" y="2129017"/>
                </a:cubicBezTo>
                <a:cubicBezTo>
                  <a:pt x="3295704" y="2138332"/>
                  <a:pt x="3294171" y="2147270"/>
                  <a:pt x="3293299" y="2155902"/>
                </a:cubicBezTo>
                <a:cubicBezTo>
                  <a:pt x="3291648" y="2173118"/>
                  <a:pt x="3292709" y="2189036"/>
                  <a:pt x="3294761" y="2204413"/>
                </a:cubicBezTo>
                <a:cubicBezTo>
                  <a:pt x="3299030" y="2235071"/>
                  <a:pt x="3307048" y="2263701"/>
                  <a:pt x="3315774" y="2292401"/>
                </a:cubicBezTo>
                <a:cubicBezTo>
                  <a:pt x="3324712" y="2320866"/>
                  <a:pt x="3334334" y="2349591"/>
                  <a:pt x="3344262" y="2378693"/>
                </a:cubicBezTo>
                <a:cubicBezTo>
                  <a:pt x="3354238" y="2407700"/>
                  <a:pt x="3364520" y="2437085"/>
                  <a:pt x="3374803" y="2466917"/>
                </a:cubicBezTo>
                <a:cubicBezTo>
                  <a:pt x="3416050" y="2586178"/>
                  <a:pt x="3456070" y="2713173"/>
                  <a:pt x="3478852" y="2852810"/>
                </a:cubicBezTo>
                <a:cubicBezTo>
                  <a:pt x="3502058" y="2992210"/>
                  <a:pt x="3507882" y="3144392"/>
                  <a:pt x="3491799" y="3307753"/>
                </a:cubicBezTo>
                <a:cubicBezTo>
                  <a:pt x="3487837" y="3348552"/>
                  <a:pt x="3482554" y="3390012"/>
                  <a:pt x="3475998" y="3432037"/>
                </a:cubicBezTo>
                <a:cubicBezTo>
                  <a:pt x="3472720" y="3453050"/>
                  <a:pt x="3469112" y="3474204"/>
                  <a:pt x="3465221" y="3495476"/>
                </a:cubicBezTo>
                <a:cubicBezTo>
                  <a:pt x="3461282" y="3516795"/>
                  <a:pt x="3457014" y="3538256"/>
                  <a:pt x="3452462" y="3559811"/>
                </a:cubicBezTo>
                <a:cubicBezTo>
                  <a:pt x="3443359" y="3602897"/>
                  <a:pt x="3433053" y="3646432"/>
                  <a:pt x="3420412" y="3691853"/>
                </a:cubicBezTo>
                <a:cubicBezTo>
                  <a:pt x="3414092" y="3714564"/>
                  <a:pt x="3407229" y="3737699"/>
                  <a:pt x="3399329" y="3761848"/>
                </a:cubicBezTo>
                <a:cubicBezTo>
                  <a:pt x="3391405" y="3785950"/>
                  <a:pt x="3382491" y="3811090"/>
                  <a:pt x="3371548" y="3837763"/>
                </a:cubicBezTo>
                <a:cubicBezTo>
                  <a:pt x="3366100" y="3851087"/>
                  <a:pt x="3360087" y="3864836"/>
                  <a:pt x="3353507" y="3878703"/>
                </a:cubicBezTo>
                <a:cubicBezTo>
                  <a:pt x="3346974" y="3892547"/>
                  <a:pt x="3339852" y="3906508"/>
                  <a:pt x="3332494" y="3919927"/>
                </a:cubicBezTo>
                <a:cubicBezTo>
                  <a:pt x="3325136" y="3933369"/>
                  <a:pt x="3317542" y="3946245"/>
                  <a:pt x="3309972" y="3958367"/>
                </a:cubicBezTo>
                <a:cubicBezTo>
                  <a:pt x="3302402" y="3970513"/>
                  <a:pt x="3294855" y="3981880"/>
                  <a:pt x="3287379" y="3992752"/>
                </a:cubicBezTo>
                <a:cubicBezTo>
                  <a:pt x="3272404" y="4014472"/>
                  <a:pt x="3257688" y="4034046"/>
                  <a:pt x="3242949" y="4052747"/>
                </a:cubicBezTo>
                <a:cubicBezTo>
                  <a:pt x="3239270" y="4057417"/>
                  <a:pt x="3235591" y="4062039"/>
                  <a:pt x="3231888" y="4066591"/>
                </a:cubicBezTo>
                <a:cubicBezTo>
                  <a:pt x="3230049" y="4068855"/>
                  <a:pt x="3228209" y="4071119"/>
                  <a:pt x="3226346" y="4073383"/>
                </a:cubicBezTo>
                <a:cubicBezTo>
                  <a:pt x="3224507" y="4075647"/>
                  <a:pt x="3222691" y="4077746"/>
                  <a:pt x="3220851" y="4079939"/>
                </a:cubicBezTo>
                <a:cubicBezTo>
                  <a:pt x="3219012" y="4082108"/>
                  <a:pt x="3217196" y="4084278"/>
                  <a:pt x="3215356" y="4086448"/>
                </a:cubicBezTo>
                <a:cubicBezTo>
                  <a:pt x="3213540" y="4088570"/>
                  <a:pt x="3211701" y="4090693"/>
                  <a:pt x="3209885" y="4092815"/>
                </a:cubicBezTo>
                <a:cubicBezTo>
                  <a:pt x="3206230" y="4097060"/>
                  <a:pt x="3202527" y="4101305"/>
                  <a:pt x="3198825" y="4105550"/>
                </a:cubicBezTo>
                <a:cubicBezTo>
                  <a:pt x="3139489" y="4173093"/>
                  <a:pt x="3074828" y="4238843"/>
                  <a:pt x="2999502" y="4300654"/>
                </a:cubicBezTo>
                <a:cubicBezTo>
                  <a:pt x="2923920" y="4362089"/>
                  <a:pt x="2838168" y="4420221"/>
                  <a:pt x="2731835" y="4470571"/>
                </a:cubicBezTo>
                <a:cubicBezTo>
                  <a:pt x="2625098" y="4520638"/>
                  <a:pt x="2497747" y="4562923"/>
                  <a:pt x="2329717" y="4586223"/>
                </a:cubicBezTo>
                <a:cubicBezTo>
                  <a:pt x="2497843" y="4562805"/>
                  <a:pt x="2625262" y="4520403"/>
                  <a:pt x="2732071" y="4470194"/>
                </a:cubicBezTo>
                <a:cubicBezTo>
                  <a:pt x="2838475" y="4419702"/>
                  <a:pt x="2924271" y="4361428"/>
                  <a:pt x="2999904" y="4299829"/>
                </a:cubicBezTo>
                <a:cubicBezTo>
                  <a:pt x="3075274" y="4237876"/>
                  <a:pt x="3139984" y="4171937"/>
                  <a:pt x="3199343" y="4104229"/>
                </a:cubicBezTo>
                <a:cubicBezTo>
                  <a:pt x="3203046" y="4099985"/>
                  <a:pt x="3206748" y="4095716"/>
                  <a:pt x="3210404" y="4091471"/>
                </a:cubicBezTo>
                <a:cubicBezTo>
                  <a:pt x="3212243" y="4089349"/>
                  <a:pt x="3214059" y="4087202"/>
                  <a:pt x="3215899" y="4085080"/>
                </a:cubicBezTo>
                <a:cubicBezTo>
                  <a:pt x="3217738" y="4082910"/>
                  <a:pt x="3219554" y="4080764"/>
                  <a:pt x="3221370" y="4078594"/>
                </a:cubicBezTo>
                <a:cubicBezTo>
                  <a:pt x="3223209" y="4076401"/>
                  <a:pt x="3224978" y="4074302"/>
                  <a:pt x="3226841" y="4072039"/>
                </a:cubicBezTo>
                <a:cubicBezTo>
                  <a:pt x="3228681" y="4069774"/>
                  <a:pt x="3230544" y="4067510"/>
                  <a:pt x="3232383" y="4065223"/>
                </a:cubicBezTo>
                <a:cubicBezTo>
                  <a:pt x="3236062" y="4060671"/>
                  <a:pt x="3239741" y="4056049"/>
                  <a:pt x="3243420" y="4051380"/>
                </a:cubicBezTo>
                <a:cubicBezTo>
                  <a:pt x="3258136" y="4032654"/>
                  <a:pt x="3272829" y="4013104"/>
                  <a:pt x="3287710" y="3991478"/>
                </a:cubicBezTo>
                <a:cubicBezTo>
                  <a:pt x="3295162" y="3980654"/>
                  <a:pt x="3302638" y="3969333"/>
                  <a:pt x="3310114" y="3957330"/>
                </a:cubicBezTo>
                <a:cubicBezTo>
                  <a:pt x="3317590" y="3945326"/>
                  <a:pt x="3325089" y="3932591"/>
                  <a:pt x="3332329" y="3919361"/>
                </a:cubicBezTo>
                <a:cubicBezTo>
                  <a:pt x="3346903" y="3892853"/>
                  <a:pt x="3360063" y="3864648"/>
                  <a:pt x="3370770" y="3838376"/>
                </a:cubicBezTo>
                <a:cubicBezTo>
                  <a:pt x="3381571" y="3811963"/>
                  <a:pt x="3390438" y="3787012"/>
                  <a:pt x="3398315" y="3763051"/>
                </a:cubicBezTo>
                <a:cubicBezTo>
                  <a:pt x="3406192" y="3739043"/>
                  <a:pt x="3413007" y="3716002"/>
                  <a:pt x="3419304" y="3693363"/>
                </a:cubicBezTo>
                <a:cubicBezTo>
                  <a:pt x="3431874" y="3648083"/>
                  <a:pt x="3442156" y="3604643"/>
                  <a:pt x="3451236" y="3561650"/>
                </a:cubicBezTo>
                <a:cubicBezTo>
                  <a:pt x="3455787" y="3540143"/>
                  <a:pt x="3460032" y="3518729"/>
                  <a:pt x="3463971" y="3497433"/>
                </a:cubicBezTo>
                <a:cubicBezTo>
                  <a:pt x="3467862" y="3476208"/>
                  <a:pt x="3471447" y="3455078"/>
                  <a:pt x="3474725" y="3434112"/>
                </a:cubicBezTo>
                <a:cubicBezTo>
                  <a:pt x="3481257" y="3392158"/>
                  <a:pt x="3486516" y="3350793"/>
                  <a:pt x="3490455" y="3310064"/>
                </a:cubicBezTo>
                <a:cubicBezTo>
                  <a:pt x="3506468" y="3147010"/>
                  <a:pt x="3500572" y="2995087"/>
                  <a:pt x="3477248" y="2855923"/>
                </a:cubicBezTo>
                <a:cubicBezTo>
                  <a:pt x="3454349" y="2716522"/>
                  <a:pt x="3414116" y="2589715"/>
                  <a:pt x="3372421" y="2470644"/>
                </a:cubicBezTo>
                <a:cubicBezTo>
                  <a:pt x="3362044" y="2440858"/>
                  <a:pt x="3351620" y="2411520"/>
                  <a:pt x="3341479" y="2382537"/>
                </a:cubicBezTo>
                <a:cubicBezTo>
                  <a:pt x="3331409" y="2353482"/>
                  <a:pt x="3321622" y="2324781"/>
                  <a:pt x="3312472" y="2296316"/>
                </a:cubicBezTo>
                <a:cubicBezTo>
                  <a:pt x="3303534" y="2267639"/>
                  <a:pt x="3295256" y="2238962"/>
                  <a:pt x="3290681" y="2208115"/>
                </a:cubicBezTo>
                <a:cubicBezTo>
                  <a:pt x="3288488" y="2192621"/>
                  <a:pt x="3287238" y="2176561"/>
                  <a:pt x="3288747" y="2158944"/>
                </a:cubicBezTo>
                <a:cubicBezTo>
                  <a:pt x="3289549" y="2150147"/>
                  <a:pt x="3291011" y="2140974"/>
                  <a:pt x="3293771" y="2131281"/>
                </a:cubicBezTo>
                <a:cubicBezTo>
                  <a:pt x="3296553" y="2121588"/>
                  <a:pt x="3300586" y="2111400"/>
                  <a:pt x="3306388" y="2100953"/>
                </a:cubicBezTo>
                <a:cubicBezTo>
                  <a:pt x="3312165" y="2090506"/>
                  <a:pt x="3319736" y="2079870"/>
                  <a:pt x="3328862" y="2069634"/>
                </a:cubicBezTo>
                <a:cubicBezTo>
                  <a:pt x="3337942" y="2059399"/>
                  <a:pt x="3348460" y="2049565"/>
                  <a:pt x="3359874" y="2040368"/>
                </a:cubicBezTo>
                <a:cubicBezTo>
                  <a:pt x="3371265" y="2031147"/>
                  <a:pt x="3383646" y="2022492"/>
                  <a:pt x="3396570" y="2014402"/>
                </a:cubicBezTo>
                <a:cubicBezTo>
                  <a:pt x="3409517" y="2006243"/>
                  <a:pt x="3423125" y="1998649"/>
                  <a:pt x="3437274" y="1991432"/>
                </a:cubicBezTo>
                <a:cubicBezTo>
                  <a:pt x="3465598" y="1977023"/>
                  <a:pt x="3496091" y="1964217"/>
                  <a:pt x="3528683" y="1952662"/>
                </a:cubicBezTo>
                <a:cubicBezTo>
                  <a:pt x="3561275" y="1941106"/>
                  <a:pt x="3595990" y="1930847"/>
                  <a:pt x="3632944" y="1921768"/>
                </a:cubicBezTo>
                <a:cubicBezTo>
                  <a:pt x="3743667" y="1895042"/>
                  <a:pt x="3874873" y="1877416"/>
                  <a:pt x="4031605" y="1874980"/>
                </a:cubicBezTo>
                <a:close/>
                <a:moveTo>
                  <a:pt x="4155053" y="1839300"/>
                </a:moveTo>
                <a:cubicBezTo>
                  <a:pt x="4390319" y="1846893"/>
                  <a:pt x="4676290" y="1881770"/>
                  <a:pt x="5020322" y="1988367"/>
                </a:cubicBezTo>
                <a:cubicBezTo>
                  <a:pt x="5360344" y="2095293"/>
                  <a:pt x="5767155" y="2280209"/>
                  <a:pt x="6153684" y="2607096"/>
                </a:cubicBezTo>
                <a:cubicBezTo>
                  <a:pt x="6147152" y="2604714"/>
                  <a:pt x="6140572" y="2602450"/>
                  <a:pt x="6134039" y="2600210"/>
                </a:cubicBezTo>
                <a:cubicBezTo>
                  <a:pt x="5749680" y="2277025"/>
                  <a:pt x="5346100" y="2094468"/>
                  <a:pt x="5008577" y="1988885"/>
                </a:cubicBezTo>
                <a:cubicBezTo>
                  <a:pt x="4667139" y="1883657"/>
                  <a:pt x="4383221" y="1849322"/>
                  <a:pt x="4149582" y="1842083"/>
                </a:cubicBezTo>
                <a:cubicBezTo>
                  <a:pt x="3915990" y="1835974"/>
                  <a:pt x="3732183" y="1858989"/>
                  <a:pt x="3585259" y="1897618"/>
                </a:cubicBezTo>
                <a:cubicBezTo>
                  <a:pt x="3548516" y="1907429"/>
                  <a:pt x="3514061" y="1918372"/>
                  <a:pt x="3481799" y="1930541"/>
                </a:cubicBezTo>
                <a:cubicBezTo>
                  <a:pt x="3449537" y="1942710"/>
                  <a:pt x="3419422" y="1956081"/>
                  <a:pt x="3391617" y="1970939"/>
                </a:cubicBezTo>
                <a:cubicBezTo>
                  <a:pt x="3377727" y="1978391"/>
                  <a:pt x="3364402" y="1986173"/>
                  <a:pt x="3351785" y="1994451"/>
                </a:cubicBezTo>
                <a:cubicBezTo>
                  <a:pt x="3339121" y="2002729"/>
                  <a:pt x="3327235" y="2011384"/>
                  <a:pt x="3316222" y="2020581"/>
                </a:cubicBezTo>
                <a:cubicBezTo>
                  <a:pt x="3305232" y="2029755"/>
                  <a:pt x="3295185" y="2039424"/>
                  <a:pt x="3286554" y="2049424"/>
                </a:cubicBezTo>
                <a:cubicBezTo>
                  <a:pt x="3277875" y="2059399"/>
                  <a:pt x="3270730" y="2069658"/>
                  <a:pt x="3265211" y="2079775"/>
                </a:cubicBezTo>
                <a:cubicBezTo>
                  <a:pt x="3259692" y="2089869"/>
                  <a:pt x="3255778" y="2099774"/>
                  <a:pt x="3253066" y="2109254"/>
                </a:cubicBezTo>
                <a:cubicBezTo>
                  <a:pt x="3250401" y="2118711"/>
                  <a:pt x="3248915" y="2127767"/>
                  <a:pt x="3248090" y="2136469"/>
                </a:cubicBezTo>
                <a:cubicBezTo>
                  <a:pt x="3246557" y="2153874"/>
                  <a:pt x="3247736" y="2169934"/>
                  <a:pt x="3249906" y="2185357"/>
                </a:cubicBezTo>
                <a:cubicBezTo>
                  <a:pt x="3254433" y="2216181"/>
                  <a:pt x="3262758" y="2244858"/>
                  <a:pt x="3271861" y="2273488"/>
                </a:cubicBezTo>
                <a:cubicBezTo>
                  <a:pt x="3281177" y="2301906"/>
                  <a:pt x="3291247" y="2330512"/>
                  <a:pt x="3301694" y="2359401"/>
                </a:cubicBezTo>
                <a:cubicBezTo>
                  <a:pt x="3312212" y="2388220"/>
                  <a:pt x="3323084" y="2417322"/>
                  <a:pt x="3334027" y="2446825"/>
                </a:cubicBezTo>
                <a:cubicBezTo>
                  <a:pt x="3377962" y="2564741"/>
                  <a:pt x="3421922" y="2689213"/>
                  <a:pt x="3449372" y="2825642"/>
                </a:cubicBezTo>
                <a:cubicBezTo>
                  <a:pt x="3477224" y="2961835"/>
                  <a:pt x="3488379" y="3110197"/>
                  <a:pt x="3477484" y="3269879"/>
                </a:cubicBezTo>
                <a:cubicBezTo>
                  <a:pt x="3474819" y="3309758"/>
                  <a:pt x="3470833" y="3350321"/>
                  <a:pt x="3465527" y="3391450"/>
                </a:cubicBezTo>
                <a:cubicBezTo>
                  <a:pt x="3462886" y="3412015"/>
                  <a:pt x="3459914" y="3432721"/>
                  <a:pt x="3456636" y="3453569"/>
                </a:cubicBezTo>
                <a:cubicBezTo>
                  <a:pt x="3453311" y="3474463"/>
                  <a:pt x="3449679" y="3495499"/>
                  <a:pt x="3445717" y="3516654"/>
                </a:cubicBezTo>
                <a:cubicBezTo>
                  <a:pt x="3437817" y="3558915"/>
                  <a:pt x="3428714" y="3601647"/>
                  <a:pt x="3417252" y="3646408"/>
                </a:cubicBezTo>
                <a:cubicBezTo>
                  <a:pt x="3411498" y="3668789"/>
                  <a:pt x="3405225" y="3691617"/>
                  <a:pt x="3397867" y="3715484"/>
                </a:cubicBezTo>
                <a:cubicBezTo>
                  <a:pt x="3390509" y="3739326"/>
                  <a:pt x="3382113" y="3764254"/>
                  <a:pt x="3371666" y="3790879"/>
                </a:cubicBezTo>
                <a:cubicBezTo>
                  <a:pt x="3366454" y="3804157"/>
                  <a:pt x="3360676" y="3817906"/>
                  <a:pt x="3354308" y="3831820"/>
                </a:cubicBezTo>
                <a:cubicBezTo>
                  <a:pt x="3347965" y="3845710"/>
                  <a:pt x="3341031" y="3859766"/>
                  <a:pt x="3333791" y="3873326"/>
                </a:cubicBezTo>
                <a:cubicBezTo>
                  <a:pt x="3326551" y="3886910"/>
                  <a:pt x="3319052" y="3899952"/>
                  <a:pt x="3311552" y="3912286"/>
                </a:cubicBezTo>
                <a:cubicBezTo>
                  <a:pt x="3304053" y="3924620"/>
                  <a:pt x="3296529" y="3936223"/>
                  <a:pt x="3289054" y="3947331"/>
                </a:cubicBezTo>
                <a:cubicBezTo>
                  <a:pt x="3274102" y="3969499"/>
                  <a:pt x="3259339" y="3989521"/>
                  <a:pt x="3244529" y="4008694"/>
                </a:cubicBezTo>
                <a:cubicBezTo>
                  <a:pt x="3240826" y="4013481"/>
                  <a:pt x="3237123" y="4018198"/>
                  <a:pt x="3233397" y="4022867"/>
                </a:cubicBezTo>
                <a:cubicBezTo>
                  <a:pt x="3231534" y="4025179"/>
                  <a:pt x="3229695" y="4027513"/>
                  <a:pt x="3227832" y="4029825"/>
                </a:cubicBezTo>
                <a:cubicBezTo>
                  <a:pt x="3225969" y="4032136"/>
                  <a:pt x="3224153" y="4034305"/>
                  <a:pt x="3222290" y="4036546"/>
                </a:cubicBezTo>
                <a:cubicBezTo>
                  <a:pt x="3220450" y="4038763"/>
                  <a:pt x="3218587" y="4040979"/>
                  <a:pt x="3216748" y="4043220"/>
                </a:cubicBezTo>
                <a:cubicBezTo>
                  <a:pt x="3214908" y="4045389"/>
                  <a:pt x="3213068" y="4047583"/>
                  <a:pt x="3211206" y="4049752"/>
                </a:cubicBezTo>
                <a:cubicBezTo>
                  <a:pt x="3207503" y="4054115"/>
                  <a:pt x="3203777" y="4058455"/>
                  <a:pt x="3200027" y="4062794"/>
                </a:cubicBezTo>
                <a:cubicBezTo>
                  <a:pt x="3140102" y="4131963"/>
                  <a:pt x="3074541" y="4198893"/>
                  <a:pt x="2997732" y="4261270"/>
                </a:cubicBezTo>
                <a:cubicBezTo>
                  <a:pt x="2920755" y="4323247"/>
                  <a:pt x="2832792" y="4381379"/>
                  <a:pt x="2722964" y="4430739"/>
                </a:cubicBezTo>
                <a:cubicBezTo>
                  <a:pt x="2612594" y="4479745"/>
                  <a:pt x="2480340" y="4519978"/>
                  <a:pt x="2302145" y="4538279"/>
                </a:cubicBezTo>
                <a:cubicBezTo>
                  <a:pt x="2480434" y="4519860"/>
                  <a:pt x="2612760" y="4479509"/>
                  <a:pt x="2723200" y="4430362"/>
                </a:cubicBezTo>
                <a:cubicBezTo>
                  <a:pt x="2833096" y="4380884"/>
                  <a:pt x="2921108" y="4322610"/>
                  <a:pt x="2998133" y="4260468"/>
                </a:cubicBezTo>
                <a:cubicBezTo>
                  <a:pt x="3074965" y="4197949"/>
                  <a:pt x="3140574" y="4130855"/>
                  <a:pt x="3200522" y="4061497"/>
                </a:cubicBezTo>
                <a:cubicBezTo>
                  <a:pt x="3204272" y="4057157"/>
                  <a:pt x="3207998" y="4052795"/>
                  <a:pt x="3211701" y="4048432"/>
                </a:cubicBezTo>
                <a:cubicBezTo>
                  <a:pt x="3213540" y="4046238"/>
                  <a:pt x="3215403" y="4044069"/>
                  <a:pt x="3217243" y="4041876"/>
                </a:cubicBezTo>
                <a:cubicBezTo>
                  <a:pt x="3219082" y="4039659"/>
                  <a:pt x="3220945" y="4037442"/>
                  <a:pt x="3222761" y="4035225"/>
                </a:cubicBezTo>
                <a:cubicBezTo>
                  <a:pt x="3224601" y="4032985"/>
                  <a:pt x="3226417" y="4030838"/>
                  <a:pt x="3228280" y="4028527"/>
                </a:cubicBezTo>
                <a:cubicBezTo>
                  <a:pt x="3230143" y="4026216"/>
                  <a:pt x="3232006" y="4023882"/>
                  <a:pt x="3233845" y="4021547"/>
                </a:cubicBezTo>
                <a:cubicBezTo>
                  <a:pt x="3237548" y="4016877"/>
                  <a:pt x="3241251" y="4012161"/>
                  <a:pt x="3244953" y="4007373"/>
                </a:cubicBezTo>
                <a:cubicBezTo>
                  <a:pt x="3259740" y="3988200"/>
                  <a:pt x="3274479" y="3968202"/>
                  <a:pt x="3289313" y="3946128"/>
                </a:cubicBezTo>
                <a:cubicBezTo>
                  <a:pt x="3296742" y="3935091"/>
                  <a:pt x="3304194" y="3923558"/>
                  <a:pt x="3311623" y="3911342"/>
                </a:cubicBezTo>
                <a:cubicBezTo>
                  <a:pt x="3319028" y="3899150"/>
                  <a:pt x="3326433" y="3886250"/>
                  <a:pt x="3333555" y="3872878"/>
                </a:cubicBezTo>
                <a:cubicBezTo>
                  <a:pt x="3347847" y="3846088"/>
                  <a:pt x="3360605" y="3817811"/>
                  <a:pt x="3370840" y="3791634"/>
                </a:cubicBezTo>
                <a:cubicBezTo>
                  <a:pt x="3381170" y="3765315"/>
                  <a:pt x="3389495" y="3740553"/>
                  <a:pt x="3396805" y="3716852"/>
                </a:cubicBezTo>
                <a:cubicBezTo>
                  <a:pt x="3404116" y="3693103"/>
                  <a:pt x="3410366" y="3670393"/>
                  <a:pt x="3416097" y="3648083"/>
                </a:cubicBezTo>
                <a:cubicBezTo>
                  <a:pt x="3427511" y="3603487"/>
                  <a:pt x="3436590" y="3560849"/>
                  <a:pt x="3444444" y="3518658"/>
                </a:cubicBezTo>
                <a:cubicBezTo>
                  <a:pt x="3448382" y="3497551"/>
                  <a:pt x="3452014" y="3476562"/>
                  <a:pt x="3455315" y="3455714"/>
                </a:cubicBezTo>
                <a:cubicBezTo>
                  <a:pt x="3458594" y="3434914"/>
                  <a:pt x="3461541" y="3414232"/>
                  <a:pt x="3464183" y="3393714"/>
                </a:cubicBezTo>
                <a:cubicBezTo>
                  <a:pt x="3469442" y="3352656"/>
                  <a:pt x="3473427" y="3312187"/>
                  <a:pt x="3476069" y="3272379"/>
                </a:cubicBezTo>
                <a:cubicBezTo>
                  <a:pt x="3486917" y="3113003"/>
                  <a:pt x="3475715" y="2964924"/>
                  <a:pt x="3447745" y="2828967"/>
                </a:cubicBezTo>
                <a:cubicBezTo>
                  <a:pt x="3420176" y="2692774"/>
                  <a:pt x="3376029" y="2568490"/>
                  <a:pt x="3331621" y="2450763"/>
                </a:cubicBezTo>
                <a:cubicBezTo>
                  <a:pt x="3320561" y="2421307"/>
                  <a:pt x="3309547" y="2392253"/>
                  <a:pt x="3298864" y="2363481"/>
                </a:cubicBezTo>
                <a:cubicBezTo>
                  <a:pt x="3288252" y="2334616"/>
                  <a:pt x="3278017" y="2306033"/>
                  <a:pt x="3268489" y="2277662"/>
                </a:cubicBezTo>
                <a:cubicBezTo>
                  <a:pt x="3259174" y="2249032"/>
                  <a:pt x="3250589" y="2220355"/>
                  <a:pt x="3245755" y="2189319"/>
                </a:cubicBezTo>
                <a:cubicBezTo>
                  <a:pt x="3243444" y="2173754"/>
                  <a:pt x="3242052" y="2157576"/>
                  <a:pt x="3243444" y="2139747"/>
                </a:cubicBezTo>
                <a:cubicBezTo>
                  <a:pt x="3244175" y="2130833"/>
                  <a:pt x="3245590" y="2121565"/>
                  <a:pt x="3248278" y="2111707"/>
                </a:cubicBezTo>
                <a:cubicBezTo>
                  <a:pt x="3250990" y="2101873"/>
                  <a:pt x="3254976" y="2091520"/>
                  <a:pt x="3260707" y="2080860"/>
                </a:cubicBezTo>
                <a:cubicBezTo>
                  <a:pt x="3266437" y="2070224"/>
                  <a:pt x="3273937" y="2059328"/>
                  <a:pt x="3282993" y="2048834"/>
                </a:cubicBezTo>
                <a:cubicBezTo>
                  <a:pt x="3292002" y="2038340"/>
                  <a:pt x="3302472" y="2028222"/>
                  <a:pt x="3313840" y="2018742"/>
                </a:cubicBezTo>
                <a:cubicBezTo>
                  <a:pt x="3325183" y="2009238"/>
                  <a:pt x="3337517" y="2000276"/>
                  <a:pt x="3350394" y="1991881"/>
                </a:cubicBezTo>
                <a:cubicBezTo>
                  <a:pt x="3363317" y="1983438"/>
                  <a:pt x="3376878" y="1975514"/>
                  <a:pt x="3391004" y="1967991"/>
                </a:cubicBezTo>
                <a:cubicBezTo>
                  <a:pt x="3419280" y="1952945"/>
                  <a:pt x="3449750" y="1939502"/>
                  <a:pt x="3482365" y="1927286"/>
                </a:cubicBezTo>
                <a:cubicBezTo>
                  <a:pt x="3514981" y="1915070"/>
                  <a:pt x="3549742" y="1904104"/>
                  <a:pt x="3586792" y="1894293"/>
                </a:cubicBezTo>
                <a:cubicBezTo>
                  <a:pt x="3734824" y="1855713"/>
                  <a:pt x="3919858" y="1832861"/>
                  <a:pt x="4155053" y="1839300"/>
                </a:cubicBezTo>
                <a:close/>
                <a:moveTo>
                  <a:pt x="4113122" y="1801667"/>
                </a:moveTo>
                <a:cubicBezTo>
                  <a:pt x="4351030" y="1804780"/>
                  <a:pt x="4640891" y="1833669"/>
                  <a:pt x="4994357" y="1932191"/>
                </a:cubicBezTo>
                <a:cubicBezTo>
                  <a:pt x="5344072" y="2031476"/>
                  <a:pt x="5765976" y="2205402"/>
                  <a:pt x="6184413" y="2527974"/>
                </a:cubicBezTo>
                <a:cubicBezTo>
                  <a:pt x="6177456" y="2525804"/>
                  <a:pt x="6170570" y="2523611"/>
                  <a:pt x="6163731" y="2521441"/>
                </a:cubicBezTo>
                <a:cubicBezTo>
                  <a:pt x="5747888" y="2202667"/>
                  <a:pt x="5329380" y="2031005"/>
                  <a:pt x="4982282" y="1933016"/>
                </a:cubicBezTo>
                <a:cubicBezTo>
                  <a:pt x="4631505" y="1835792"/>
                  <a:pt x="4343695" y="1807398"/>
                  <a:pt x="4107462" y="1804638"/>
                </a:cubicBezTo>
                <a:cubicBezTo>
                  <a:pt x="3871418" y="1803034"/>
                  <a:pt x="3686761" y="1829306"/>
                  <a:pt x="3539508" y="1870709"/>
                </a:cubicBezTo>
                <a:cubicBezTo>
                  <a:pt x="3502671" y="1881228"/>
                  <a:pt x="3468192" y="1892831"/>
                  <a:pt x="3435930" y="1905636"/>
                </a:cubicBezTo>
                <a:cubicBezTo>
                  <a:pt x="3403668" y="1918442"/>
                  <a:pt x="3373553" y="1932427"/>
                  <a:pt x="3345819" y="1947874"/>
                </a:cubicBezTo>
                <a:cubicBezTo>
                  <a:pt x="3331952" y="1955609"/>
                  <a:pt x="3318651" y="1963698"/>
                  <a:pt x="3306081" y="1972259"/>
                </a:cubicBezTo>
                <a:cubicBezTo>
                  <a:pt x="3293440" y="1980820"/>
                  <a:pt x="3281602" y="1989758"/>
                  <a:pt x="3270635" y="1999238"/>
                </a:cubicBezTo>
                <a:cubicBezTo>
                  <a:pt x="3259669" y="2008695"/>
                  <a:pt x="3249693" y="2018623"/>
                  <a:pt x="3241085" y="2028859"/>
                </a:cubicBezTo>
                <a:cubicBezTo>
                  <a:pt x="3232454" y="2039094"/>
                  <a:pt x="3225356" y="2049588"/>
                  <a:pt x="3219884" y="2059871"/>
                </a:cubicBezTo>
                <a:cubicBezTo>
                  <a:pt x="3214413" y="2070176"/>
                  <a:pt x="3210522" y="2080246"/>
                  <a:pt x="3207880" y="2089868"/>
                </a:cubicBezTo>
                <a:cubicBezTo>
                  <a:pt x="3205239" y="2099467"/>
                  <a:pt x="3203801" y="2108641"/>
                  <a:pt x="3203046" y="2117484"/>
                </a:cubicBezTo>
                <a:cubicBezTo>
                  <a:pt x="3201584" y="2135101"/>
                  <a:pt x="3202881" y="2151303"/>
                  <a:pt x="3205145" y="2166868"/>
                </a:cubicBezTo>
                <a:cubicBezTo>
                  <a:pt x="3209861" y="2197927"/>
                  <a:pt x="3218469" y="2226698"/>
                  <a:pt x="3227879" y="2255352"/>
                </a:cubicBezTo>
                <a:cubicBezTo>
                  <a:pt x="3237525" y="2283793"/>
                  <a:pt x="3247972" y="2312352"/>
                  <a:pt x="3258891" y="2341124"/>
                </a:cubicBezTo>
                <a:cubicBezTo>
                  <a:pt x="3269857" y="2369825"/>
                  <a:pt x="3281295" y="2398738"/>
                  <a:pt x="3292851" y="2427957"/>
                </a:cubicBezTo>
                <a:cubicBezTo>
                  <a:pt x="3339216" y="2544812"/>
                  <a:pt x="3386830" y="2667044"/>
                  <a:pt x="3418691" y="2800478"/>
                </a:cubicBezTo>
                <a:cubicBezTo>
                  <a:pt x="3450953" y="2933699"/>
                  <a:pt x="3467249" y="3078359"/>
                  <a:pt x="3461400" y="3234362"/>
                </a:cubicBezTo>
                <a:cubicBezTo>
                  <a:pt x="3459985" y="3273321"/>
                  <a:pt x="3457273" y="3312965"/>
                  <a:pt x="3453240" y="3353221"/>
                </a:cubicBezTo>
                <a:cubicBezTo>
                  <a:pt x="3451212" y="3373338"/>
                  <a:pt x="3448878" y="3393619"/>
                  <a:pt x="3446213" y="3414019"/>
                </a:cubicBezTo>
                <a:cubicBezTo>
                  <a:pt x="3443500" y="3434489"/>
                  <a:pt x="3440482" y="3455077"/>
                  <a:pt x="3437133" y="3475807"/>
                </a:cubicBezTo>
                <a:cubicBezTo>
                  <a:pt x="3430459" y="3517219"/>
                  <a:pt x="3422535" y="3559150"/>
                  <a:pt x="3412229" y="3603180"/>
                </a:cubicBezTo>
                <a:cubicBezTo>
                  <a:pt x="3407064" y="3625207"/>
                  <a:pt x="3401357" y="3647681"/>
                  <a:pt x="3394565" y="3671265"/>
                </a:cubicBezTo>
                <a:cubicBezTo>
                  <a:pt x="3387773" y="3694824"/>
                  <a:pt x="3379920" y="3719516"/>
                  <a:pt x="3369991" y="3746024"/>
                </a:cubicBezTo>
                <a:cubicBezTo>
                  <a:pt x="3365039" y="3759254"/>
                  <a:pt x="3359473" y="3772979"/>
                  <a:pt x="3353342" y="3786893"/>
                </a:cubicBezTo>
                <a:cubicBezTo>
                  <a:pt x="3347210" y="3800807"/>
                  <a:pt x="3340465" y="3814910"/>
                  <a:pt x="3333390" y="3828588"/>
                </a:cubicBezTo>
                <a:cubicBezTo>
                  <a:pt x="3326292" y="3842267"/>
                  <a:pt x="3318910" y="3855473"/>
                  <a:pt x="3311505" y="3867949"/>
                </a:cubicBezTo>
                <a:cubicBezTo>
                  <a:pt x="3304076" y="3880448"/>
                  <a:pt x="3296624" y="3892240"/>
                  <a:pt x="3289172" y="3903512"/>
                </a:cubicBezTo>
                <a:cubicBezTo>
                  <a:pt x="3274291" y="3926058"/>
                  <a:pt x="3259504" y="3946504"/>
                  <a:pt x="3244647" y="3966031"/>
                </a:cubicBezTo>
                <a:cubicBezTo>
                  <a:pt x="3240921" y="3970913"/>
                  <a:pt x="3237218" y="3975724"/>
                  <a:pt x="3233468" y="3980488"/>
                </a:cubicBezTo>
                <a:cubicBezTo>
                  <a:pt x="3231605" y="3982870"/>
                  <a:pt x="3229742" y="3985228"/>
                  <a:pt x="3227855" y="3987586"/>
                </a:cubicBezTo>
                <a:cubicBezTo>
                  <a:pt x="3225992" y="3989945"/>
                  <a:pt x="3224153" y="3992162"/>
                  <a:pt x="3222290" y="3994449"/>
                </a:cubicBezTo>
                <a:cubicBezTo>
                  <a:pt x="3220427" y="3996713"/>
                  <a:pt x="3218564" y="3998977"/>
                  <a:pt x="3216701" y="4001241"/>
                </a:cubicBezTo>
                <a:cubicBezTo>
                  <a:pt x="3214837" y="4003458"/>
                  <a:pt x="3212998" y="4005698"/>
                  <a:pt x="3211135" y="4007915"/>
                </a:cubicBezTo>
                <a:cubicBezTo>
                  <a:pt x="3207409" y="4012349"/>
                  <a:pt x="3203659" y="4016806"/>
                  <a:pt x="3199886" y="4021216"/>
                </a:cubicBezTo>
                <a:cubicBezTo>
                  <a:pt x="3139465" y="4091777"/>
                  <a:pt x="3073108" y="4159626"/>
                  <a:pt x="2994857" y="4222334"/>
                </a:cubicBezTo>
                <a:cubicBezTo>
                  <a:pt x="2916513" y="4284617"/>
                  <a:pt x="2826330" y="4342490"/>
                  <a:pt x="2712876" y="4390576"/>
                </a:cubicBezTo>
                <a:cubicBezTo>
                  <a:pt x="2598708" y="4438238"/>
                  <a:pt x="2461289" y="4476113"/>
                  <a:pt x="2272057" y="4488683"/>
                </a:cubicBezTo>
                <a:cubicBezTo>
                  <a:pt x="2461407" y="4476018"/>
                  <a:pt x="2598897" y="4438026"/>
                  <a:pt x="2713110" y="4390223"/>
                </a:cubicBezTo>
                <a:cubicBezTo>
                  <a:pt x="2826617" y="4342019"/>
                  <a:pt x="2916845" y="4284004"/>
                  <a:pt x="2995233" y="4221555"/>
                </a:cubicBezTo>
                <a:cubicBezTo>
                  <a:pt x="3073510" y="4158706"/>
                  <a:pt x="3139914" y="4090692"/>
                  <a:pt x="3200334" y="4019966"/>
                </a:cubicBezTo>
                <a:cubicBezTo>
                  <a:pt x="3204107" y="4015532"/>
                  <a:pt x="3207857" y="4011075"/>
                  <a:pt x="3211583" y="4006642"/>
                </a:cubicBezTo>
                <a:cubicBezTo>
                  <a:pt x="3213446" y="4004425"/>
                  <a:pt x="3215309" y="4002185"/>
                  <a:pt x="3217149" y="3999968"/>
                </a:cubicBezTo>
                <a:cubicBezTo>
                  <a:pt x="3219012" y="3997704"/>
                  <a:pt x="3220851" y="3995440"/>
                  <a:pt x="3222714" y="3993176"/>
                </a:cubicBezTo>
                <a:cubicBezTo>
                  <a:pt x="3224577" y="3990888"/>
                  <a:pt x="3226393" y="3988695"/>
                  <a:pt x="3228256" y="3986336"/>
                </a:cubicBezTo>
                <a:cubicBezTo>
                  <a:pt x="3230120" y="3983978"/>
                  <a:pt x="3231982" y="3981596"/>
                  <a:pt x="3233846" y="3979215"/>
                </a:cubicBezTo>
                <a:cubicBezTo>
                  <a:pt x="3237572" y="3974451"/>
                  <a:pt x="3241298" y="3969640"/>
                  <a:pt x="3245000" y="3964758"/>
                </a:cubicBezTo>
                <a:cubicBezTo>
                  <a:pt x="3259834" y="3945207"/>
                  <a:pt x="3274574" y="3924808"/>
                  <a:pt x="3289361" y="3902357"/>
                </a:cubicBezTo>
                <a:cubicBezTo>
                  <a:pt x="3296742" y="3891131"/>
                  <a:pt x="3304147" y="3879410"/>
                  <a:pt x="3311482" y="3867029"/>
                </a:cubicBezTo>
                <a:cubicBezTo>
                  <a:pt x="3318816" y="3854671"/>
                  <a:pt x="3326103" y="3841630"/>
                  <a:pt x="3333084" y="3828164"/>
                </a:cubicBezTo>
                <a:cubicBezTo>
                  <a:pt x="3347092" y="3801161"/>
                  <a:pt x="3359403" y="3772861"/>
                  <a:pt x="3369143" y="3746802"/>
                </a:cubicBezTo>
                <a:cubicBezTo>
                  <a:pt x="3378977" y="3720601"/>
                  <a:pt x="3386759" y="3696074"/>
                  <a:pt x="3393504" y="3672656"/>
                </a:cubicBezTo>
                <a:cubicBezTo>
                  <a:pt x="3400272" y="3649191"/>
                  <a:pt x="3405956" y="3626810"/>
                  <a:pt x="3411097" y="3604854"/>
                </a:cubicBezTo>
                <a:cubicBezTo>
                  <a:pt x="3421356" y="3560990"/>
                  <a:pt x="3429256" y="3519153"/>
                  <a:pt x="3435907" y="3477811"/>
                </a:cubicBezTo>
                <a:cubicBezTo>
                  <a:pt x="3439232" y="3457129"/>
                  <a:pt x="3442250" y="3436564"/>
                  <a:pt x="3444939" y="3416142"/>
                </a:cubicBezTo>
                <a:cubicBezTo>
                  <a:pt x="3447604" y="3395766"/>
                  <a:pt x="3449939" y="3375555"/>
                  <a:pt x="3451943" y="3355462"/>
                </a:cubicBezTo>
                <a:cubicBezTo>
                  <a:pt x="3455952" y="3315300"/>
                  <a:pt x="3458664" y="3275751"/>
                  <a:pt x="3460080" y="3236838"/>
                </a:cubicBezTo>
                <a:cubicBezTo>
                  <a:pt x="3465857" y="3081118"/>
                  <a:pt x="3449561" y="2936742"/>
                  <a:pt x="3417182" y="2803780"/>
                </a:cubicBezTo>
                <a:cubicBezTo>
                  <a:pt x="3385203" y="2670605"/>
                  <a:pt x="3337400" y="2548562"/>
                  <a:pt x="3290563" y="2431919"/>
                </a:cubicBezTo>
                <a:cubicBezTo>
                  <a:pt x="3278889" y="2402747"/>
                  <a:pt x="3267334" y="2373881"/>
                  <a:pt x="3256202" y="2345227"/>
                </a:cubicBezTo>
                <a:cubicBezTo>
                  <a:pt x="3245118" y="2316480"/>
                  <a:pt x="3234482" y="2287967"/>
                  <a:pt x="3224648" y="2259573"/>
                </a:cubicBezTo>
                <a:cubicBezTo>
                  <a:pt x="3215026" y="2230920"/>
                  <a:pt x="3206159" y="2202148"/>
                  <a:pt x="3201112" y="2170877"/>
                </a:cubicBezTo>
                <a:cubicBezTo>
                  <a:pt x="3198683" y="2155194"/>
                  <a:pt x="3197197" y="2138851"/>
                  <a:pt x="3198518" y="2120809"/>
                </a:cubicBezTo>
                <a:cubicBezTo>
                  <a:pt x="3199202" y="2111801"/>
                  <a:pt x="3200593" y="2102391"/>
                  <a:pt x="3203211" y="2092392"/>
                </a:cubicBezTo>
                <a:cubicBezTo>
                  <a:pt x="3205876" y="2082392"/>
                  <a:pt x="3209814" y="2071851"/>
                  <a:pt x="3215498" y="2060979"/>
                </a:cubicBezTo>
                <a:cubicBezTo>
                  <a:pt x="3221181" y="2050131"/>
                  <a:pt x="3228634" y="2038999"/>
                  <a:pt x="3237642" y="2028245"/>
                </a:cubicBezTo>
                <a:cubicBezTo>
                  <a:pt x="3246604" y="2017491"/>
                  <a:pt x="3257028" y="2007091"/>
                  <a:pt x="3268348" y="1997328"/>
                </a:cubicBezTo>
                <a:cubicBezTo>
                  <a:pt x="3279644" y="1987541"/>
                  <a:pt x="3291955" y="1978296"/>
                  <a:pt x="3304784" y="1969594"/>
                </a:cubicBezTo>
                <a:cubicBezTo>
                  <a:pt x="3317660" y="1960845"/>
                  <a:pt x="3331221" y="1952638"/>
                  <a:pt x="3345324" y="1944808"/>
                </a:cubicBezTo>
                <a:cubicBezTo>
                  <a:pt x="3373553" y="1929149"/>
                  <a:pt x="3404022" y="1915093"/>
                  <a:pt x="3436614" y="1902217"/>
                </a:cubicBezTo>
                <a:cubicBezTo>
                  <a:pt x="3469253" y="1889340"/>
                  <a:pt x="3504062" y="1877714"/>
                  <a:pt x="3541182" y="1867219"/>
                </a:cubicBezTo>
                <a:cubicBezTo>
                  <a:pt x="3689544" y="1825840"/>
                  <a:pt x="3875427" y="1799709"/>
                  <a:pt x="4113122" y="1801667"/>
                </a:cubicBezTo>
                <a:close/>
                <a:moveTo>
                  <a:pt x="4071050" y="1765105"/>
                </a:moveTo>
                <a:cubicBezTo>
                  <a:pt x="4311293" y="1763902"/>
                  <a:pt x="4604668" y="1787108"/>
                  <a:pt x="4966741" y="1877643"/>
                </a:cubicBezTo>
                <a:cubicBezTo>
                  <a:pt x="5325372" y="1969334"/>
                  <a:pt x="5761001" y="2131917"/>
                  <a:pt x="6210214" y="2448616"/>
                </a:cubicBezTo>
                <a:cubicBezTo>
                  <a:pt x="6202997" y="2446565"/>
                  <a:pt x="6195804" y="2444466"/>
                  <a:pt x="6188658" y="2442367"/>
                </a:cubicBezTo>
                <a:cubicBezTo>
                  <a:pt x="5742440" y="2129535"/>
                  <a:pt x="5310372" y="1969122"/>
                  <a:pt x="4954455" y="1878681"/>
                </a:cubicBezTo>
                <a:cubicBezTo>
                  <a:pt x="4595140" y="1789419"/>
                  <a:pt x="4303888" y="1766685"/>
                  <a:pt x="4065320" y="1768194"/>
                </a:cubicBezTo>
                <a:cubicBezTo>
                  <a:pt x="3827059" y="1770883"/>
                  <a:pt x="3641694" y="1800244"/>
                  <a:pt x="3494158" y="1844368"/>
                </a:cubicBezTo>
                <a:cubicBezTo>
                  <a:pt x="3457273" y="1855546"/>
                  <a:pt x="3422748" y="1867785"/>
                  <a:pt x="3390462" y="1881228"/>
                </a:cubicBezTo>
                <a:cubicBezTo>
                  <a:pt x="3358177" y="1894670"/>
                  <a:pt x="3328108" y="1909244"/>
                  <a:pt x="3300398" y="1925257"/>
                </a:cubicBezTo>
                <a:cubicBezTo>
                  <a:pt x="3286555" y="1933299"/>
                  <a:pt x="3273277" y="1941671"/>
                  <a:pt x="3260731" y="1950491"/>
                </a:cubicBezTo>
                <a:cubicBezTo>
                  <a:pt x="3248114" y="1959335"/>
                  <a:pt x="3236299" y="1968533"/>
                  <a:pt x="3225380" y="1978296"/>
                </a:cubicBezTo>
                <a:cubicBezTo>
                  <a:pt x="3214461" y="1988012"/>
                  <a:pt x="3204509" y="1998224"/>
                  <a:pt x="3195948" y="2008718"/>
                </a:cubicBezTo>
                <a:cubicBezTo>
                  <a:pt x="3187364" y="2019189"/>
                  <a:pt x="3180289" y="2029920"/>
                  <a:pt x="3174841" y="2040438"/>
                </a:cubicBezTo>
                <a:cubicBezTo>
                  <a:pt x="3169393" y="2050956"/>
                  <a:pt x="3165549" y="2061215"/>
                  <a:pt x="3162931" y="2071002"/>
                </a:cubicBezTo>
                <a:cubicBezTo>
                  <a:pt x="3160337" y="2080765"/>
                  <a:pt x="3158922" y="2090081"/>
                  <a:pt x="3158191" y="2099042"/>
                </a:cubicBezTo>
                <a:cubicBezTo>
                  <a:pt x="3156800" y="2116895"/>
                  <a:pt x="3158144" y="2133285"/>
                  <a:pt x="3160502" y="2148991"/>
                </a:cubicBezTo>
                <a:cubicBezTo>
                  <a:pt x="3165384" y="2180334"/>
                  <a:pt x="3174157" y="2209270"/>
                  <a:pt x="3183850" y="2238018"/>
                </a:cubicBezTo>
                <a:cubicBezTo>
                  <a:pt x="3193755" y="2266554"/>
                  <a:pt x="3204532" y="2295113"/>
                  <a:pt x="3215852" y="2323837"/>
                </a:cubicBezTo>
                <a:cubicBezTo>
                  <a:pt x="3227219" y="2352467"/>
                  <a:pt x="3239129" y="2381263"/>
                  <a:pt x="3251250" y="2410293"/>
                </a:cubicBezTo>
                <a:cubicBezTo>
                  <a:pt x="3299808" y="2526394"/>
                  <a:pt x="3350795" y="2646668"/>
                  <a:pt x="3386854" y="2777296"/>
                </a:cubicBezTo>
                <a:cubicBezTo>
                  <a:pt x="3423290" y="2907734"/>
                  <a:pt x="3444539" y="3048856"/>
                  <a:pt x="3443619" y="3201275"/>
                </a:cubicBezTo>
                <a:cubicBezTo>
                  <a:pt x="3443454" y="3239338"/>
                  <a:pt x="3441968" y="3278085"/>
                  <a:pt x="3439138" y="3317446"/>
                </a:cubicBezTo>
                <a:cubicBezTo>
                  <a:pt x="3437723" y="3337114"/>
                  <a:pt x="3436001" y="3356947"/>
                  <a:pt x="3433926" y="3376923"/>
                </a:cubicBezTo>
                <a:cubicBezTo>
                  <a:pt x="3431827" y="3396945"/>
                  <a:pt x="3429398" y="3417108"/>
                  <a:pt x="3426663" y="3437413"/>
                </a:cubicBezTo>
                <a:cubicBezTo>
                  <a:pt x="3421168" y="3477977"/>
                  <a:pt x="3414446" y="3519082"/>
                  <a:pt x="3405296" y="3562357"/>
                </a:cubicBezTo>
                <a:cubicBezTo>
                  <a:pt x="3400721" y="3584007"/>
                  <a:pt x="3395580" y="3606128"/>
                  <a:pt x="3389330" y="3629404"/>
                </a:cubicBezTo>
                <a:cubicBezTo>
                  <a:pt x="3383081" y="3652657"/>
                  <a:pt x="3375793" y="3677066"/>
                  <a:pt x="3366384" y="3703409"/>
                </a:cubicBezTo>
                <a:cubicBezTo>
                  <a:pt x="3361691" y="3716545"/>
                  <a:pt x="3356384" y="3730223"/>
                  <a:pt x="3350465" y="3744160"/>
                </a:cubicBezTo>
                <a:cubicBezTo>
                  <a:pt x="3344569" y="3758075"/>
                  <a:pt x="3338013" y="3772201"/>
                  <a:pt x="3331080" y="3785950"/>
                </a:cubicBezTo>
                <a:cubicBezTo>
                  <a:pt x="3324146" y="3799699"/>
                  <a:pt x="3316906" y="3813023"/>
                  <a:pt x="3309572" y="3825640"/>
                </a:cubicBezTo>
                <a:cubicBezTo>
                  <a:pt x="3302237" y="3838281"/>
                  <a:pt x="3294856" y="3850214"/>
                  <a:pt x="3287451" y="3861652"/>
                </a:cubicBezTo>
                <a:cubicBezTo>
                  <a:pt x="3272664" y="3884504"/>
                  <a:pt x="3257901" y="3905281"/>
                  <a:pt x="3243020" y="3925162"/>
                </a:cubicBezTo>
                <a:cubicBezTo>
                  <a:pt x="3239294" y="3930114"/>
                  <a:pt x="3235568" y="3935019"/>
                  <a:pt x="3231818" y="3939854"/>
                </a:cubicBezTo>
                <a:cubicBezTo>
                  <a:pt x="3229955" y="3942260"/>
                  <a:pt x="3228068" y="3944665"/>
                  <a:pt x="3226205" y="3947071"/>
                </a:cubicBezTo>
                <a:cubicBezTo>
                  <a:pt x="3224318" y="3949476"/>
                  <a:pt x="3222479" y="3951716"/>
                  <a:pt x="3220616" y="3954051"/>
                </a:cubicBezTo>
                <a:cubicBezTo>
                  <a:pt x="3218753" y="3956362"/>
                  <a:pt x="3216890" y="3958673"/>
                  <a:pt x="3215003" y="3960961"/>
                </a:cubicBezTo>
                <a:cubicBezTo>
                  <a:pt x="3213140" y="3963225"/>
                  <a:pt x="3211277" y="3965489"/>
                  <a:pt x="3209390" y="3967753"/>
                </a:cubicBezTo>
                <a:cubicBezTo>
                  <a:pt x="3205641" y="3972281"/>
                  <a:pt x="3201867" y="3976785"/>
                  <a:pt x="3198070" y="3981266"/>
                </a:cubicBezTo>
                <a:cubicBezTo>
                  <a:pt x="3137249" y="4052983"/>
                  <a:pt x="3070156" y="4121492"/>
                  <a:pt x="2990514" y="4184294"/>
                </a:cubicBezTo>
                <a:cubicBezTo>
                  <a:pt x="2910850" y="4246672"/>
                  <a:pt x="2818404" y="4304026"/>
                  <a:pt x="2701196" y="4350556"/>
                </a:cubicBezTo>
                <a:cubicBezTo>
                  <a:pt x="2583068" y="4396567"/>
                  <a:pt x="2440177" y="4431753"/>
                  <a:pt x="2239036" y="4437790"/>
                </a:cubicBezTo>
                <a:cubicBezTo>
                  <a:pt x="2440295" y="4431659"/>
                  <a:pt x="2583257" y="4396354"/>
                  <a:pt x="2701432" y="4350202"/>
                </a:cubicBezTo>
                <a:cubicBezTo>
                  <a:pt x="2818712" y="4303531"/>
                  <a:pt x="2911205" y="4246035"/>
                  <a:pt x="2990893" y="4183516"/>
                </a:cubicBezTo>
                <a:cubicBezTo>
                  <a:pt x="3070579" y="4120572"/>
                  <a:pt x="3137697" y="4051874"/>
                  <a:pt x="3198518" y="3980016"/>
                </a:cubicBezTo>
                <a:cubicBezTo>
                  <a:pt x="3202315" y="3975512"/>
                  <a:pt x="3206089" y="3970984"/>
                  <a:pt x="3209838" y="3966456"/>
                </a:cubicBezTo>
                <a:cubicBezTo>
                  <a:pt x="3211725" y="3964192"/>
                  <a:pt x="3213588" y="3961928"/>
                  <a:pt x="3215451" y="3959664"/>
                </a:cubicBezTo>
                <a:cubicBezTo>
                  <a:pt x="3217314" y="3957353"/>
                  <a:pt x="3219177" y="3955065"/>
                  <a:pt x="3221040" y="3952754"/>
                </a:cubicBezTo>
                <a:cubicBezTo>
                  <a:pt x="3222903" y="3950419"/>
                  <a:pt x="3224719" y="3948203"/>
                  <a:pt x="3226606" y="3945797"/>
                </a:cubicBezTo>
                <a:cubicBezTo>
                  <a:pt x="3228493" y="3943391"/>
                  <a:pt x="3230356" y="3940986"/>
                  <a:pt x="3232219" y="3938580"/>
                </a:cubicBezTo>
                <a:cubicBezTo>
                  <a:pt x="3235945" y="3933746"/>
                  <a:pt x="3239671" y="3928841"/>
                  <a:pt x="3243397" y="3923888"/>
                </a:cubicBezTo>
                <a:cubicBezTo>
                  <a:pt x="3258255" y="3904031"/>
                  <a:pt x="3272971" y="3883278"/>
                  <a:pt x="3287663" y="3860520"/>
                </a:cubicBezTo>
                <a:cubicBezTo>
                  <a:pt x="3294998" y="3849129"/>
                  <a:pt x="3302332" y="3837267"/>
                  <a:pt x="3309572" y="3824768"/>
                </a:cubicBezTo>
                <a:cubicBezTo>
                  <a:pt x="3316812" y="3812269"/>
                  <a:pt x="3323981" y="3799133"/>
                  <a:pt x="3330773" y="3785572"/>
                </a:cubicBezTo>
                <a:cubicBezTo>
                  <a:pt x="3344475" y="3758428"/>
                  <a:pt x="3356314" y="3730152"/>
                  <a:pt x="3365535" y="3704258"/>
                </a:cubicBezTo>
                <a:cubicBezTo>
                  <a:pt x="3374850" y="3678198"/>
                  <a:pt x="3382090" y="3653978"/>
                  <a:pt x="3388293" y="3630843"/>
                </a:cubicBezTo>
                <a:cubicBezTo>
                  <a:pt x="3394495" y="3607684"/>
                  <a:pt x="3399613" y="3585658"/>
                  <a:pt x="3404164" y="3564079"/>
                </a:cubicBezTo>
                <a:cubicBezTo>
                  <a:pt x="3413267" y="3520945"/>
                  <a:pt x="3419989" y="3479958"/>
                  <a:pt x="3425460" y="3439465"/>
                </a:cubicBezTo>
                <a:cubicBezTo>
                  <a:pt x="3428195" y="3419207"/>
                  <a:pt x="3430624" y="3399091"/>
                  <a:pt x="3432700" y="3379092"/>
                </a:cubicBezTo>
                <a:cubicBezTo>
                  <a:pt x="3434751" y="3359164"/>
                  <a:pt x="3436473" y="3339378"/>
                  <a:pt x="3437888" y="3319733"/>
                </a:cubicBezTo>
                <a:cubicBezTo>
                  <a:pt x="3440694" y="3280467"/>
                  <a:pt x="3442157" y="3241791"/>
                  <a:pt x="3442322" y="3203798"/>
                </a:cubicBezTo>
                <a:cubicBezTo>
                  <a:pt x="3443194" y="3051686"/>
                  <a:pt x="3421946" y="2910847"/>
                  <a:pt x="3385415" y="2780644"/>
                </a:cubicBezTo>
                <a:cubicBezTo>
                  <a:pt x="3349262" y="2650253"/>
                  <a:pt x="3298063" y="2530191"/>
                  <a:pt x="3249034" y="2414326"/>
                </a:cubicBezTo>
                <a:cubicBezTo>
                  <a:pt x="3236818" y="2385343"/>
                  <a:pt x="3224767" y="2356618"/>
                  <a:pt x="3213234" y="2328012"/>
                </a:cubicBezTo>
                <a:cubicBezTo>
                  <a:pt x="3201749" y="2299334"/>
                  <a:pt x="3190783" y="2270799"/>
                  <a:pt x="3180666" y="2242287"/>
                </a:cubicBezTo>
                <a:cubicBezTo>
                  <a:pt x="3170761" y="2213539"/>
                  <a:pt x="3161705" y="2184602"/>
                  <a:pt x="3156517" y="2153048"/>
                </a:cubicBezTo>
                <a:cubicBezTo>
                  <a:pt x="3154017" y="2137223"/>
                  <a:pt x="3152460" y="2120692"/>
                  <a:pt x="3153710" y="2102415"/>
                </a:cubicBezTo>
                <a:cubicBezTo>
                  <a:pt x="3154371" y="2093264"/>
                  <a:pt x="3155715" y="2083713"/>
                  <a:pt x="3158309" y="2073549"/>
                </a:cubicBezTo>
                <a:cubicBezTo>
                  <a:pt x="3160950" y="2063384"/>
                  <a:pt x="3164842" y="2052654"/>
                  <a:pt x="3170502" y="2041570"/>
                </a:cubicBezTo>
                <a:cubicBezTo>
                  <a:pt x="3176138" y="2030486"/>
                  <a:pt x="3183567" y="2019119"/>
                  <a:pt x="3192528" y="2008105"/>
                </a:cubicBezTo>
                <a:cubicBezTo>
                  <a:pt x="3201466" y="1997092"/>
                  <a:pt x="3211843" y="1986432"/>
                  <a:pt x="3223139" y="1976386"/>
                </a:cubicBezTo>
                <a:cubicBezTo>
                  <a:pt x="3234388" y="1966316"/>
                  <a:pt x="3246675" y="1956788"/>
                  <a:pt x="3259481" y="1947803"/>
                </a:cubicBezTo>
                <a:cubicBezTo>
                  <a:pt x="3272334" y="1938771"/>
                  <a:pt x="3285871" y="1930281"/>
                  <a:pt x="3299950" y="1922144"/>
                </a:cubicBezTo>
                <a:cubicBezTo>
                  <a:pt x="3328155" y="1905919"/>
                  <a:pt x="3358578" y="1891250"/>
                  <a:pt x="3391193" y="1877761"/>
                </a:cubicBezTo>
                <a:cubicBezTo>
                  <a:pt x="3423833" y="1864271"/>
                  <a:pt x="3458665" y="1851985"/>
                  <a:pt x="3495856" y="1840807"/>
                </a:cubicBezTo>
                <a:cubicBezTo>
                  <a:pt x="3644524" y="1796706"/>
                  <a:pt x="3831138" y="1767487"/>
                  <a:pt x="4071050" y="1765105"/>
                </a:cubicBezTo>
                <a:close/>
                <a:moveTo>
                  <a:pt x="4029119" y="1729550"/>
                </a:moveTo>
                <a:cubicBezTo>
                  <a:pt x="4271484" y="1724244"/>
                  <a:pt x="4567925" y="1742049"/>
                  <a:pt x="4937828" y="1824661"/>
                </a:cubicBezTo>
                <a:cubicBezTo>
                  <a:pt x="5304618" y="1908820"/>
                  <a:pt x="5752581" y="2059918"/>
                  <a:pt x="6231273" y="2369236"/>
                </a:cubicBezTo>
                <a:cubicBezTo>
                  <a:pt x="6223750" y="2367184"/>
                  <a:pt x="6216298" y="2365179"/>
                  <a:pt x="6208869" y="2363198"/>
                </a:cubicBezTo>
                <a:cubicBezTo>
                  <a:pt x="5733620" y="2057796"/>
                  <a:pt x="5289336" y="1908773"/>
                  <a:pt x="4925329" y="1825817"/>
                </a:cubicBezTo>
                <a:cubicBezTo>
                  <a:pt x="4558256" y="1744407"/>
                  <a:pt x="4263937" y="1727026"/>
                  <a:pt x="4023294" y="1732663"/>
                </a:cubicBezTo>
                <a:cubicBezTo>
                  <a:pt x="3783076" y="1739431"/>
                  <a:pt x="3597075" y="1771764"/>
                  <a:pt x="3449302" y="1818482"/>
                </a:cubicBezTo>
                <a:cubicBezTo>
                  <a:pt x="3412347" y="1830297"/>
                  <a:pt x="3377822" y="1843174"/>
                  <a:pt x="3345512" y="1857206"/>
                </a:cubicBezTo>
                <a:cubicBezTo>
                  <a:pt x="3313227" y="1871229"/>
                  <a:pt x="3283182" y="1886393"/>
                  <a:pt x="3255495" y="1902972"/>
                </a:cubicBezTo>
                <a:cubicBezTo>
                  <a:pt x="3241653" y="1911297"/>
                  <a:pt x="3228399" y="1919928"/>
                  <a:pt x="3215876" y="1929055"/>
                </a:cubicBezTo>
                <a:cubicBezTo>
                  <a:pt x="3203283" y="1938181"/>
                  <a:pt x="3191491" y="1947638"/>
                  <a:pt x="3180596" y="1957661"/>
                </a:cubicBezTo>
                <a:cubicBezTo>
                  <a:pt x="3169701" y="1967637"/>
                  <a:pt x="3159772" y="1978108"/>
                  <a:pt x="3151235" y="1988838"/>
                </a:cubicBezTo>
                <a:cubicBezTo>
                  <a:pt x="3142674" y="1999569"/>
                  <a:pt x="3135623" y="2010535"/>
                  <a:pt x="3130203" y="2021242"/>
                </a:cubicBezTo>
                <a:cubicBezTo>
                  <a:pt x="3124775" y="2031972"/>
                  <a:pt x="3120931" y="2042419"/>
                  <a:pt x="3118338" y="2052372"/>
                </a:cubicBezTo>
                <a:cubicBezTo>
                  <a:pt x="3115746" y="2062300"/>
                  <a:pt x="3114354" y="2071757"/>
                  <a:pt x="3113650" y="2080860"/>
                </a:cubicBezTo>
                <a:cubicBezTo>
                  <a:pt x="3112281" y="2098995"/>
                  <a:pt x="3113669" y="2115598"/>
                  <a:pt x="3116054" y="2131470"/>
                </a:cubicBezTo>
                <a:cubicBezTo>
                  <a:pt x="3121026" y="2163165"/>
                  <a:pt x="3129940" y="2192338"/>
                  <a:pt x="3139844" y="2221251"/>
                </a:cubicBezTo>
                <a:cubicBezTo>
                  <a:pt x="3149961" y="2249928"/>
                  <a:pt x="3161022" y="2278605"/>
                  <a:pt x="3172695" y="2307330"/>
                </a:cubicBezTo>
                <a:cubicBezTo>
                  <a:pt x="3184417" y="2335983"/>
                  <a:pt x="3196751" y="2364731"/>
                  <a:pt x="3209344" y="2393644"/>
                </a:cubicBezTo>
                <a:cubicBezTo>
                  <a:pt x="3259858" y="2509249"/>
                  <a:pt x="3313982" y="2627849"/>
                  <a:pt x="3354002" y="2755930"/>
                </a:cubicBezTo>
                <a:cubicBezTo>
                  <a:pt x="3394400" y="2883821"/>
                  <a:pt x="3420366" y="3021547"/>
                  <a:pt x="3424257" y="3170452"/>
                </a:cubicBezTo>
                <a:cubicBezTo>
                  <a:pt x="3425295" y="3207643"/>
                  <a:pt x="3424988" y="3245494"/>
                  <a:pt x="3423384" y="3283982"/>
                </a:cubicBezTo>
                <a:cubicBezTo>
                  <a:pt x="3422582" y="3303226"/>
                  <a:pt x="3421427" y="3322611"/>
                  <a:pt x="3419965" y="3342138"/>
                </a:cubicBezTo>
                <a:cubicBezTo>
                  <a:pt x="3418455" y="3361735"/>
                  <a:pt x="3416639" y="3381474"/>
                  <a:pt x="3414470" y="3401332"/>
                </a:cubicBezTo>
                <a:cubicBezTo>
                  <a:pt x="3410154" y="3441046"/>
                  <a:pt x="3404588" y="3481279"/>
                  <a:pt x="3396594" y="3523799"/>
                </a:cubicBezTo>
                <a:cubicBezTo>
                  <a:pt x="3392585" y="3545071"/>
                  <a:pt x="3388009" y="3566815"/>
                  <a:pt x="3382349" y="3589762"/>
                </a:cubicBezTo>
                <a:cubicBezTo>
                  <a:pt x="3376666" y="3612684"/>
                  <a:pt x="3369945" y="3636810"/>
                  <a:pt x="3361054" y="3662940"/>
                </a:cubicBezTo>
                <a:cubicBezTo>
                  <a:pt x="3356620" y="3675982"/>
                  <a:pt x="3351573" y="3689589"/>
                  <a:pt x="3345866" y="3703480"/>
                </a:cubicBezTo>
                <a:cubicBezTo>
                  <a:pt x="3340206" y="3717347"/>
                  <a:pt x="3333839" y="3731497"/>
                  <a:pt x="3327094" y="3745293"/>
                </a:cubicBezTo>
                <a:cubicBezTo>
                  <a:pt x="3320349" y="3759089"/>
                  <a:pt x="3313227" y="3772484"/>
                  <a:pt x="3306010" y="3785196"/>
                </a:cubicBezTo>
                <a:cubicBezTo>
                  <a:pt x="3298794" y="3797930"/>
                  <a:pt x="3291483" y="3809982"/>
                  <a:pt x="3284149" y="3821561"/>
                </a:cubicBezTo>
                <a:cubicBezTo>
                  <a:pt x="3269480" y="3844673"/>
                  <a:pt x="3254765" y="3865732"/>
                  <a:pt x="3239884" y="3885849"/>
                </a:cubicBezTo>
                <a:cubicBezTo>
                  <a:pt x="3236158" y="3890872"/>
                  <a:pt x="3232432" y="3895824"/>
                  <a:pt x="3228682" y="3900730"/>
                </a:cubicBezTo>
                <a:cubicBezTo>
                  <a:pt x="3226819" y="3903182"/>
                  <a:pt x="3224932" y="3905612"/>
                  <a:pt x="3223046" y="3908041"/>
                </a:cubicBezTo>
                <a:cubicBezTo>
                  <a:pt x="3221159" y="3910470"/>
                  <a:pt x="3219320" y="3912757"/>
                  <a:pt x="3217433" y="3915116"/>
                </a:cubicBezTo>
                <a:cubicBezTo>
                  <a:pt x="3215570" y="3917450"/>
                  <a:pt x="3213683" y="3919785"/>
                  <a:pt x="3211797" y="3922120"/>
                </a:cubicBezTo>
                <a:cubicBezTo>
                  <a:pt x="3209933" y="3924407"/>
                  <a:pt x="3208047" y="3926695"/>
                  <a:pt x="3206160" y="3929006"/>
                </a:cubicBezTo>
                <a:cubicBezTo>
                  <a:pt x="3202387" y="3933581"/>
                  <a:pt x="3198590" y="3938157"/>
                  <a:pt x="3194793" y="3942708"/>
                </a:cubicBezTo>
                <a:cubicBezTo>
                  <a:pt x="3133668" y="4015321"/>
                  <a:pt x="3065889" y="4084302"/>
                  <a:pt x="2984834" y="4146986"/>
                </a:cubicBezTo>
                <a:cubicBezTo>
                  <a:pt x="2903876" y="4209222"/>
                  <a:pt x="2809140" y="4265822"/>
                  <a:pt x="2687949" y="4310512"/>
                </a:cubicBezTo>
                <a:cubicBezTo>
                  <a:pt x="2565693" y="4354565"/>
                  <a:pt x="2416977" y="4386709"/>
                  <a:pt x="2203101" y="4385342"/>
                </a:cubicBezTo>
                <a:cubicBezTo>
                  <a:pt x="2417095" y="4386615"/>
                  <a:pt x="2565882" y="4354353"/>
                  <a:pt x="2688208" y="4310158"/>
                </a:cubicBezTo>
                <a:cubicBezTo>
                  <a:pt x="2809448" y="4265326"/>
                  <a:pt x="2904227" y="4208585"/>
                  <a:pt x="2985211" y="4146208"/>
                </a:cubicBezTo>
                <a:cubicBezTo>
                  <a:pt x="3066290" y="4083406"/>
                  <a:pt x="3134091" y="4014236"/>
                  <a:pt x="3195218" y="3941482"/>
                </a:cubicBezTo>
                <a:cubicBezTo>
                  <a:pt x="3199038" y="3936907"/>
                  <a:pt x="3202835" y="3932332"/>
                  <a:pt x="3206585" y="3927756"/>
                </a:cubicBezTo>
                <a:cubicBezTo>
                  <a:pt x="3208470" y="3925469"/>
                  <a:pt x="3210333" y="3923158"/>
                  <a:pt x="3212221" y="3920870"/>
                </a:cubicBezTo>
                <a:cubicBezTo>
                  <a:pt x="3214108" y="3918535"/>
                  <a:pt x="3215971" y="3916200"/>
                  <a:pt x="3217834" y="3913866"/>
                </a:cubicBezTo>
                <a:cubicBezTo>
                  <a:pt x="3219697" y="3911507"/>
                  <a:pt x="3221536" y="3909244"/>
                  <a:pt x="3223423" y="3906814"/>
                </a:cubicBezTo>
                <a:cubicBezTo>
                  <a:pt x="3225310" y="3904385"/>
                  <a:pt x="3227173" y="3901933"/>
                  <a:pt x="3229036" y="3899504"/>
                </a:cubicBezTo>
                <a:cubicBezTo>
                  <a:pt x="3232786" y="3894598"/>
                  <a:pt x="3236512" y="3889646"/>
                  <a:pt x="3240214" y="3884622"/>
                </a:cubicBezTo>
                <a:cubicBezTo>
                  <a:pt x="3255071" y="3864506"/>
                  <a:pt x="3269739" y="3843493"/>
                  <a:pt x="3284314" y="3820476"/>
                </a:cubicBezTo>
                <a:cubicBezTo>
                  <a:pt x="3291601" y="3808968"/>
                  <a:pt x="3298841" y="3796987"/>
                  <a:pt x="3305987" y="3784394"/>
                </a:cubicBezTo>
                <a:cubicBezTo>
                  <a:pt x="3313109" y="3771800"/>
                  <a:pt x="3320137" y="3758570"/>
                  <a:pt x="3326787" y="3744986"/>
                </a:cubicBezTo>
                <a:cubicBezTo>
                  <a:pt x="3340135" y="3717748"/>
                  <a:pt x="3351503" y="3689542"/>
                  <a:pt x="3360205" y="3663860"/>
                </a:cubicBezTo>
                <a:cubicBezTo>
                  <a:pt x="3369001" y="3638013"/>
                  <a:pt x="3375675" y="3614076"/>
                  <a:pt x="3381312" y="3591271"/>
                </a:cubicBezTo>
                <a:cubicBezTo>
                  <a:pt x="3386948" y="3568442"/>
                  <a:pt x="3391500" y="3546793"/>
                  <a:pt x="3395485" y="3525615"/>
                </a:cubicBezTo>
                <a:cubicBezTo>
                  <a:pt x="3403457" y="3483260"/>
                  <a:pt x="3408999" y="3443121"/>
                  <a:pt x="3413291" y="3403478"/>
                </a:cubicBezTo>
                <a:cubicBezTo>
                  <a:pt x="3415437" y="3383644"/>
                  <a:pt x="3417276" y="3363952"/>
                  <a:pt x="3418762" y="3344402"/>
                </a:cubicBezTo>
                <a:cubicBezTo>
                  <a:pt x="3420224" y="3324898"/>
                  <a:pt x="3421356" y="3305560"/>
                  <a:pt x="3422158" y="3286363"/>
                </a:cubicBezTo>
                <a:cubicBezTo>
                  <a:pt x="3423762" y="3247970"/>
                  <a:pt x="3424045" y="3210190"/>
                  <a:pt x="3423007" y="3173070"/>
                </a:cubicBezTo>
                <a:cubicBezTo>
                  <a:pt x="3419092" y="3024472"/>
                  <a:pt x="3393127" y="2887029"/>
                  <a:pt x="3352635" y="2759373"/>
                </a:cubicBezTo>
                <a:cubicBezTo>
                  <a:pt x="3312519" y="2631552"/>
                  <a:pt x="3258207" y="2513188"/>
                  <a:pt x="3207198" y="2397795"/>
                </a:cubicBezTo>
                <a:cubicBezTo>
                  <a:pt x="3194487" y="2368929"/>
                  <a:pt x="3182011" y="2340252"/>
                  <a:pt x="3170125" y="2311645"/>
                </a:cubicBezTo>
                <a:cubicBezTo>
                  <a:pt x="3158286" y="2282945"/>
                  <a:pt x="3147037" y="2254315"/>
                  <a:pt x="3136708" y="2225661"/>
                </a:cubicBezTo>
                <a:cubicBezTo>
                  <a:pt x="3126593" y="2196748"/>
                  <a:pt x="3117397" y="2167575"/>
                  <a:pt x="3112093" y="2135667"/>
                </a:cubicBezTo>
                <a:cubicBezTo>
                  <a:pt x="3109544" y="2119654"/>
                  <a:pt x="3107962" y="2102934"/>
                  <a:pt x="3109167" y="2084374"/>
                </a:cubicBezTo>
                <a:cubicBezTo>
                  <a:pt x="3109802" y="2075106"/>
                  <a:pt x="3111145" y="2065389"/>
                  <a:pt x="3113718" y="2055060"/>
                </a:cubicBezTo>
                <a:cubicBezTo>
                  <a:pt x="3116336" y="2044731"/>
                  <a:pt x="3120228" y="2033788"/>
                  <a:pt x="3125840" y="2022491"/>
                </a:cubicBezTo>
                <a:cubicBezTo>
                  <a:pt x="3131452" y="2011195"/>
                  <a:pt x="3138854" y="1999569"/>
                  <a:pt x="3147815" y="1988296"/>
                </a:cubicBezTo>
                <a:cubicBezTo>
                  <a:pt x="3156730" y="1977023"/>
                  <a:pt x="3167083" y="1966080"/>
                  <a:pt x="3178355" y="1955775"/>
                </a:cubicBezTo>
                <a:cubicBezTo>
                  <a:pt x="3189581" y="1945445"/>
                  <a:pt x="3201845" y="1935611"/>
                  <a:pt x="3214626" y="1926366"/>
                </a:cubicBezTo>
                <a:cubicBezTo>
                  <a:pt x="3227456" y="1917051"/>
                  <a:pt x="3240969" y="1908278"/>
                  <a:pt x="3255047" y="1899859"/>
                </a:cubicBezTo>
                <a:cubicBezTo>
                  <a:pt x="3283229" y="1883044"/>
                  <a:pt x="3313628" y="1867809"/>
                  <a:pt x="3346267" y="1853739"/>
                </a:cubicBezTo>
                <a:cubicBezTo>
                  <a:pt x="3378906" y="1839636"/>
                  <a:pt x="3413786" y="1826760"/>
                  <a:pt x="3451047" y="1814921"/>
                </a:cubicBezTo>
                <a:cubicBezTo>
                  <a:pt x="3599952" y="1768226"/>
                  <a:pt x="3787226" y="1736035"/>
                  <a:pt x="4029119" y="1729550"/>
                </a:cubicBezTo>
                <a:close/>
                <a:moveTo>
                  <a:pt x="4181258" y="1692361"/>
                </a:moveTo>
                <a:cubicBezTo>
                  <a:pt x="4386112" y="1695551"/>
                  <a:pt x="4625091" y="1716749"/>
                  <a:pt x="4907807" y="1772889"/>
                </a:cubicBezTo>
                <a:cubicBezTo>
                  <a:pt x="5282025" y="1849652"/>
                  <a:pt x="5741025" y="1989239"/>
                  <a:pt x="6247569" y="2289783"/>
                </a:cubicBezTo>
                <a:cubicBezTo>
                  <a:pt x="6239787" y="2287873"/>
                  <a:pt x="6232052" y="2285986"/>
                  <a:pt x="6224363" y="2284123"/>
                </a:cubicBezTo>
                <a:cubicBezTo>
                  <a:pt x="5721616" y="1987517"/>
                  <a:pt x="5266436" y="1849912"/>
                  <a:pt x="4895071" y="1774280"/>
                </a:cubicBezTo>
                <a:cubicBezTo>
                  <a:pt x="4521018" y="1700559"/>
                  <a:pt x="4223964" y="1688249"/>
                  <a:pt x="3981481" y="1697776"/>
                </a:cubicBezTo>
                <a:cubicBezTo>
                  <a:pt x="3739541" y="1708436"/>
                  <a:pt x="3552974" y="1743599"/>
                  <a:pt x="3404989" y="1792793"/>
                </a:cubicBezTo>
                <a:cubicBezTo>
                  <a:pt x="3367987" y="1805222"/>
                  <a:pt x="3333438" y="1818688"/>
                  <a:pt x="3301129" y="1833286"/>
                </a:cubicBezTo>
                <a:cubicBezTo>
                  <a:pt x="3268843" y="1847884"/>
                  <a:pt x="3238798" y="1863587"/>
                  <a:pt x="3211135" y="1880732"/>
                </a:cubicBezTo>
                <a:cubicBezTo>
                  <a:pt x="3197315" y="1889316"/>
                  <a:pt x="3184062" y="1898231"/>
                  <a:pt x="3171562" y="1907617"/>
                </a:cubicBezTo>
                <a:cubicBezTo>
                  <a:pt x="3158993" y="1917003"/>
                  <a:pt x="3147225" y="1926743"/>
                  <a:pt x="3136329" y="1937025"/>
                </a:cubicBezTo>
                <a:cubicBezTo>
                  <a:pt x="3125437" y="1947260"/>
                  <a:pt x="3115532" y="1957991"/>
                  <a:pt x="3106994" y="1968981"/>
                </a:cubicBezTo>
                <a:cubicBezTo>
                  <a:pt x="3098431" y="1979947"/>
                  <a:pt x="3091406" y="1991149"/>
                  <a:pt x="3085982" y="2002091"/>
                </a:cubicBezTo>
                <a:cubicBezTo>
                  <a:pt x="3080558" y="2013034"/>
                  <a:pt x="3076736" y="2023694"/>
                  <a:pt x="3074118" y="2033811"/>
                </a:cubicBezTo>
                <a:cubicBezTo>
                  <a:pt x="3071526" y="2043928"/>
                  <a:pt x="3070131" y="2053550"/>
                  <a:pt x="3069424" y="2062795"/>
                </a:cubicBezTo>
                <a:cubicBezTo>
                  <a:pt x="3068056" y="2081213"/>
                  <a:pt x="3069447" y="2098052"/>
                  <a:pt x="3071877" y="2114135"/>
                </a:cubicBezTo>
                <a:cubicBezTo>
                  <a:pt x="3076876" y="2146232"/>
                  <a:pt x="3085908" y="2175711"/>
                  <a:pt x="3095958" y="2204860"/>
                </a:cubicBezTo>
                <a:cubicBezTo>
                  <a:pt x="3106216" y="2233773"/>
                  <a:pt x="3117510" y="2262592"/>
                  <a:pt x="3129468" y="2291410"/>
                </a:cubicBezTo>
                <a:cubicBezTo>
                  <a:pt x="3141494" y="2320158"/>
                  <a:pt x="3154182" y="2348906"/>
                  <a:pt x="3167200" y="2377772"/>
                </a:cubicBezTo>
                <a:cubicBezTo>
                  <a:pt x="3219437" y="2493188"/>
                  <a:pt x="3276461" y="2610397"/>
                  <a:pt x="3320208" y="2736143"/>
                </a:cubicBezTo>
                <a:cubicBezTo>
                  <a:pt x="3364308" y="2861723"/>
                  <a:pt x="3394825" y="2996242"/>
                  <a:pt x="3403386" y="3141727"/>
                </a:cubicBezTo>
                <a:cubicBezTo>
                  <a:pt x="3405579" y="3178069"/>
                  <a:pt x="3406475" y="3215047"/>
                  <a:pt x="3406027" y="3252662"/>
                </a:cubicBezTo>
                <a:cubicBezTo>
                  <a:pt x="3405815" y="3271458"/>
                  <a:pt x="3405249" y="3290419"/>
                  <a:pt x="3404353" y="3309521"/>
                </a:cubicBezTo>
                <a:cubicBezTo>
                  <a:pt x="3403433" y="3328671"/>
                  <a:pt x="3402183" y="3347986"/>
                  <a:pt x="3400603" y="3367442"/>
                </a:cubicBezTo>
                <a:cubicBezTo>
                  <a:pt x="3397443" y="3406307"/>
                  <a:pt x="3393009" y="3445691"/>
                  <a:pt x="3386170" y="3487410"/>
                </a:cubicBezTo>
                <a:cubicBezTo>
                  <a:pt x="3382727" y="3508281"/>
                  <a:pt x="3378718" y="3529647"/>
                  <a:pt x="3373624" y="3552240"/>
                </a:cubicBezTo>
                <a:cubicBezTo>
                  <a:pt x="3368506" y="3574809"/>
                  <a:pt x="3362351" y="3598605"/>
                  <a:pt x="3353979" y="3624523"/>
                </a:cubicBezTo>
                <a:cubicBezTo>
                  <a:pt x="3349805" y="3637446"/>
                  <a:pt x="3345017" y="3650959"/>
                  <a:pt x="3339569" y="3664803"/>
                </a:cubicBezTo>
                <a:cubicBezTo>
                  <a:pt x="3334145" y="3678622"/>
                  <a:pt x="3327990" y="3692749"/>
                  <a:pt x="3321434" y="3706545"/>
                </a:cubicBezTo>
                <a:cubicBezTo>
                  <a:pt x="3314878" y="3720365"/>
                  <a:pt x="3307897" y="3733807"/>
                  <a:pt x="3300799" y="3746589"/>
                </a:cubicBezTo>
                <a:cubicBezTo>
                  <a:pt x="3293700" y="3759395"/>
                  <a:pt x="3286483" y="3771540"/>
                  <a:pt x="3279220" y="3783190"/>
                </a:cubicBezTo>
                <a:cubicBezTo>
                  <a:pt x="3264693" y="3806491"/>
                  <a:pt x="3250024" y="3827763"/>
                  <a:pt x="3235167" y="3848091"/>
                </a:cubicBezTo>
                <a:cubicBezTo>
                  <a:pt x="3231440" y="3853162"/>
                  <a:pt x="3227714" y="3858185"/>
                  <a:pt x="3223965" y="3863138"/>
                </a:cubicBezTo>
                <a:cubicBezTo>
                  <a:pt x="3222101" y="3865614"/>
                  <a:pt x="3220215" y="3868067"/>
                  <a:pt x="3218328" y="3870519"/>
                </a:cubicBezTo>
                <a:cubicBezTo>
                  <a:pt x="3216441" y="3872972"/>
                  <a:pt x="3214602" y="3875283"/>
                  <a:pt x="3212715" y="3877665"/>
                </a:cubicBezTo>
                <a:cubicBezTo>
                  <a:pt x="3210852" y="3880023"/>
                  <a:pt x="3208965" y="3882382"/>
                  <a:pt x="3207079" y="3884740"/>
                </a:cubicBezTo>
                <a:cubicBezTo>
                  <a:pt x="3205192" y="3887051"/>
                  <a:pt x="3203329" y="3889362"/>
                  <a:pt x="3201442" y="3891697"/>
                </a:cubicBezTo>
                <a:cubicBezTo>
                  <a:pt x="3197669" y="3896319"/>
                  <a:pt x="3193849" y="3900942"/>
                  <a:pt x="3190028" y="3905540"/>
                </a:cubicBezTo>
                <a:cubicBezTo>
                  <a:pt x="3128641" y="3978837"/>
                  <a:pt x="3060250" y="4048077"/>
                  <a:pt x="2977781" y="4110361"/>
                </a:cubicBezTo>
                <a:cubicBezTo>
                  <a:pt x="2895500" y="4172243"/>
                  <a:pt x="2798405" y="4227852"/>
                  <a:pt x="2673086" y="4270420"/>
                </a:cubicBezTo>
                <a:cubicBezTo>
                  <a:pt x="2546468" y="4312209"/>
                  <a:pt x="2391597" y="4340957"/>
                  <a:pt x="2164160" y="4331241"/>
                </a:cubicBezTo>
                <a:cubicBezTo>
                  <a:pt x="2391714" y="4340863"/>
                  <a:pt x="2546656" y="4311997"/>
                  <a:pt x="2673322" y="4270066"/>
                </a:cubicBezTo>
                <a:cubicBezTo>
                  <a:pt x="2798712" y="4227357"/>
                  <a:pt x="2895828" y="4171606"/>
                  <a:pt x="2978133" y="4109582"/>
                </a:cubicBezTo>
                <a:cubicBezTo>
                  <a:pt x="3060627" y="4047134"/>
                  <a:pt x="3129042" y="3977752"/>
                  <a:pt x="3190429" y="3904290"/>
                </a:cubicBezTo>
                <a:cubicBezTo>
                  <a:pt x="3194273" y="3899692"/>
                  <a:pt x="3198070" y="3895069"/>
                  <a:pt x="3201843" y="3890424"/>
                </a:cubicBezTo>
                <a:cubicBezTo>
                  <a:pt x="3203730" y="3888112"/>
                  <a:pt x="3205617" y="3885777"/>
                  <a:pt x="3207480" y="3883466"/>
                </a:cubicBezTo>
                <a:cubicBezTo>
                  <a:pt x="3209366" y="3881108"/>
                  <a:pt x="3211230" y="3878750"/>
                  <a:pt x="3213092" y="3876391"/>
                </a:cubicBezTo>
                <a:cubicBezTo>
                  <a:pt x="3214956" y="3874009"/>
                  <a:pt x="3216795" y="3871722"/>
                  <a:pt x="3218682" y="3869269"/>
                </a:cubicBezTo>
                <a:cubicBezTo>
                  <a:pt x="3220568" y="3866817"/>
                  <a:pt x="3222432" y="3864340"/>
                  <a:pt x="3224294" y="3861888"/>
                </a:cubicBezTo>
                <a:cubicBezTo>
                  <a:pt x="3228044" y="3856935"/>
                  <a:pt x="3231747" y="3851912"/>
                  <a:pt x="3235473" y="3846865"/>
                </a:cubicBezTo>
                <a:cubicBezTo>
                  <a:pt x="3250307" y="3826560"/>
                  <a:pt x="3264905" y="3805311"/>
                  <a:pt x="3279338" y="3782129"/>
                </a:cubicBezTo>
                <a:cubicBezTo>
                  <a:pt x="3286554" y="3770526"/>
                  <a:pt x="3293700" y="3758452"/>
                  <a:pt x="3300728" y="3745787"/>
                </a:cubicBezTo>
                <a:cubicBezTo>
                  <a:pt x="3307732" y="3733123"/>
                  <a:pt x="3314618" y="3719846"/>
                  <a:pt x="3321080" y="3706262"/>
                </a:cubicBezTo>
                <a:cubicBezTo>
                  <a:pt x="3334075" y="3679000"/>
                  <a:pt x="3344923" y="3650912"/>
                  <a:pt x="3353106" y="3625442"/>
                </a:cubicBezTo>
                <a:cubicBezTo>
                  <a:pt x="3361360" y="3599831"/>
                  <a:pt x="3367492" y="3576201"/>
                  <a:pt x="3372586" y="3553749"/>
                </a:cubicBezTo>
                <a:cubicBezTo>
                  <a:pt x="3377680" y="3531275"/>
                  <a:pt x="3381642" y="3510002"/>
                  <a:pt x="3385085" y="3489202"/>
                </a:cubicBezTo>
                <a:cubicBezTo>
                  <a:pt x="3391901" y="3447649"/>
                  <a:pt x="3396334" y="3408335"/>
                  <a:pt x="3399471" y="3369565"/>
                </a:cubicBezTo>
                <a:cubicBezTo>
                  <a:pt x="3401051" y="3350155"/>
                  <a:pt x="3402301" y="3330912"/>
                  <a:pt x="3403197" y="3311786"/>
                </a:cubicBezTo>
                <a:cubicBezTo>
                  <a:pt x="3404070" y="3292730"/>
                  <a:pt x="3404636" y="3273816"/>
                  <a:pt x="3404848" y="3255044"/>
                </a:cubicBezTo>
                <a:cubicBezTo>
                  <a:pt x="3405296" y="3217523"/>
                  <a:pt x="3404400" y="3180616"/>
                  <a:pt x="3402206" y="3144345"/>
                </a:cubicBezTo>
                <a:cubicBezTo>
                  <a:pt x="3393622" y="2999166"/>
                  <a:pt x="3363153" y="2864907"/>
                  <a:pt x="3318958" y="2739586"/>
                </a:cubicBezTo>
                <a:cubicBezTo>
                  <a:pt x="3275116" y="2614099"/>
                  <a:pt x="3217927" y="2497127"/>
                  <a:pt x="3165171" y="2381946"/>
                </a:cubicBezTo>
                <a:cubicBezTo>
                  <a:pt x="3152012" y="2353151"/>
                  <a:pt x="3139183" y="2324450"/>
                  <a:pt x="3126990" y="2295750"/>
                </a:cubicBezTo>
                <a:cubicBezTo>
                  <a:pt x="3114847" y="2266955"/>
                  <a:pt x="3103360" y="2238183"/>
                  <a:pt x="3092889" y="2209317"/>
                </a:cubicBezTo>
                <a:cubicBezTo>
                  <a:pt x="3082607" y="2180192"/>
                  <a:pt x="3073315" y="2150713"/>
                  <a:pt x="3067985" y="2118404"/>
                </a:cubicBezTo>
                <a:cubicBezTo>
                  <a:pt x="3065417" y="2102179"/>
                  <a:pt x="3063811" y="2085222"/>
                  <a:pt x="3065015" y="2066356"/>
                </a:cubicBezTo>
                <a:cubicBezTo>
                  <a:pt x="3065650" y="2056922"/>
                  <a:pt x="3066974" y="2047065"/>
                  <a:pt x="3069567" y="2036546"/>
                </a:cubicBezTo>
                <a:cubicBezTo>
                  <a:pt x="3072184" y="2026028"/>
                  <a:pt x="3076051" y="2014897"/>
                  <a:pt x="3081689" y="2003341"/>
                </a:cubicBezTo>
                <a:cubicBezTo>
                  <a:pt x="3087301" y="1991809"/>
                  <a:pt x="3094684" y="1979947"/>
                  <a:pt x="3103643" y="1968415"/>
                </a:cubicBezTo>
                <a:cubicBezTo>
                  <a:pt x="3112537" y="1956882"/>
                  <a:pt x="3122889" y="1945680"/>
                  <a:pt x="3134139" y="1935091"/>
                </a:cubicBezTo>
                <a:cubicBezTo>
                  <a:pt x="3145361" y="1924503"/>
                  <a:pt x="3157601" y="1914409"/>
                  <a:pt x="3170383" y="1904881"/>
                </a:cubicBezTo>
                <a:cubicBezTo>
                  <a:pt x="3183213" y="1895307"/>
                  <a:pt x="3196702" y="1886251"/>
                  <a:pt x="3210758" y="1877572"/>
                </a:cubicBezTo>
                <a:cubicBezTo>
                  <a:pt x="3238916" y="1860215"/>
                  <a:pt x="3269315" y="1844417"/>
                  <a:pt x="3301954" y="1829748"/>
                </a:cubicBezTo>
                <a:cubicBezTo>
                  <a:pt x="3334617" y="1815080"/>
                  <a:pt x="3369520" y="1801590"/>
                  <a:pt x="3406805" y="1789138"/>
                </a:cubicBezTo>
                <a:cubicBezTo>
                  <a:pt x="3555945" y="1739967"/>
                  <a:pt x="3743786" y="1704946"/>
                  <a:pt x="3987424" y="1694546"/>
                </a:cubicBezTo>
                <a:cubicBezTo>
                  <a:pt x="4048481" y="1692235"/>
                  <a:pt x="4112974" y="1691297"/>
                  <a:pt x="4181258" y="1692361"/>
                </a:cubicBezTo>
                <a:close/>
                <a:moveTo>
                  <a:pt x="4141275" y="1654812"/>
                </a:moveTo>
                <a:cubicBezTo>
                  <a:pt x="4347799" y="1654723"/>
                  <a:pt x="4589321" y="1671800"/>
                  <a:pt x="4876794" y="1722280"/>
                </a:cubicBezTo>
                <a:cubicBezTo>
                  <a:pt x="5257734" y="1791827"/>
                  <a:pt x="5726450" y="1920023"/>
                  <a:pt x="6259101" y="2210498"/>
                </a:cubicBezTo>
                <a:cubicBezTo>
                  <a:pt x="6251130" y="2208847"/>
                  <a:pt x="6243159" y="2207078"/>
                  <a:pt x="6235235" y="2205357"/>
                </a:cubicBezTo>
                <a:cubicBezTo>
                  <a:pt x="5706735" y="1918797"/>
                  <a:pt x="5241933" y="1792464"/>
                  <a:pt x="4863918" y="1724002"/>
                </a:cubicBezTo>
                <a:cubicBezTo>
                  <a:pt x="4483591" y="1657780"/>
                  <a:pt x="4184155" y="1650210"/>
                  <a:pt x="3940021" y="1663487"/>
                </a:cubicBezTo>
                <a:cubicBezTo>
                  <a:pt x="3696524" y="1677849"/>
                  <a:pt x="3509486" y="1715700"/>
                  <a:pt x="3361313" y="1767253"/>
                </a:cubicBezTo>
                <a:cubicBezTo>
                  <a:pt x="3324263" y="1780271"/>
                  <a:pt x="3289667" y="1794303"/>
                  <a:pt x="3257381" y="1809467"/>
                </a:cubicBezTo>
                <a:cubicBezTo>
                  <a:pt x="3225073" y="1824631"/>
                  <a:pt x="3195028" y="1840856"/>
                  <a:pt x="3167388" y="1858497"/>
                </a:cubicBezTo>
                <a:cubicBezTo>
                  <a:pt x="3153568" y="1867338"/>
                  <a:pt x="3140338" y="1876512"/>
                  <a:pt x="3127817" y="1886134"/>
                </a:cubicBezTo>
                <a:cubicBezTo>
                  <a:pt x="3115245" y="1895780"/>
                  <a:pt x="3103478" y="1905755"/>
                  <a:pt x="3092582" y="1916297"/>
                </a:cubicBezTo>
                <a:cubicBezTo>
                  <a:pt x="3081712" y="1926792"/>
                  <a:pt x="3071782" y="1937758"/>
                  <a:pt x="3063270" y="1948983"/>
                </a:cubicBezTo>
                <a:cubicBezTo>
                  <a:pt x="3054707" y="1960209"/>
                  <a:pt x="3047657" y="1971623"/>
                  <a:pt x="3042234" y="1982778"/>
                </a:cubicBezTo>
                <a:cubicBezTo>
                  <a:pt x="3036784" y="1993933"/>
                  <a:pt x="3032963" y="2004805"/>
                  <a:pt x="3030346" y="2015111"/>
                </a:cubicBezTo>
                <a:cubicBezTo>
                  <a:pt x="3027752" y="2025417"/>
                  <a:pt x="3026339" y="2035204"/>
                  <a:pt x="3025605" y="2044590"/>
                </a:cubicBezTo>
                <a:cubicBezTo>
                  <a:pt x="3024216" y="2063315"/>
                  <a:pt x="3025605" y="2080413"/>
                  <a:pt x="3028011" y="2096756"/>
                </a:cubicBezTo>
                <a:cubicBezTo>
                  <a:pt x="3033012" y="2129324"/>
                  <a:pt x="3042069" y="2159157"/>
                  <a:pt x="3052233" y="2188589"/>
                </a:cubicBezTo>
                <a:cubicBezTo>
                  <a:pt x="3062610" y="2217785"/>
                  <a:pt x="3074069" y="2246839"/>
                  <a:pt x="3086264" y="2275823"/>
                </a:cubicBezTo>
                <a:cubicBezTo>
                  <a:pt x="3098525" y="2304736"/>
                  <a:pt x="3111519" y="2333579"/>
                  <a:pt x="3124940" y="2362444"/>
                </a:cubicBezTo>
                <a:cubicBezTo>
                  <a:pt x="3178684" y="2477955"/>
                  <a:pt x="3238350" y="2594055"/>
                  <a:pt x="3285587" y="2717702"/>
                </a:cubicBezTo>
                <a:cubicBezTo>
                  <a:pt x="3333178" y="2841207"/>
                  <a:pt x="3368010" y="2972707"/>
                  <a:pt x="3381099" y="3114891"/>
                </a:cubicBezTo>
                <a:cubicBezTo>
                  <a:pt x="3384424" y="3150407"/>
                  <a:pt x="3386452" y="3186560"/>
                  <a:pt x="3387136" y="3223303"/>
                </a:cubicBezTo>
                <a:cubicBezTo>
                  <a:pt x="3387490" y="3241674"/>
                  <a:pt x="3387490" y="3260211"/>
                  <a:pt x="3387184" y="3278888"/>
                </a:cubicBezTo>
                <a:cubicBezTo>
                  <a:pt x="3386830" y="3297614"/>
                  <a:pt x="3386146" y="3316504"/>
                  <a:pt x="3385132" y="3335512"/>
                </a:cubicBezTo>
                <a:cubicBezTo>
                  <a:pt x="3383104" y="3373504"/>
                  <a:pt x="3379802" y="3412063"/>
                  <a:pt x="3374071" y="3452980"/>
                </a:cubicBezTo>
                <a:cubicBezTo>
                  <a:pt x="3371194" y="3473450"/>
                  <a:pt x="3367751" y="3494415"/>
                  <a:pt x="3363199" y="3516654"/>
                </a:cubicBezTo>
                <a:cubicBezTo>
                  <a:pt x="3358648" y="3538870"/>
                  <a:pt x="3353035" y="3562335"/>
                  <a:pt x="3345205" y="3587970"/>
                </a:cubicBezTo>
                <a:cubicBezTo>
                  <a:pt x="3341291" y="3600776"/>
                  <a:pt x="3336786" y="3614171"/>
                  <a:pt x="3331551" y="3627944"/>
                </a:cubicBezTo>
                <a:cubicBezTo>
                  <a:pt x="3326362" y="3641692"/>
                  <a:pt x="3320443" y="3655772"/>
                  <a:pt x="3314076" y="3669568"/>
                </a:cubicBezTo>
                <a:cubicBezTo>
                  <a:pt x="3307708" y="3683364"/>
                  <a:pt x="3300893" y="3696830"/>
                  <a:pt x="3293935" y="3709659"/>
                </a:cubicBezTo>
                <a:cubicBezTo>
                  <a:pt x="3286955" y="3722512"/>
                  <a:pt x="3279833" y="3734705"/>
                  <a:pt x="3272663" y="3746449"/>
                </a:cubicBezTo>
                <a:cubicBezTo>
                  <a:pt x="3258301" y="3769891"/>
                  <a:pt x="3243727" y="3791305"/>
                  <a:pt x="3228893" y="3811775"/>
                </a:cubicBezTo>
                <a:cubicBezTo>
                  <a:pt x="3225190" y="3816892"/>
                  <a:pt x="3221464" y="3821939"/>
                  <a:pt x="3217715" y="3826915"/>
                </a:cubicBezTo>
                <a:cubicBezTo>
                  <a:pt x="3215851" y="3829392"/>
                  <a:pt x="3213965" y="3831868"/>
                  <a:pt x="3212078" y="3834344"/>
                </a:cubicBezTo>
                <a:cubicBezTo>
                  <a:pt x="3210191" y="3836820"/>
                  <a:pt x="3208352" y="3839131"/>
                  <a:pt x="3206465" y="3841537"/>
                </a:cubicBezTo>
                <a:cubicBezTo>
                  <a:pt x="3204579" y="3843919"/>
                  <a:pt x="3202716" y="3846301"/>
                  <a:pt x="3200805" y="3848659"/>
                </a:cubicBezTo>
                <a:cubicBezTo>
                  <a:pt x="3198919" y="3850994"/>
                  <a:pt x="3197032" y="3853329"/>
                  <a:pt x="3195145" y="3855663"/>
                </a:cubicBezTo>
                <a:cubicBezTo>
                  <a:pt x="3191372" y="3860333"/>
                  <a:pt x="3187552" y="3864955"/>
                  <a:pt x="3183684" y="3869577"/>
                </a:cubicBezTo>
                <a:cubicBezTo>
                  <a:pt x="3122085" y="3943346"/>
                  <a:pt x="3053081" y="4012586"/>
                  <a:pt x="2969195" y="4074303"/>
                </a:cubicBezTo>
                <a:cubicBezTo>
                  <a:pt x="2885594" y="4135596"/>
                  <a:pt x="2786073" y="4190002"/>
                  <a:pt x="2656365" y="4230141"/>
                </a:cubicBezTo>
                <a:cubicBezTo>
                  <a:pt x="2525172" y="4269360"/>
                  <a:pt x="2363792" y="4294311"/>
                  <a:pt x="2122040" y="4275279"/>
                </a:cubicBezTo>
                <a:cubicBezTo>
                  <a:pt x="2363910" y="4294240"/>
                  <a:pt x="2525360" y="4269148"/>
                  <a:pt x="2656601" y="4229811"/>
                </a:cubicBezTo>
                <a:cubicBezTo>
                  <a:pt x="2786356" y="4189531"/>
                  <a:pt x="2885900" y="4135030"/>
                  <a:pt x="2969526" y="4073572"/>
                </a:cubicBezTo>
                <a:cubicBezTo>
                  <a:pt x="3053434" y="4011713"/>
                  <a:pt x="3122462" y="3942284"/>
                  <a:pt x="3184038" y="3868375"/>
                </a:cubicBezTo>
                <a:cubicBezTo>
                  <a:pt x="3187882" y="3863729"/>
                  <a:pt x="3191702" y="3859083"/>
                  <a:pt x="3195475" y="3854413"/>
                </a:cubicBezTo>
                <a:cubicBezTo>
                  <a:pt x="3197362" y="3852079"/>
                  <a:pt x="3199249" y="3849744"/>
                  <a:pt x="3201135" y="3847409"/>
                </a:cubicBezTo>
                <a:cubicBezTo>
                  <a:pt x="3203022" y="3845051"/>
                  <a:pt x="3204885" y="3842669"/>
                  <a:pt x="3206772" y="3840287"/>
                </a:cubicBezTo>
                <a:cubicBezTo>
                  <a:pt x="3208658" y="3837881"/>
                  <a:pt x="3210498" y="3835570"/>
                  <a:pt x="3212361" y="3833094"/>
                </a:cubicBezTo>
                <a:cubicBezTo>
                  <a:pt x="3214248" y="3830618"/>
                  <a:pt x="3216111" y="3828142"/>
                  <a:pt x="3217974" y="3825642"/>
                </a:cubicBezTo>
                <a:cubicBezTo>
                  <a:pt x="3221700" y="3820666"/>
                  <a:pt x="3225426" y="3815619"/>
                  <a:pt x="3229129" y="3810501"/>
                </a:cubicBezTo>
                <a:cubicBezTo>
                  <a:pt x="3243915" y="3790055"/>
                  <a:pt x="3258443" y="3768641"/>
                  <a:pt x="3272711" y="3745341"/>
                </a:cubicBezTo>
                <a:cubicBezTo>
                  <a:pt x="3279833" y="3733667"/>
                  <a:pt x="3286908" y="3721545"/>
                  <a:pt x="3293794" y="3708834"/>
                </a:cubicBezTo>
                <a:cubicBezTo>
                  <a:pt x="3300680" y="3696123"/>
                  <a:pt x="3307401" y="3682845"/>
                  <a:pt x="3313675" y="3669238"/>
                </a:cubicBezTo>
                <a:cubicBezTo>
                  <a:pt x="3326292" y="3641976"/>
                  <a:pt x="3336645" y="3614077"/>
                  <a:pt x="3344309" y="3588866"/>
                </a:cubicBezTo>
                <a:cubicBezTo>
                  <a:pt x="3352045" y="3563514"/>
                  <a:pt x="3357610" y="3540214"/>
                  <a:pt x="3362138" y="3518117"/>
                </a:cubicBezTo>
                <a:cubicBezTo>
                  <a:pt x="3366666" y="3495996"/>
                  <a:pt x="3370086" y="3475124"/>
                  <a:pt x="3372963" y="3454725"/>
                </a:cubicBezTo>
                <a:cubicBezTo>
                  <a:pt x="3378670" y="3413973"/>
                  <a:pt x="3381972" y="3375509"/>
                  <a:pt x="3383976" y="3337587"/>
                </a:cubicBezTo>
                <a:cubicBezTo>
                  <a:pt x="3384990" y="3318602"/>
                  <a:pt x="3385674" y="3299783"/>
                  <a:pt x="3386004" y="3281082"/>
                </a:cubicBezTo>
                <a:cubicBezTo>
                  <a:pt x="3386311" y="3262451"/>
                  <a:pt x="3386311" y="3243962"/>
                  <a:pt x="3385957" y="3225614"/>
                </a:cubicBezTo>
                <a:cubicBezTo>
                  <a:pt x="3385250" y="3188942"/>
                  <a:pt x="3383245" y="3152883"/>
                  <a:pt x="3379920" y="3117438"/>
                </a:cubicBezTo>
                <a:cubicBezTo>
                  <a:pt x="3366855" y="2975561"/>
                  <a:pt x="3332046" y="2844344"/>
                  <a:pt x="3284361" y="2721098"/>
                </a:cubicBezTo>
                <a:cubicBezTo>
                  <a:pt x="3237029" y="2597687"/>
                  <a:pt x="3177175" y="2481846"/>
                  <a:pt x="3122910" y="2366595"/>
                </a:cubicBezTo>
                <a:cubicBezTo>
                  <a:pt x="3109373" y="2337776"/>
                  <a:pt x="3096239" y="2308981"/>
                  <a:pt x="3083811" y="2280139"/>
                </a:cubicBezTo>
                <a:cubicBezTo>
                  <a:pt x="3071430" y="2251202"/>
                  <a:pt x="3059779" y="2222195"/>
                  <a:pt x="3049189" y="2193046"/>
                </a:cubicBezTo>
                <a:cubicBezTo>
                  <a:pt x="3038812" y="2163638"/>
                  <a:pt x="3029473" y="2133805"/>
                  <a:pt x="3024122" y="2101024"/>
                </a:cubicBezTo>
                <a:cubicBezTo>
                  <a:pt x="3021549" y="2084563"/>
                  <a:pt x="3019969" y="2067348"/>
                  <a:pt x="3021197" y="2048174"/>
                </a:cubicBezTo>
                <a:cubicBezTo>
                  <a:pt x="3021856" y="2038576"/>
                  <a:pt x="3023177" y="2028553"/>
                  <a:pt x="3025794" y="2017823"/>
                </a:cubicBezTo>
                <a:cubicBezTo>
                  <a:pt x="3028412" y="2007116"/>
                  <a:pt x="3032327" y="1995749"/>
                  <a:pt x="3037965" y="1983981"/>
                </a:cubicBezTo>
                <a:cubicBezTo>
                  <a:pt x="3043601" y="1972213"/>
                  <a:pt x="3050983" y="1960091"/>
                  <a:pt x="3059919" y="1948323"/>
                </a:cubicBezTo>
                <a:cubicBezTo>
                  <a:pt x="3068812" y="1936532"/>
                  <a:pt x="3079165" y="1925070"/>
                  <a:pt x="3090414" y="1914222"/>
                </a:cubicBezTo>
                <a:cubicBezTo>
                  <a:pt x="3101639" y="1903350"/>
                  <a:pt x="3113855" y="1892997"/>
                  <a:pt x="3126636" y="1883233"/>
                </a:cubicBezTo>
                <a:cubicBezTo>
                  <a:pt x="3139465" y="1873399"/>
                  <a:pt x="3152955" y="1864084"/>
                  <a:pt x="3167011" y="1855124"/>
                </a:cubicBezTo>
                <a:cubicBezTo>
                  <a:pt x="3195145" y="1837248"/>
                  <a:pt x="3225568" y="1820905"/>
                  <a:pt x="3258207" y="1805694"/>
                </a:cubicBezTo>
                <a:cubicBezTo>
                  <a:pt x="3290870" y="1790483"/>
                  <a:pt x="3325796" y="1776403"/>
                  <a:pt x="3363152" y="1763385"/>
                </a:cubicBezTo>
                <a:cubicBezTo>
                  <a:pt x="3512505" y="1711833"/>
                  <a:pt x="3700817" y="1674099"/>
                  <a:pt x="3946011" y="1660020"/>
                </a:cubicBezTo>
                <a:cubicBezTo>
                  <a:pt x="4007481" y="1656778"/>
                  <a:pt x="4072434" y="1654841"/>
                  <a:pt x="4141275" y="1654812"/>
                </a:cubicBezTo>
                <a:close/>
                <a:moveTo>
                  <a:pt x="4101694" y="1618100"/>
                </a:moveTo>
                <a:cubicBezTo>
                  <a:pt x="4309695" y="1614907"/>
                  <a:pt x="4553463" y="1628097"/>
                  <a:pt x="4845146" y="1673112"/>
                </a:cubicBezTo>
                <a:cubicBezTo>
                  <a:pt x="5232123" y="1735655"/>
                  <a:pt x="5709306" y="1852675"/>
                  <a:pt x="6266153" y="2131965"/>
                </a:cubicBezTo>
                <a:cubicBezTo>
                  <a:pt x="6257899" y="2130314"/>
                  <a:pt x="6249715" y="2128687"/>
                  <a:pt x="6241579" y="2127084"/>
                </a:cubicBezTo>
                <a:cubicBezTo>
                  <a:pt x="5689236" y="1851660"/>
                  <a:pt x="5216016" y="1736363"/>
                  <a:pt x="4832033" y="1674880"/>
                </a:cubicBezTo>
                <a:cubicBezTo>
                  <a:pt x="4446165" y="1615899"/>
                  <a:pt x="4144606" y="1612810"/>
                  <a:pt x="3899034" y="1629601"/>
                </a:cubicBezTo>
                <a:cubicBezTo>
                  <a:pt x="3654193" y="1647453"/>
                  <a:pt x="3466730" y="1687876"/>
                  <a:pt x="3318368" y="1741693"/>
                </a:cubicBezTo>
                <a:cubicBezTo>
                  <a:pt x="3281272" y="1755276"/>
                  <a:pt x="3246675" y="1769851"/>
                  <a:pt x="3214342" y="1785534"/>
                </a:cubicBezTo>
                <a:cubicBezTo>
                  <a:pt x="3182034" y="1801217"/>
                  <a:pt x="3151989" y="1817961"/>
                  <a:pt x="3124326" y="1836096"/>
                </a:cubicBezTo>
                <a:cubicBezTo>
                  <a:pt x="3110506" y="1845199"/>
                  <a:pt x="3097276" y="1854608"/>
                  <a:pt x="3084754" y="1864484"/>
                </a:cubicBezTo>
                <a:cubicBezTo>
                  <a:pt x="3072184" y="1874389"/>
                  <a:pt x="3060416" y="1884601"/>
                  <a:pt x="3049522" y="1895402"/>
                </a:cubicBezTo>
                <a:cubicBezTo>
                  <a:pt x="3038624" y="1906156"/>
                  <a:pt x="3028720" y="1917358"/>
                  <a:pt x="3020162" y="1928819"/>
                </a:cubicBezTo>
                <a:cubicBezTo>
                  <a:pt x="3011599" y="1940281"/>
                  <a:pt x="3004524" y="1951955"/>
                  <a:pt x="2999075" y="1963322"/>
                </a:cubicBezTo>
                <a:cubicBezTo>
                  <a:pt x="2993608" y="1974712"/>
                  <a:pt x="2989760" y="1985773"/>
                  <a:pt x="2987098" y="1996291"/>
                </a:cubicBezTo>
                <a:cubicBezTo>
                  <a:pt x="2984480" y="2006786"/>
                  <a:pt x="2983043" y="2016761"/>
                  <a:pt x="2982283" y="2026312"/>
                </a:cubicBezTo>
                <a:cubicBezTo>
                  <a:pt x="2980846" y="2045391"/>
                  <a:pt x="2982190" y="2062772"/>
                  <a:pt x="2984549" y="2079351"/>
                </a:cubicBezTo>
                <a:cubicBezTo>
                  <a:pt x="2989477" y="2112438"/>
                  <a:pt x="2998535" y="2142696"/>
                  <a:pt x="3008745" y="2172481"/>
                </a:cubicBezTo>
                <a:cubicBezTo>
                  <a:pt x="3019170" y="2202031"/>
                  <a:pt x="3030748" y="2231368"/>
                  <a:pt x="3043152" y="2260565"/>
                </a:cubicBezTo>
                <a:cubicBezTo>
                  <a:pt x="3055605" y="2289690"/>
                  <a:pt x="3068859" y="2318697"/>
                  <a:pt x="3082587" y="2347657"/>
                </a:cubicBezTo>
                <a:cubicBezTo>
                  <a:pt x="3137626" y="2463522"/>
                  <a:pt x="3199721" y="2578820"/>
                  <a:pt x="3250260" y="2700627"/>
                </a:cubicBezTo>
                <a:cubicBezTo>
                  <a:pt x="3301129" y="2822317"/>
                  <a:pt x="3340112" y="2951010"/>
                  <a:pt x="3357540" y="3090010"/>
                </a:cubicBezTo>
                <a:cubicBezTo>
                  <a:pt x="3361950" y="3124724"/>
                  <a:pt x="3365087" y="3160052"/>
                  <a:pt x="3366879" y="3195969"/>
                </a:cubicBezTo>
                <a:cubicBezTo>
                  <a:pt x="3367775" y="3213940"/>
                  <a:pt x="3368341" y="3232052"/>
                  <a:pt x="3368577" y="3250305"/>
                </a:cubicBezTo>
                <a:cubicBezTo>
                  <a:pt x="3368789" y="3268629"/>
                  <a:pt x="3368648" y="3287071"/>
                  <a:pt x="3368199" y="3305678"/>
                </a:cubicBezTo>
                <a:cubicBezTo>
                  <a:pt x="3367280" y="3342846"/>
                  <a:pt x="3365063" y="3380555"/>
                  <a:pt x="3360441" y="3420670"/>
                </a:cubicBezTo>
                <a:cubicBezTo>
                  <a:pt x="3358106" y="3440740"/>
                  <a:pt x="3355229" y="3461328"/>
                  <a:pt x="3351220" y="3483189"/>
                </a:cubicBezTo>
                <a:cubicBezTo>
                  <a:pt x="3347210" y="3505027"/>
                  <a:pt x="3342164" y="3528139"/>
                  <a:pt x="3334876" y="3553515"/>
                </a:cubicBezTo>
                <a:cubicBezTo>
                  <a:pt x="3331245" y="3566179"/>
                  <a:pt x="3326976" y="3579456"/>
                  <a:pt x="3322000" y="3593111"/>
                </a:cubicBezTo>
                <a:cubicBezTo>
                  <a:pt x="3317071" y="3606742"/>
                  <a:pt x="3311364" y="3620774"/>
                  <a:pt x="3305209" y="3634547"/>
                </a:cubicBezTo>
                <a:cubicBezTo>
                  <a:pt x="3299030" y="3648319"/>
                  <a:pt x="3292379" y="3661785"/>
                  <a:pt x="3285564" y="3674614"/>
                </a:cubicBezTo>
                <a:cubicBezTo>
                  <a:pt x="3278725" y="3687491"/>
                  <a:pt x="3271721" y="3699707"/>
                  <a:pt x="3264622" y="3711475"/>
                </a:cubicBezTo>
                <a:cubicBezTo>
                  <a:pt x="3250425" y="3734987"/>
                  <a:pt x="3235945" y="3756519"/>
                  <a:pt x="3221182" y="3777083"/>
                </a:cubicBezTo>
                <a:cubicBezTo>
                  <a:pt x="3217479" y="3782225"/>
                  <a:pt x="3213777" y="3787295"/>
                  <a:pt x="3210050" y="3792295"/>
                </a:cubicBezTo>
                <a:cubicBezTo>
                  <a:pt x="3208187" y="3794794"/>
                  <a:pt x="3206324" y="3797271"/>
                  <a:pt x="3204438" y="3799771"/>
                </a:cubicBezTo>
                <a:cubicBezTo>
                  <a:pt x="3202551" y="3802247"/>
                  <a:pt x="3200711" y="3804582"/>
                  <a:pt x="3198825" y="3807011"/>
                </a:cubicBezTo>
                <a:cubicBezTo>
                  <a:pt x="3196938" y="3809393"/>
                  <a:pt x="3195075" y="3811798"/>
                  <a:pt x="3193165" y="3814180"/>
                </a:cubicBezTo>
                <a:cubicBezTo>
                  <a:pt x="3191278" y="3816515"/>
                  <a:pt x="3189392" y="3818873"/>
                  <a:pt x="3187505" y="3821208"/>
                </a:cubicBezTo>
                <a:cubicBezTo>
                  <a:pt x="3183708" y="3825877"/>
                  <a:pt x="3179887" y="3830547"/>
                  <a:pt x="3176020" y="3835193"/>
                </a:cubicBezTo>
                <a:cubicBezTo>
                  <a:pt x="3114257" y="3909197"/>
                  <a:pt x="3044663" y="3978272"/>
                  <a:pt x="2959314" y="4039211"/>
                </a:cubicBezTo>
                <a:cubicBezTo>
                  <a:pt x="2874345" y="4099749"/>
                  <a:pt x="2772326" y="4152670"/>
                  <a:pt x="2638020" y="4190073"/>
                </a:cubicBezTo>
                <a:cubicBezTo>
                  <a:pt x="2502015" y="4226367"/>
                  <a:pt x="2333725" y="4247144"/>
                  <a:pt x="2077022" y="4217712"/>
                </a:cubicBezTo>
                <a:cubicBezTo>
                  <a:pt x="2333867" y="4247050"/>
                  <a:pt x="2502228" y="4226155"/>
                  <a:pt x="2638279" y="4189743"/>
                </a:cubicBezTo>
                <a:cubicBezTo>
                  <a:pt x="2772633" y="4152222"/>
                  <a:pt x="2874673" y="4099160"/>
                  <a:pt x="2959671" y="4038480"/>
                </a:cubicBezTo>
                <a:cubicBezTo>
                  <a:pt x="3045040" y="3977423"/>
                  <a:pt x="3114634" y="3908182"/>
                  <a:pt x="3176374" y="3834037"/>
                </a:cubicBezTo>
                <a:cubicBezTo>
                  <a:pt x="3180241" y="3829391"/>
                  <a:pt x="3184062" y="3824722"/>
                  <a:pt x="3187835" y="3820029"/>
                </a:cubicBezTo>
                <a:cubicBezTo>
                  <a:pt x="3189722" y="3817694"/>
                  <a:pt x="3191608" y="3815335"/>
                  <a:pt x="3193495" y="3813001"/>
                </a:cubicBezTo>
                <a:cubicBezTo>
                  <a:pt x="3195381" y="3810619"/>
                  <a:pt x="3197245" y="3808237"/>
                  <a:pt x="3199131" y="3805855"/>
                </a:cubicBezTo>
                <a:cubicBezTo>
                  <a:pt x="3200994" y="3803450"/>
                  <a:pt x="3202857" y="3801115"/>
                  <a:pt x="3204721" y="3798639"/>
                </a:cubicBezTo>
                <a:cubicBezTo>
                  <a:pt x="3206607" y="3796162"/>
                  <a:pt x="3208470" y="3793663"/>
                  <a:pt x="3210333" y="3791163"/>
                </a:cubicBezTo>
                <a:cubicBezTo>
                  <a:pt x="3214059" y="3786163"/>
                  <a:pt x="3217762" y="3781093"/>
                  <a:pt x="3221441" y="3775952"/>
                </a:cubicBezTo>
                <a:cubicBezTo>
                  <a:pt x="3236181" y="3755411"/>
                  <a:pt x="3250613" y="3733903"/>
                  <a:pt x="3264716" y="3710508"/>
                </a:cubicBezTo>
                <a:cubicBezTo>
                  <a:pt x="3271768" y="3698811"/>
                  <a:pt x="3278725" y="3686642"/>
                  <a:pt x="3285470" y="3673907"/>
                </a:cubicBezTo>
                <a:cubicBezTo>
                  <a:pt x="3292214" y="3661195"/>
                  <a:pt x="3298771" y="3647894"/>
                  <a:pt x="3304855" y="3634334"/>
                </a:cubicBezTo>
                <a:cubicBezTo>
                  <a:pt x="3317095" y="3607143"/>
                  <a:pt x="3326929" y="3579433"/>
                  <a:pt x="3334051" y="3554505"/>
                </a:cubicBezTo>
                <a:cubicBezTo>
                  <a:pt x="3341244" y="3529436"/>
                  <a:pt x="3346267" y="3506466"/>
                  <a:pt x="3350253" y="3484770"/>
                </a:cubicBezTo>
                <a:cubicBezTo>
                  <a:pt x="3354238" y="3463026"/>
                  <a:pt x="3357115" y="3442532"/>
                  <a:pt x="3359426" y="3422533"/>
                </a:cubicBezTo>
                <a:cubicBezTo>
                  <a:pt x="3364025" y="3382583"/>
                  <a:pt x="3366242" y="3344968"/>
                  <a:pt x="3367138" y="3307872"/>
                </a:cubicBezTo>
                <a:cubicBezTo>
                  <a:pt x="3367610" y="3289312"/>
                  <a:pt x="3367728" y="3270893"/>
                  <a:pt x="3367516" y="3252640"/>
                </a:cubicBezTo>
                <a:cubicBezTo>
                  <a:pt x="3367280" y="3234434"/>
                  <a:pt x="3366714" y="3216345"/>
                  <a:pt x="3365817" y="3198446"/>
                </a:cubicBezTo>
                <a:cubicBezTo>
                  <a:pt x="3364025" y="3162599"/>
                  <a:pt x="3360889" y="3127342"/>
                  <a:pt x="3356479" y="3092722"/>
                </a:cubicBezTo>
                <a:cubicBezTo>
                  <a:pt x="3339051" y="2954029"/>
                  <a:pt x="3300115" y="2825619"/>
                  <a:pt x="3249175" y="2704212"/>
                </a:cubicBezTo>
                <a:cubicBezTo>
                  <a:pt x="3198542" y="2582664"/>
                  <a:pt x="3136258" y="2467649"/>
                  <a:pt x="3080697" y="2352020"/>
                </a:cubicBezTo>
                <a:cubicBezTo>
                  <a:pt x="3066830" y="2323107"/>
                  <a:pt x="3053435" y="2294171"/>
                  <a:pt x="3040797" y="2265116"/>
                </a:cubicBezTo>
                <a:cubicBezTo>
                  <a:pt x="3028225" y="2235944"/>
                  <a:pt x="3016433" y="2206653"/>
                  <a:pt x="3005799" y="2177174"/>
                </a:cubicBezTo>
                <a:cubicBezTo>
                  <a:pt x="2995353" y="2147412"/>
                  <a:pt x="2986011" y="2117179"/>
                  <a:pt x="2980752" y="2083855"/>
                </a:cubicBezTo>
                <a:cubicBezTo>
                  <a:pt x="2978205" y="2067135"/>
                  <a:pt x="2976671" y="2049613"/>
                  <a:pt x="2977970" y="2030109"/>
                </a:cubicBezTo>
                <a:cubicBezTo>
                  <a:pt x="2978654" y="2020346"/>
                  <a:pt x="2980023" y="2010134"/>
                  <a:pt x="2982640" y="1999215"/>
                </a:cubicBezTo>
                <a:cubicBezTo>
                  <a:pt x="2985303" y="1988296"/>
                  <a:pt x="2989219" y="1976741"/>
                  <a:pt x="2994878" y="1964713"/>
                </a:cubicBezTo>
                <a:cubicBezTo>
                  <a:pt x="3000538" y="1952709"/>
                  <a:pt x="3007946" y="1940352"/>
                  <a:pt x="3016905" y="1928300"/>
                </a:cubicBezTo>
                <a:cubicBezTo>
                  <a:pt x="3025819" y="1916250"/>
                  <a:pt x="3036171" y="1904529"/>
                  <a:pt x="3047421" y="1893445"/>
                </a:cubicBezTo>
                <a:cubicBezTo>
                  <a:pt x="3058650" y="1882337"/>
                  <a:pt x="3070887" y="1871724"/>
                  <a:pt x="3083669" y="1861702"/>
                </a:cubicBezTo>
                <a:cubicBezTo>
                  <a:pt x="3096497" y="1851614"/>
                  <a:pt x="3109988" y="1842038"/>
                  <a:pt x="3124044" y="1832841"/>
                </a:cubicBezTo>
                <a:cubicBezTo>
                  <a:pt x="3152201" y="1814447"/>
                  <a:pt x="3182600" y="1797608"/>
                  <a:pt x="3215286" y="1781855"/>
                </a:cubicBezTo>
                <a:cubicBezTo>
                  <a:pt x="3247972" y="1766101"/>
                  <a:pt x="3282923" y="1751503"/>
                  <a:pt x="3320326" y="1737896"/>
                </a:cubicBezTo>
                <a:cubicBezTo>
                  <a:pt x="3469867" y="1684079"/>
                  <a:pt x="3658627" y="1643775"/>
                  <a:pt x="3905166" y="1626181"/>
                </a:cubicBezTo>
                <a:cubicBezTo>
                  <a:pt x="3967001" y="1622048"/>
                  <a:pt x="4032361" y="1619164"/>
                  <a:pt x="4101694" y="1618100"/>
                </a:cubicBezTo>
                <a:close/>
                <a:moveTo>
                  <a:pt x="4284248" y="1581268"/>
                </a:moveTo>
                <a:cubicBezTo>
                  <a:pt x="4440947" y="1585219"/>
                  <a:pt x="4615799" y="1598284"/>
                  <a:pt x="4812718" y="1624792"/>
                </a:cubicBezTo>
                <a:cubicBezTo>
                  <a:pt x="5205049" y="1680566"/>
                  <a:pt x="5689566" y="1786761"/>
                  <a:pt x="6268558" y="2053905"/>
                </a:cubicBezTo>
                <a:cubicBezTo>
                  <a:pt x="6260209" y="2052443"/>
                  <a:pt x="6251837" y="2050957"/>
                  <a:pt x="6243512" y="2049495"/>
                </a:cubicBezTo>
                <a:cubicBezTo>
                  <a:pt x="5669332" y="1786148"/>
                  <a:pt x="5188847" y="1681557"/>
                  <a:pt x="4799559" y="1626796"/>
                </a:cubicBezTo>
                <a:cubicBezTo>
                  <a:pt x="4408785" y="1574772"/>
                  <a:pt x="4105410" y="1575833"/>
                  <a:pt x="3858565" y="1595997"/>
                </a:cubicBezTo>
                <a:cubicBezTo>
                  <a:pt x="3612544" y="1617151"/>
                  <a:pt x="3424728" y="1660025"/>
                  <a:pt x="3276153" y="1716012"/>
                </a:cubicBezTo>
                <a:cubicBezTo>
                  <a:pt x="3239010" y="1730138"/>
                  <a:pt x="3204366" y="1745231"/>
                  <a:pt x="3172034" y="1761409"/>
                </a:cubicBezTo>
                <a:cubicBezTo>
                  <a:pt x="3139701" y="1777587"/>
                  <a:pt x="3109637" y="1794827"/>
                  <a:pt x="3081948" y="1813457"/>
                </a:cubicBezTo>
                <a:cubicBezTo>
                  <a:pt x="3068104" y="1822796"/>
                  <a:pt x="3054878" y="1832442"/>
                  <a:pt x="3042354" y="1842559"/>
                </a:cubicBezTo>
                <a:cubicBezTo>
                  <a:pt x="3029781" y="1852700"/>
                  <a:pt x="3017989" y="1863164"/>
                  <a:pt x="3007073" y="1874177"/>
                </a:cubicBezTo>
                <a:cubicBezTo>
                  <a:pt x="2996152" y="1885167"/>
                  <a:pt x="2986225" y="1896605"/>
                  <a:pt x="2977638" y="1908326"/>
                </a:cubicBezTo>
                <a:cubicBezTo>
                  <a:pt x="2969030" y="1920023"/>
                  <a:pt x="2961933" y="1931933"/>
                  <a:pt x="2956438" y="1943535"/>
                </a:cubicBezTo>
                <a:cubicBezTo>
                  <a:pt x="2950945" y="1955138"/>
                  <a:pt x="2947028" y="1966435"/>
                  <a:pt x="2944341" y="1977141"/>
                </a:cubicBezTo>
                <a:cubicBezTo>
                  <a:pt x="2941675" y="1987825"/>
                  <a:pt x="2940192" y="1997989"/>
                  <a:pt x="2939387" y="2007729"/>
                </a:cubicBezTo>
                <a:cubicBezTo>
                  <a:pt x="2937856" y="2027138"/>
                  <a:pt x="2939130" y="2044849"/>
                  <a:pt x="2941440" y="2061734"/>
                </a:cubicBezTo>
                <a:cubicBezTo>
                  <a:pt x="2946249" y="2095388"/>
                  <a:pt x="2955258" y="2126117"/>
                  <a:pt x="2965471" y="2156327"/>
                </a:cubicBezTo>
                <a:cubicBezTo>
                  <a:pt x="2975893" y="2186277"/>
                  <a:pt x="2987544" y="2215969"/>
                  <a:pt x="3000093" y="2245471"/>
                </a:cubicBezTo>
                <a:cubicBezTo>
                  <a:pt x="3012685" y="2274880"/>
                  <a:pt x="3026151" y="2304099"/>
                  <a:pt x="3040158" y="2333225"/>
                </a:cubicBezTo>
                <a:cubicBezTo>
                  <a:pt x="3096286" y="2449726"/>
                  <a:pt x="3160572" y="2564482"/>
                  <a:pt x="3214201" y="2684733"/>
                </a:cubicBezTo>
                <a:cubicBezTo>
                  <a:pt x="3268135" y="2804842"/>
                  <a:pt x="3311033" y="2930941"/>
                  <a:pt x="3332683" y="3066875"/>
                </a:cubicBezTo>
                <a:cubicBezTo>
                  <a:pt x="3338154" y="3100835"/>
                  <a:pt x="3342328" y="3135384"/>
                  <a:pt x="3345205" y="3170500"/>
                </a:cubicBezTo>
                <a:cubicBezTo>
                  <a:pt x="3346644" y="3188069"/>
                  <a:pt x="3347752" y="3205756"/>
                  <a:pt x="3348530" y="3223609"/>
                </a:cubicBezTo>
                <a:cubicBezTo>
                  <a:pt x="3349285" y="3241509"/>
                  <a:pt x="3349686" y="3259573"/>
                  <a:pt x="3349757" y="3277756"/>
                </a:cubicBezTo>
                <a:cubicBezTo>
                  <a:pt x="3349922" y="3314098"/>
                  <a:pt x="3348790" y="3350982"/>
                  <a:pt x="3345229" y="3390271"/>
                </a:cubicBezTo>
                <a:cubicBezTo>
                  <a:pt x="3343436" y="3409940"/>
                  <a:pt x="3341102" y="3430127"/>
                  <a:pt x="3337635" y="3451611"/>
                </a:cubicBezTo>
                <a:cubicBezTo>
                  <a:pt x="3334168" y="3473072"/>
                  <a:pt x="3329664" y="3495830"/>
                  <a:pt x="3322919" y="3520899"/>
                </a:cubicBezTo>
                <a:cubicBezTo>
                  <a:pt x="3319547" y="3533398"/>
                  <a:pt x="3315561" y="3546558"/>
                  <a:pt x="3310821" y="3560118"/>
                </a:cubicBezTo>
                <a:cubicBezTo>
                  <a:pt x="3306128" y="3573655"/>
                  <a:pt x="3300656" y="3587592"/>
                  <a:pt x="3294690" y="3601294"/>
                </a:cubicBezTo>
                <a:cubicBezTo>
                  <a:pt x="3288700" y="3615020"/>
                  <a:pt x="3282238" y="3628438"/>
                  <a:pt x="3275540" y="3641291"/>
                </a:cubicBezTo>
                <a:cubicBezTo>
                  <a:pt x="3268843" y="3654144"/>
                  <a:pt x="3261957" y="3666384"/>
                  <a:pt x="3254952" y="3678176"/>
                </a:cubicBezTo>
                <a:cubicBezTo>
                  <a:pt x="3240944" y="3701735"/>
                  <a:pt x="3226558" y="3723290"/>
                  <a:pt x="3211842" y="3743902"/>
                </a:cubicBezTo>
                <a:cubicBezTo>
                  <a:pt x="3208163" y="3749043"/>
                  <a:pt x="3204461" y="3754114"/>
                  <a:pt x="3200734" y="3759137"/>
                </a:cubicBezTo>
                <a:cubicBezTo>
                  <a:pt x="3198871" y="3761637"/>
                  <a:pt x="3197008" y="3764136"/>
                  <a:pt x="3195121" y="3766613"/>
                </a:cubicBezTo>
                <a:cubicBezTo>
                  <a:pt x="3193235" y="3769089"/>
                  <a:pt x="3191395" y="3771447"/>
                  <a:pt x="3189509" y="3773853"/>
                </a:cubicBezTo>
                <a:cubicBezTo>
                  <a:pt x="3187622" y="3776258"/>
                  <a:pt x="3185759" y="3778640"/>
                  <a:pt x="3183849" y="3781022"/>
                </a:cubicBezTo>
                <a:cubicBezTo>
                  <a:pt x="3181962" y="3783380"/>
                  <a:pt x="3180075" y="3785715"/>
                  <a:pt x="3178189" y="3788050"/>
                </a:cubicBezTo>
                <a:cubicBezTo>
                  <a:pt x="3174392" y="3792743"/>
                  <a:pt x="3170572" y="3797389"/>
                  <a:pt x="3166704" y="3802035"/>
                </a:cubicBezTo>
                <a:cubicBezTo>
                  <a:pt x="3104804" y="3876086"/>
                  <a:pt x="3034639" y="3944784"/>
                  <a:pt x="2947762" y="4004709"/>
                </a:cubicBezTo>
                <a:cubicBezTo>
                  <a:pt x="2861376" y="4064256"/>
                  <a:pt x="2756762" y="4115479"/>
                  <a:pt x="2617597" y="4149816"/>
                </a:cubicBezTo>
                <a:cubicBezTo>
                  <a:pt x="2476546" y="4182833"/>
                  <a:pt x="2300969" y="4198987"/>
                  <a:pt x="2028724" y="4158094"/>
                </a:cubicBezTo>
                <a:cubicBezTo>
                  <a:pt x="2301110" y="4198893"/>
                  <a:pt x="2476758" y="4182644"/>
                  <a:pt x="2617857" y="4149486"/>
                </a:cubicBezTo>
                <a:cubicBezTo>
                  <a:pt x="2757045" y="4115031"/>
                  <a:pt x="2861703" y="4063667"/>
                  <a:pt x="2948089" y="4003978"/>
                </a:cubicBezTo>
                <a:cubicBezTo>
                  <a:pt x="3034971" y="3943911"/>
                  <a:pt x="3105129" y="3875072"/>
                  <a:pt x="3167010" y="3800879"/>
                </a:cubicBezTo>
                <a:cubicBezTo>
                  <a:pt x="3170878" y="3796233"/>
                  <a:pt x="3174699" y="3791564"/>
                  <a:pt x="3178495" y="3786871"/>
                </a:cubicBezTo>
                <a:cubicBezTo>
                  <a:pt x="3180382" y="3784512"/>
                  <a:pt x="3182292" y="3782178"/>
                  <a:pt x="3184156" y="3779819"/>
                </a:cubicBezTo>
                <a:cubicBezTo>
                  <a:pt x="3186042" y="3777437"/>
                  <a:pt x="3187905" y="3775055"/>
                  <a:pt x="3189792" y="3772650"/>
                </a:cubicBezTo>
                <a:cubicBezTo>
                  <a:pt x="3191655" y="3770244"/>
                  <a:pt x="3193518" y="3767910"/>
                  <a:pt x="3195381" y="3765410"/>
                </a:cubicBezTo>
                <a:cubicBezTo>
                  <a:pt x="3197244" y="3762910"/>
                  <a:pt x="3199131" y="3760434"/>
                  <a:pt x="3200970" y="3757934"/>
                </a:cubicBezTo>
                <a:cubicBezTo>
                  <a:pt x="3204696" y="3752911"/>
                  <a:pt x="3208375" y="3747840"/>
                  <a:pt x="3212054" y="3742699"/>
                </a:cubicBezTo>
                <a:cubicBezTo>
                  <a:pt x="3226723" y="3722111"/>
                  <a:pt x="3241062" y="3700580"/>
                  <a:pt x="3254976" y="3677138"/>
                </a:cubicBezTo>
                <a:cubicBezTo>
                  <a:pt x="3261933" y="3665417"/>
                  <a:pt x="3268772" y="3653248"/>
                  <a:pt x="3275375" y="3640537"/>
                </a:cubicBezTo>
                <a:cubicBezTo>
                  <a:pt x="3281979" y="3627826"/>
                  <a:pt x="3288370" y="3614571"/>
                  <a:pt x="3294242" y="3601058"/>
                </a:cubicBezTo>
                <a:cubicBezTo>
                  <a:pt x="3306081" y="3573985"/>
                  <a:pt x="3315420" y="3546487"/>
                  <a:pt x="3321999" y="3521866"/>
                </a:cubicBezTo>
                <a:cubicBezTo>
                  <a:pt x="3328673" y="3497080"/>
                  <a:pt x="3333131" y="3474511"/>
                  <a:pt x="3336574" y="3453168"/>
                </a:cubicBezTo>
                <a:cubicBezTo>
                  <a:pt x="3340017" y="3431802"/>
                  <a:pt x="3342352" y="3411709"/>
                  <a:pt x="3344120" y="3392111"/>
                </a:cubicBezTo>
                <a:cubicBezTo>
                  <a:pt x="3347658" y="3352963"/>
                  <a:pt x="3348766" y="3316173"/>
                  <a:pt x="3348625" y="3279926"/>
                </a:cubicBezTo>
                <a:cubicBezTo>
                  <a:pt x="3348554" y="3261790"/>
                  <a:pt x="3348129" y="3243773"/>
                  <a:pt x="3347398" y="3225920"/>
                </a:cubicBezTo>
                <a:cubicBezTo>
                  <a:pt x="3346620" y="3208115"/>
                  <a:pt x="3345512" y="3190451"/>
                  <a:pt x="3344073" y="3172929"/>
                </a:cubicBezTo>
                <a:cubicBezTo>
                  <a:pt x="3341196" y="3137884"/>
                  <a:pt x="3337022" y="3103429"/>
                  <a:pt x="3331551" y="3069540"/>
                </a:cubicBezTo>
                <a:cubicBezTo>
                  <a:pt x="3309925" y="2933889"/>
                  <a:pt x="3267074" y="2808096"/>
                  <a:pt x="3213068" y="2688270"/>
                </a:cubicBezTo>
                <a:cubicBezTo>
                  <a:pt x="3159370" y="2568326"/>
                  <a:pt x="3094872" y="2453829"/>
                  <a:pt x="3038205" y="2337587"/>
                </a:cubicBezTo>
                <a:cubicBezTo>
                  <a:pt x="3024055" y="2308533"/>
                  <a:pt x="3010444" y="2279384"/>
                  <a:pt x="2997689" y="2250023"/>
                </a:cubicBezTo>
                <a:cubicBezTo>
                  <a:pt x="2984976" y="2220568"/>
                  <a:pt x="2973111" y="2190923"/>
                  <a:pt x="2962451" y="2161020"/>
                </a:cubicBezTo>
                <a:cubicBezTo>
                  <a:pt x="2952006" y="2130833"/>
                  <a:pt x="2942736" y="2100128"/>
                  <a:pt x="2937548" y="2066239"/>
                </a:cubicBezTo>
                <a:cubicBezTo>
                  <a:pt x="2935050" y="2049235"/>
                  <a:pt x="2933613" y="2031407"/>
                  <a:pt x="2934956" y="2011526"/>
                </a:cubicBezTo>
                <a:cubicBezTo>
                  <a:pt x="2935684" y="2001597"/>
                  <a:pt x="2937077" y="1991174"/>
                  <a:pt x="2939765" y="1980042"/>
                </a:cubicBezTo>
                <a:cubicBezTo>
                  <a:pt x="2942476" y="1968911"/>
                  <a:pt x="2946439" y="1957119"/>
                  <a:pt x="2952146" y="1944880"/>
                </a:cubicBezTo>
                <a:cubicBezTo>
                  <a:pt x="2957831" y="1932640"/>
                  <a:pt x="2965308" y="1920023"/>
                  <a:pt x="2974291" y="1907736"/>
                </a:cubicBezTo>
                <a:cubicBezTo>
                  <a:pt x="2983252" y="1895449"/>
                  <a:pt x="2993629" y="1883469"/>
                  <a:pt x="3004900" y="1872125"/>
                </a:cubicBezTo>
                <a:cubicBezTo>
                  <a:pt x="3016150" y="1860758"/>
                  <a:pt x="3028418" y="1849917"/>
                  <a:pt x="3041199" y="1839658"/>
                </a:cubicBezTo>
                <a:cubicBezTo>
                  <a:pt x="3054049" y="1829305"/>
                  <a:pt x="3067539" y="1819518"/>
                  <a:pt x="3081620" y="1810061"/>
                </a:cubicBezTo>
                <a:cubicBezTo>
                  <a:pt x="3109800" y="1791195"/>
                  <a:pt x="3140220" y="1773861"/>
                  <a:pt x="3172930" y="1757612"/>
                </a:cubicBezTo>
                <a:cubicBezTo>
                  <a:pt x="3205640" y="1741364"/>
                  <a:pt x="3240637" y="1726247"/>
                  <a:pt x="3278087" y="1712097"/>
                </a:cubicBezTo>
                <a:cubicBezTo>
                  <a:pt x="3427817" y="1656110"/>
                  <a:pt x="3616955" y="1613354"/>
                  <a:pt x="3864696" y="1592434"/>
                </a:cubicBezTo>
                <a:cubicBezTo>
                  <a:pt x="3989004" y="1582482"/>
                  <a:pt x="4127549" y="1577318"/>
                  <a:pt x="4284248" y="1581268"/>
                </a:cubicBezTo>
                <a:close/>
                <a:moveTo>
                  <a:pt x="4246869" y="1542168"/>
                </a:moveTo>
                <a:cubicBezTo>
                  <a:pt x="4404641" y="1543902"/>
                  <a:pt x="4580967" y="1554307"/>
                  <a:pt x="4780032" y="1577454"/>
                </a:cubicBezTo>
                <a:cubicBezTo>
                  <a:pt x="5177079" y="1626720"/>
                  <a:pt x="5667823" y="1722515"/>
                  <a:pt x="6266813" y="1976741"/>
                </a:cubicBezTo>
                <a:cubicBezTo>
                  <a:pt x="6258205" y="1975397"/>
                  <a:pt x="6249668" y="1974076"/>
                  <a:pt x="6241178" y="1972755"/>
                </a:cubicBezTo>
                <a:cubicBezTo>
                  <a:pt x="5647258" y="1722232"/>
                  <a:pt x="5160571" y="1627946"/>
                  <a:pt x="4766613" y="1579624"/>
                </a:cubicBezTo>
                <a:cubicBezTo>
                  <a:pt x="4371594" y="1534226"/>
                  <a:pt x="4066640" y="1539226"/>
                  <a:pt x="3818710" y="1562550"/>
                </a:cubicBezTo>
                <a:cubicBezTo>
                  <a:pt x="3571675" y="1586841"/>
                  <a:pt x="3383528" y="1632050"/>
                  <a:pt x="3234765" y="1690064"/>
                </a:cubicBezTo>
                <a:cubicBezTo>
                  <a:pt x="3197575" y="1704709"/>
                  <a:pt x="3162907" y="1720274"/>
                  <a:pt x="3130528" y="1736924"/>
                </a:cubicBezTo>
                <a:cubicBezTo>
                  <a:pt x="3098148" y="1753574"/>
                  <a:pt x="3068055" y="1771285"/>
                  <a:pt x="3040345" y="1790364"/>
                </a:cubicBezTo>
                <a:cubicBezTo>
                  <a:pt x="3026502" y="1799938"/>
                  <a:pt x="3013224" y="1809820"/>
                  <a:pt x="3000678" y="1820149"/>
                </a:cubicBezTo>
                <a:cubicBezTo>
                  <a:pt x="2988085" y="1830502"/>
                  <a:pt x="2976270" y="1841209"/>
                  <a:pt x="2965303" y="1852458"/>
                </a:cubicBezTo>
                <a:cubicBezTo>
                  <a:pt x="2954361" y="1863683"/>
                  <a:pt x="2944385" y="1875357"/>
                  <a:pt x="2935754" y="1887313"/>
                </a:cubicBezTo>
                <a:cubicBezTo>
                  <a:pt x="2927100" y="1899247"/>
                  <a:pt x="2919953" y="1911392"/>
                  <a:pt x="2914412" y="1923207"/>
                </a:cubicBezTo>
                <a:cubicBezTo>
                  <a:pt x="2908846" y="1935046"/>
                  <a:pt x="2904884" y="1946554"/>
                  <a:pt x="2902124" y="1957473"/>
                </a:cubicBezTo>
                <a:cubicBezTo>
                  <a:pt x="2899390" y="1968369"/>
                  <a:pt x="2897856" y="1978722"/>
                  <a:pt x="2897007" y="1988650"/>
                </a:cubicBezTo>
                <a:cubicBezTo>
                  <a:pt x="2895380" y="2008437"/>
                  <a:pt x="2896536" y="2026478"/>
                  <a:pt x="2898776" y="2043670"/>
                </a:cubicBezTo>
                <a:cubicBezTo>
                  <a:pt x="2903422" y="2077960"/>
                  <a:pt x="2912312" y="2109208"/>
                  <a:pt x="2922500" y="2139866"/>
                </a:cubicBezTo>
                <a:cubicBezTo>
                  <a:pt x="2932877" y="2170288"/>
                  <a:pt x="2944551" y="2200381"/>
                  <a:pt x="2957191" y="2230237"/>
                </a:cubicBezTo>
                <a:cubicBezTo>
                  <a:pt x="2969878" y="2259999"/>
                  <a:pt x="2983487" y="2289525"/>
                  <a:pt x="2997731" y="2318863"/>
                </a:cubicBezTo>
                <a:cubicBezTo>
                  <a:pt x="3054756" y="2436260"/>
                  <a:pt x="3121048" y="2550804"/>
                  <a:pt x="3177553" y="2669710"/>
                </a:cubicBezTo>
                <a:cubicBezTo>
                  <a:pt x="3234364" y="2788523"/>
                  <a:pt x="3280988" y="2912216"/>
                  <a:pt x="3306694" y="3045273"/>
                </a:cubicBezTo>
                <a:cubicBezTo>
                  <a:pt x="3313156" y="3078502"/>
                  <a:pt x="3318391" y="3112296"/>
                  <a:pt x="3322306" y="3146634"/>
                </a:cubicBezTo>
                <a:cubicBezTo>
                  <a:pt x="3324264" y="3163802"/>
                  <a:pt x="3325891" y="3181112"/>
                  <a:pt x="3327188" y="3198564"/>
                </a:cubicBezTo>
                <a:cubicBezTo>
                  <a:pt x="3328462" y="3216086"/>
                  <a:pt x="3329405" y="3233726"/>
                  <a:pt x="3329994" y="3251508"/>
                </a:cubicBezTo>
                <a:cubicBezTo>
                  <a:pt x="3331197" y="3287048"/>
                  <a:pt x="3331126" y="3323107"/>
                  <a:pt x="3328626" y="3361618"/>
                </a:cubicBezTo>
                <a:cubicBezTo>
                  <a:pt x="3327377" y="3380886"/>
                  <a:pt x="3325561" y="3400672"/>
                  <a:pt x="3322637" y="3421779"/>
                </a:cubicBezTo>
                <a:cubicBezTo>
                  <a:pt x="3319712" y="3442863"/>
                  <a:pt x="3315750" y="3465243"/>
                  <a:pt x="3309548" y="3489982"/>
                </a:cubicBezTo>
                <a:cubicBezTo>
                  <a:pt x="3306435" y="3502316"/>
                  <a:pt x="3302709" y="3515334"/>
                  <a:pt x="3298228" y="3528753"/>
                </a:cubicBezTo>
                <a:cubicBezTo>
                  <a:pt x="3293794" y="3542148"/>
                  <a:pt x="3288559" y="3556015"/>
                  <a:pt x="3282781" y="3569646"/>
                </a:cubicBezTo>
                <a:cubicBezTo>
                  <a:pt x="3277003" y="3583301"/>
                  <a:pt x="3270706" y="3596672"/>
                  <a:pt x="3264150" y="3609478"/>
                </a:cubicBezTo>
                <a:cubicBezTo>
                  <a:pt x="3257594" y="3622307"/>
                  <a:pt x="3250802" y="3634523"/>
                  <a:pt x="3243916" y="3646291"/>
                </a:cubicBezTo>
                <a:cubicBezTo>
                  <a:pt x="3230096" y="3669827"/>
                  <a:pt x="3215828" y="3691406"/>
                  <a:pt x="3201183" y="3711971"/>
                </a:cubicBezTo>
                <a:cubicBezTo>
                  <a:pt x="3197527" y="3717112"/>
                  <a:pt x="3193825" y="3722182"/>
                  <a:pt x="3190122" y="3727205"/>
                </a:cubicBezTo>
                <a:cubicBezTo>
                  <a:pt x="3188259" y="3729705"/>
                  <a:pt x="3186396" y="3732205"/>
                  <a:pt x="3184533" y="3734681"/>
                </a:cubicBezTo>
                <a:cubicBezTo>
                  <a:pt x="3182670" y="3737158"/>
                  <a:pt x="3180807" y="3739516"/>
                  <a:pt x="3178920" y="3741921"/>
                </a:cubicBezTo>
                <a:cubicBezTo>
                  <a:pt x="3177034" y="3744327"/>
                  <a:pt x="3175171" y="3746709"/>
                  <a:pt x="3173260" y="3749091"/>
                </a:cubicBezTo>
                <a:cubicBezTo>
                  <a:pt x="3171374" y="3751449"/>
                  <a:pt x="3169487" y="3753784"/>
                  <a:pt x="3167600" y="3756118"/>
                </a:cubicBezTo>
                <a:cubicBezTo>
                  <a:pt x="3163804" y="3760788"/>
                  <a:pt x="3159960" y="3765458"/>
                  <a:pt x="3156092" y="3770080"/>
                </a:cubicBezTo>
                <a:cubicBezTo>
                  <a:pt x="3094068" y="3843966"/>
                  <a:pt x="3023295" y="3912098"/>
                  <a:pt x="2934857" y="3970820"/>
                </a:cubicBezTo>
                <a:cubicBezTo>
                  <a:pt x="2845737" y="4029212"/>
                  <a:pt x="2740603" y="4078973"/>
                  <a:pt x="2595425" y="4109277"/>
                </a:cubicBezTo>
                <a:cubicBezTo>
                  <a:pt x="2448290" y="4137719"/>
                  <a:pt x="2266345" y="4151515"/>
                  <a:pt x="1977592" y="4096424"/>
                </a:cubicBezTo>
                <a:cubicBezTo>
                  <a:pt x="2266510" y="4151420"/>
                  <a:pt x="2448525" y="4137506"/>
                  <a:pt x="2595685" y="4108947"/>
                </a:cubicBezTo>
                <a:cubicBezTo>
                  <a:pt x="2740910" y="4078525"/>
                  <a:pt x="2846068" y="4028646"/>
                  <a:pt x="2935188" y="3970112"/>
                </a:cubicBezTo>
                <a:cubicBezTo>
                  <a:pt x="3023626" y="3911272"/>
                  <a:pt x="3094399" y="3842999"/>
                  <a:pt x="3156398" y="3768948"/>
                </a:cubicBezTo>
                <a:cubicBezTo>
                  <a:pt x="3160266" y="3764302"/>
                  <a:pt x="3164110" y="3759632"/>
                  <a:pt x="3167907" y="3754963"/>
                </a:cubicBezTo>
                <a:cubicBezTo>
                  <a:pt x="3169817" y="3752628"/>
                  <a:pt x="3171704" y="3750270"/>
                  <a:pt x="3173567" y="3747911"/>
                </a:cubicBezTo>
                <a:cubicBezTo>
                  <a:pt x="3175454" y="3745530"/>
                  <a:pt x="3177317" y="3743148"/>
                  <a:pt x="3179203" y="3740766"/>
                </a:cubicBezTo>
                <a:cubicBezTo>
                  <a:pt x="3181066" y="3738360"/>
                  <a:pt x="3182906" y="3736025"/>
                  <a:pt x="3184792" y="3733549"/>
                </a:cubicBezTo>
                <a:cubicBezTo>
                  <a:pt x="3186656" y="3731073"/>
                  <a:pt x="3188519" y="3728573"/>
                  <a:pt x="3190382" y="3726073"/>
                </a:cubicBezTo>
                <a:cubicBezTo>
                  <a:pt x="3194084" y="3721050"/>
                  <a:pt x="3197763" y="3715980"/>
                  <a:pt x="3201419" y="3710862"/>
                </a:cubicBezTo>
                <a:cubicBezTo>
                  <a:pt x="3216017" y="3690298"/>
                  <a:pt x="3230237" y="3668743"/>
                  <a:pt x="3243963" y="3645348"/>
                </a:cubicBezTo>
                <a:cubicBezTo>
                  <a:pt x="3250825" y="3633651"/>
                  <a:pt x="3257547" y="3621482"/>
                  <a:pt x="3264009" y="3608818"/>
                </a:cubicBezTo>
                <a:cubicBezTo>
                  <a:pt x="3270470" y="3596153"/>
                  <a:pt x="3276696" y="3582923"/>
                  <a:pt x="3282356" y="3569504"/>
                </a:cubicBezTo>
                <a:cubicBezTo>
                  <a:pt x="3293794" y="3542572"/>
                  <a:pt x="3302614" y="3515334"/>
                  <a:pt x="3308675" y="3491043"/>
                </a:cubicBezTo>
                <a:cubicBezTo>
                  <a:pt x="3314807" y="3466587"/>
                  <a:pt x="3318745" y="3444372"/>
                  <a:pt x="3321646" y="3423406"/>
                </a:cubicBezTo>
                <a:cubicBezTo>
                  <a:pt x="3324547" y="3402417"/>
                  <a:pt x="3326363" y="3382725"/>
                  <a:pt x="3327613" y="3363529"/>
                </a:cubicBezTo>
                <a:cubicBezTo>
                  <a:pt x="3330089" y="3325182"/>
                  <a:pt x="3330159" y="3289194"/>
                  <a:pt x="3328957" y="3253749"/>
                </a:cubicBezTo>
                <a:cubicBezTo>
                  <a:pt x="3328367" y="3236014"/>
                  <a:pt x="3327424" y="3218397"/>
                  <a:pt x="3326150" y="3200922"/>
                </a:cubicBezTo>
                <a:cubicBezTo>
                  <a:pt x="3324853" y="3183518"/>
                  <a:pt x="3323226" y="3166231"/>
                  <a:pt x="3321269" y="3149110"/>
                </a:cubicBezTo>
                <a:cubicBezTo>
                  <a:pt x="3317354" y="3114844"/>
                  <a:pt x="3312142" y="3081143"/>
                  <a:pt x="3305680" y="3047985"/>
                </a:cubicBezTo>
                <a:cubicBezTo>
                  <a:pt x="3280021" y="2915235"/>
                  <a:pt x="3233445" y="2791848"/>
                  <a:pt x="3176562" y="2673318"/>
                </a:cubicBezTo>
                <a:cubicBezTo>
                  <a:pt x="3119987" y="2554695"/>
                  <a:pt x="3053482" y="2440458"/>
                  <a:pt x="2995915" y="2323320"/>
                </a:cubicBezTo>
                <a:cubicBezTo>
                  <a:pt x="2981553" y="2294053"/>
                  <a:pt x="2967756" y="2264598"/>
                  <a:pt x="2954904" y="2234906"/>
                </a:cubicBezTo>
                <a:cubicBezTo>
                  <a:pt x="2942099" y="2205097"/>
                  <a:pt x="2930213" y="2175052"/>
                  <a:pt x="2919600" y="2144677"/>
                </a:cubicBezTo>
                <a:cubicBezTo>
                  <a:pt x="2909175" y="2114019"/>
                  <a:pt x="2900026" y="2082795"/>
                  <a:pt x="2895025" y="2048292"/>
                </a:cubicBezTo>
                <a:cubicBezTo>
                  <a:pt x="2892620" y="2030982"/>
                  <a:pt x="2891252" y="2012800"/>
                  <a:pt x="2892738" y="1992565"/>
                </a:cubicBezTo>
                <a:cubicBezTo>
                  <a:pt x="2893516" y="1982448"/>
                  <a:pt x="2894979" y="1971812"/>
                  <a:pt x="2897715" y="1960492"/>
                </a:cubicBezTo>
                <a:cubicBezTo>
                  <a:pt x="2900473" y="1949149"/>
                  <a:pt x="2904507" y="1937145"/>
                  <a:pt x="2910284" y="1924646"/>
                </a:cubicBezTo>
                <a:cubicBezTo>
                  <a:pt x="2916039" y="1912170"/>
                  <a:pt x="2923561" y="1899317"/>
                  <a:pt x="2932595" y="1886771"/>
                </a:cubicBezTo>
                <a:cubicBezTo>
                  <a:pt x="2941603" y="1874225"/>
                  <a:pt x="2952004" y="1862009"/>
                  <a:pt x="2963324" y="1850430"/>
                </a:cubicBezTo>
                <a:cubicBezTo>
                  <a:pt x="2974596" y="1838827"/>
                  <a:pt x="2986883" y="1827743"/>
                  <a:pt x="2999711" y="1817249"/>
                </a:cubicBezTo>
                <a:cubicBezTo>
                  <a:pt x="3012565" y="1806683"/>
                  <a:pt x="3026101" y="1796637"/>
                  <a:pt x="3040180" y="1786968"/>
                </a:cubicBezTo>
                <a:cubicBezTo>
                  <a:pt x="3068386" y="1767630"/>
                  <a:pt x="3098856" y="1749848"/>
                  <a:pt x="3131589" y="1733104"/>
                </a:cubicBezTo>
                <a:cubicBezTo>
                  <a:pt x="3164346" y="1716383"/>
                  <a:pt x="3199367" y="1700771"/>
                  <a:pt x="3236864" y="1686102"/>
                </a:cubicBezTo>
                <a:cubicBezTo>
                  <a:pt x="3386783" y="1628064"/>
                  <a:pt x="3576250" y="1582996"/>
                  <a:pt x="3825030" y="1558918"/>
                </a:cubicBezTo>
                <a:cubicBezTo>
                  <a:pt x="3949880" y="1547374"/>
                  <a:pt x="4089097" y="1540435"/>
                  <a:pt x="4246869" y="1542168"/>
                </a:cubicBezTo>
                <a:close/>
                <a:moveTo>
                  <a:pt x="4209666" y="1503411"/>
                </a:moveTo>
                <a:cubicBezTo>
                  <a:pt x="4368346" y="1503060"/>
                  <a:pt x="4545922" y="1510966"/>
                  <a:pt x="4746827" y="1530930"/>
                </a:cubicBezTo>
                <a:cubicBezTo>
                  <a:pt x="5147954" y="1573946"/>
                  <a:pt x="5643933" y="1659859"/>
                  <a:pt x="6260705" y="1900520"/>
                </a:cubicBezTo>
                <a:cubicBezTo>
                  <a:pt x="6252050" y="1899317"/>
                  <a:pt x="6243394" y="1898162"/>
                  <a:pt x="6234763" y="1897030"/>
                </a:cubicBezTo>
                <a:cubicBezTo>
                  <a:pt x="5623274" y="1659954"/>
                  <a:pt x="5131399" y="1575431"/>
                  <a:pt x="4733384" y="1533312"/>
                </a:cubicBezTo>
                <a:cubicBezTo>
                  <a:pt x="4334710" y="1494234"/>
                  <a:pt x="4028411" y="1502842"/>
                  <a:pt x="3779561" y="1529208"/>
                </a:cubicBezTo>
                <a:cubicBezTo>
                  <a:pt x="3531678" y="1556447"/>
                  <a:pt x="3343224" y="1603849"/>
                  <a:pt x="3194273" y="1663821"/>
                </a:cubicBezTo>
                <a:cubicBezTo>
                  <a:pt x="3157058" y="1678938"/>
                  <a:pt x="3122324" y="1694975"/>
                  <a:pt x="3089894" y="1712072"/>
                </a:cubicBezTo>
                <a:cubicBezTo>
                  <a:pt x="3057470" y="1729170"/>
                  <a:pt x="3027331" y="1747306"/>
                  <a:pt x="2999571" y="1766809"/>
                </a:cubicBezTo>
                <a:cubicBezTo>
                  <a:pt x="2985680" y="1776596"/>
                  <a:pt x="2972403" y="1786690"/>
                  <a:pt x="2959809" y="1797255"/>
                </a:cubicBezTo>
                <a:cubicBezTo>
                  <a:pt x="2947172" y="1807844"/>
                  <a:pt x="2935307" y="1818739"/>
                  <a:pt x="2924317" y="1830224"/>
                </a:cubicBezTo>
                <a:cubicBezTo>
                  <a:pt x="2913329" y="1841662"/>
                  <a:pt x="2903304" y="1853572"/>
                  <a:pt x="2894628" y="1865735"/>
                </a:cubicBezTo>
                <a:cubicBezTo>
                  <a:pt x="2885923" y="1877880"/>
                  <a:pt x="2878708" y="1890261"/>
                  <a:pt x="2873070" y="1902336"/>
                </a:cubicBezTo>
                <a:cubicBezTo>
                  <a:pt x="2867434" y="1914411"/>
                  <a:pt x="2863403" y="1926131"/>
                  <a:pt x="2860571" y="1937263"/>
                </a:cubicBezTo>
                <a:cubicBezTo>
                  <a:pt x="2857765" y="1948370"/>
                  <a:pt x="2856166" y="1958936"/>
                  <a:pt x="2855242" y="1969053"/>
                </a:cubicBezTo>
                <a:cubicBezTo>
                  <a:pt x="2853472" y="1989240"/>
                  <a:pt x="2854514" y="2007611"/>
                  <a:pt x="2856636" y="2025134"/>
                </a:cubicBezTo>
                <a:cubicBezTo>
                  <a:pt x="2861067" y="2060084"/>
                  <a:pt x="2869794" y="2091921"/>
                  <a:pt x="2879888" y="2123122"/>
                </a:cubicBezTo>
                <a:cubicBezTo>
                  <a:pt x="2890171" y="2154063"/>
                  <a:pt x="2901818" y="2184651"/>
                  <a:pt x="2914510" y="2214908"/>
                </a:cubicBezTo>
                <a:cubicBezTo>
                  <a:pt x="2927217" y="2245094"/>
                  <a:pt x="2940970" y="2274951"/>
                  <a:pt x="2955376" y="2304571"/>
                </a:cubicBezTo>
                <a:cubicBezTo>
                  <a:pt x="3013107" y="2423148"/>
                  <a:pt x="3081193" y="2537739"/>
                  <a:pt x="3140361" y="2655561"/>
                </a:cubicBezTo>
                <a:cubicBezTo>
                  <a:pt x="3199838" y="2773311"/>
                  <a:pt x="3250023" y="2894859"/>
                  <a:pt x="3279597" y="3025157"/>
                </a:cubicBezTo>
                <a:cubicBezTo>
                  <a:pt x="3287049" y="3057702"/>
                  <a:pt x="3293251" y="3090765"/>
                  <a:pt x="3298180" y="3124371"/>
                </a:cubicBezTo>
                <a:cubicBezTo>
                  <a:pt x="3300633" y="3141162"/>
                  <a:pt x="3302779" y="3158119"/>
                  <a:pt x="3304571" y="3175169"/>
                </a:cubicBezTo>
                <a:cubicBezTo>
                  <a:pt x="3306340" y="3192291"/>
                  <a:pt x="3307802" y="3209554"/>
                  <a:pt x="3308911" y="3226958"/>
                </a:cubicBezTo>
                <a:cubicBezTo>
                  <a:pt x="3311128" y="3261720"/>
                  <a:pt x="3312071" y="3296977"/>
                  <a:pt x="3310632" y="3334686"/>
                </a:cubicBezTo>
                <a:cubicBezTo>
                  <a:pt x="3309901" y="3353553"/>
                  <a:pt x="3308604" y="3372938"/>
                  <a:pt x="3306222" y="3393668"/>
                </a:cubicBezTo>
                <a:cubicBezTo>
                  <a:pt x="3303817" y="3414351"/>
                  <a:pt x="3300397" y="3436377"/>
                  <a:pt x="3294714" y="3460762"/>
                </a:cubicBezTo>
                <a:cubicBezTo>
                  <a:pt x="3291884" y="3472931"/>
                  <a:pt x="3288393" y="3485784"/>
                  <a:pt x="3284172" y="3499061"/>
                </a:cubicBezTo>
                <a:cubicBezTo>
                  <a:pt x="3279974" y="3512339"/>
                  <a:pt x="3274974" y="3526064"/>
                  <a:pt x="3269409" y="3539601"/>
                </a:cubicBezTo>
                <a:cubicBezTo>
                  <a:pt x="3263843" y="3553161"/>
                  <a:pt x="3257712" y="3566462"/>
                  <a:pt x="3251321" y="3579221"/>
                </a:cubicBezTo>
                <a:cubicBezTo>
                  <a:pt x="3244929" y="3591979"/>
                  <a:pt x="3238255" y="3604172"/>
                  <a:pt x="3231440" y="3615916"/>
                </a:cubicBezTo>
                <a:cubicBezTo>
                  <a:pt x="3217809" y="3639382"/>
                  <a:pt x="3203682" y="3660913"/>
                  <a:pt x="3189108" y="3681431"/>
                </a:cubicBezTo>
                <a:cubicBezTo>
                  <a:pt x="3185476" y="3686548"/>
                  <a:pt x="3181797" y="3691618"/>
                  <a:pt x="3178095" y="3696618"/>
                </a:cubicBezTo>
                <a:cubicBezTo>
                  <a:pt x="3176255" y="3699118"/>
                  <a:pt x="3174392" y="3701594"/>
                  <a:pt x="3172505" y="3704070"/>
                </a:cubicBezTo>
                <a:cubicBezTo>
                  <a:pt x="3170642" y="3706546"/>
                  <a:pt x="3168779" y="3708881"/>
                  <a:pt x="3166916" y="3711287"/>
                </a:cubicBezTo>
                <a:cubicBezTo>
                  <a:pt x="3165053" y="3713669"/>
                  <a:pt x="3163166" y="3716051"/>
                  <a:pt x="3161256" y="3718433"/>
                </a:cubicBezTo>
                <a:cubicBezTo>
                  <a:pt x="3159370" y="3720767"/>
                  <a:pt x="3157483" y="3723102"/>
                  <a:pt x="3155573" y="3725437"/>
                </a:cubicBezTo>
                <a:cubicBezTo>
                  <a:pt x="3151776" y="3730106"/>
                  <a:pt x="3147932" y="3734729"/>
                  <a:pt x="3144064" y="3739351"/>
                </a:cubicBezTo>
                <a:cubicBezTo>
                  <a:pt x="3081923" y="3812907"/>
                  <a:pt x="3010538" y="3880284"/>
                  <a:pt x="2920472" y="3937568"/>
                </a:cubicBezTo>
                <a:cubicBezTo>
                  <a:pt x="2829630" y="3994498"/>
                  <a:pt x="2721906" y="4042301"/>
                  <a:pt x="2571303" y="4068714"/>
                </a:cubicBezTo>
                <a:cubicBezTo>
                  <a:pt x="2418625" y="4093052"/>
                  <a:pt x="2228568" y="4101495"/>
                  <a:pt x="1923543" y="4032608"/>
                </a:cubicBezTo>
                <a:cubicBezTo>
                  <a:pt x="2228733" y="4101424"/>
                  <a:pt x="2418838" y="4092863"/>
                  <a:pt x="2571563" y="4068408"/>
                </a:cubicBezTo>
                <a:cubicBezTo>
                  <a:pt x="2722189" y="4041853"/>
                  <a:pt x="2829936" y="3993932"/>
                  <a:pt x="2920781" y="3936860"/>
                </a:cubicBezTo>
                <a:cubicBezTo>
                  <a:pt x="3010867" y="3879435"/>
                  <a:pt x="3082230" y="3811916"/>
                  <a:pt x="3144347" y="3738219"/>
                </a:cubicBezTo>
                <a:cubicBezTo>
                  <a:pt x="3148215" y="3733597"/>
                  <a:pt x="3152059" y="3728951"/>
                  <a:pt x="3155856" y="3724281"/>
                </a:cubicBezTo>
                <a:cubicBezTo>
                  <a:pt x="3157742" y="3721946"/>
                  <a:pt x="3159653" y="3719612"/>
                  <a:pt x="3161515" y="3717253"/>
                </a:cubicBezTo>
                <a:cubicBezTo>
                  <a:pt x="3163402" y="3714895"/>
                  <a:pt x="3165265" y="3712513"/>
                  <a:pt x="3167128" y="3710131"/>
                </a:cubicBezTo>
                <a:cubicBezTo>
                  <a:pt x="3168991" y="3707726"/>
                  <a:pt x="3170831" y="3705415"/>
                  <a:pt x="3172694" y="3702938"/>
                </a:cubicBezTo>
                <a:cubicBezTo>
                  <a:pt x="3174557" y="3700462"/>
                  <a:pt x="3176420" y="3697986"/>
                  <a:pt x="3178260" y="3695486"/>
                </a:cubicBezTo>
                <a:cubicBezTo>
                  <a:pt x="3181962" y="3690486"/>
                  <a:pt x="3185618" y="3685440"/>
                  <a:pt x="3189249" y="3680322"/>
                </a:cubicBezTo>
                <a:cubicBezTo>
                  <a:pt x="3203777" y="3659805"/>
                  <a:pt x="3217879" y="3638320"/>
                  <a:pt x="3231393" y="3614997"/>
                </a:cubicBezTo>
                <a:cubicBezTo>
                  <a:pt x="3238137" y="3603323"/>
                  <a:pt x="3244764" y="3591225"/>
                  <a:pt x="3251085" y="3578584"/>
                </a:cubicBezTo>
                <a:cubicBezTo>
                  <a:pt x="3257405" y="3565967"/>
                  <a:pt x="3263442" y="3552831"/>
                  <a:pt x="3268914" y="3539483"/>
                </a:cubicBezTo>
                <a:cubicBezTo>
                  <a:pt x="3279951" y="3512740"/>
                  <a:pt x="3288252" y="3485784"/>
                  <a:pt x="3293818" y="3461824"/>
                </a:cubicBezTo>
                <a:cubicBezTo>
                  <a:pt x="3299430" y="3437698"/>
                  <a:pt x="3302850" y="3415860"/>
                  <a:pt x="3305232" y="3395295"/>
                </a:cubicBezTo>
                <a:cubicBezTo>
                  <a:pt x="3307614" y="3374683"/>
                  <a:pt x="3308887" y="3355393"/>
                  <a:pt x="3309618" y="3336596"/>
                </a:cubicBezTo>
                <a:cubicBezTo>
                  <a:pt x="3311057" y="3299029"/>
                  <a:pt x="3310113" y="3263866"/>
                  <a:pt x="3307897" y="3229175"/>
                </a:cubicBezTo>
                <a:cubicBezTo>
                  <a:pt x="3306788" y="3211818"/>
                  <a:pt x="3305350" y="3194602"/>
                  <a:pt x="3303557" y="3177528"/>
                </a:cubicBezTo>
                <a:cubicBezTo>
                  <a:pt x="3301765" y="3160501"/>
                  <a:pt x="3299619" y="3143615"/>
                  <a:pt x="3297166" y="3126847"/>
                </a:cubicBezTo>
                <a:cubicBezTo>
                  <a:pt x="3292261" y="3093312"/>
                  <a:pt x="3286035" y="3060343"/>
                  <a:pt x="3278606" y="3027869"/>
                </a:cubicBezTo>
                <a:cubicBezTo>
                  <a:pt x="3249056" y="2897854"/>
                  <a:pt x="3198942" y="2776613"/>
                  <a:pt x="3139394" y="2659169"/>
                </a:cubicBezTo>
                <a:cubicBezTo>
                  <a:pt x="3080132" y="2541630"/>
                  <a:pt x="3011838" y="2427346"/>
                  <a:pt x="2953563" y="2309052"/>
                </a:cubicBezTo>
                <a:cubicBezTo>
                  <a:pt x="2939011" y="2279502"/>
                  <a:pt x="2925118" y="2249693"/>
                  <a:pt x="2912218" y="2219577"/>
                </a:cubicBezTo>
                <a:cubicBezTo>
                  <a:pt x="2899367" y="2189367"/>
                  <a:pt x="2887503" y="2158851"/>
                  <a:pt x="2876962" y="2127957"/>
                </a:cubicBezTo>
                <a:cubicBezTo>
                  <a:pt x="2866632" y="2096780"/>
                  <a:pt x="2857623" y="2064966"/>
                  <a:pt x="2852838" y="2029780"/>
                </a:cubicBezTo>
                <a:cubicBezTo>
                  <a:pt x="2850548" y="2012139"/>
                  <a:pt x="2849298" y="1993603"/>
                  <a:pt x="2850930" y="1972968"/>
                </a:cubicBezTo>
                <a:cubicBezTo>
                  <a:pt x="2851777" y="1962638"/>
                  <a:pt x="2853334" y="1951814"/>
                  <a:pt x="2856140" y="1940258"/>
                </a:cubicBezTo>
                <a:cubicBezTo>
                  <a:pt x="2858972" y="1928702"/>
                  <a:pt x="2863095" y="1916462"/>
                  <a:pt x="2868921" y="1903727"/>
                </a:cubicBezTo>
                <a:cubicBezTo>
                  <a:pt x="2874747" y="1891016"/>
                  <a:pt x="2882338" y="1877904"/>
                  <a:pt x="2891446" y="1865145"/>
                </a:cubicBezTo>
                <a:cubicBezTo>
                  <a:pt x="2900498" y="1852369"/>
                  <a:pt x="2910994" y="1839917"/>
                  <a:pt x="2922337" y="1828102"/>
                </a:cubicBezTo>
                <a:cubicBezTo>
                  <a:pt x="2933656" y="1816263"/>
                  <a:pt x="2945992" y="1804967"/>
                  <a:pt x="2958842" y="1794236"/>
                </a:cubicBezTo>
                <a:cubicBezTo>
                  <a:pt x="2971742" y="1783435"/>
                  <a:pt x="2985303" y="1773200"/>
                  <a:pt x="2999408" y="1763295"/>
                </a:cubicBezTo>
                <a:cubicBezTo>
                  <a:pt x="3027682" y="1743533"/>
                  <a:pt x="3058175" y="1725303"/>
                  <a:pt x="3090956" y="1708111"/>
                </a:cubicBezTo>
                <a:cubicBezTo>
                  <a:pt x="3123762" y="1690918"/>
                  <a:pt x="3158827" y="1674858"/>
                  <a:pt x="3196372" y="1659718"/>
                </a:cubicBezTo>
                <a:cubicBezTo>
                  <a:pt x="3346502" y="1599746"/>
                  <a:pt x="3536253" y="1552461"/>
                  <a:pt x="3785881" y="1525435"/>
                </a:cubicBezTo>
                <a:cubicBezTo>
                  <a:pt x="3911203" y="1512369"/>
                  <a:pt x="4050986" y="1503762"/>
                  <a:pt x="4209666" y="1503411"/>
                </a:cubicBezTo>
                <a:close/>
                <a:moveTo>
                  <a:pt x="4172930" y="1464866"/>
                </a:moveTo>
                <a:cubicBezTo>
                  <a:pt x="4332376" y="1462554"/>
                  <a:pt x="4511007" y="1468102"/>
                  <a:pt x="4713457" y="1485059"/>
                </a:cubicBezTo>
                <a:cubicBezTo>
                  <a:pt x="5118051" y="1522156"/>
                  <a:pt x="5618322" y="1598730"/>
                  <a:pt x="6250658" y="1825389"/>
                </a:cubicBezTo>
                <a:cubicBezTo>
                  <a:pt x="6241956" y="1824375"/>
                  <a:pt x="6233183" y="1823384"/>
                  <a:pt x="6224434" y="1822393"/>
                </a:cubicBezTo>
                <a:cubicBezTo>
                  <a:pt x="5597592" y="1599178"/>
                  <a:pt x="5101424" y="1523877"/>
                  <a:pt x="4699944" y="1487630"/>
                </a:cubicBezTo>
                <a:cubicBezTo>
                  <a:pt x="4298180" y="1454519"/>
                  <a:pt x="3990773" y="1466523"/>
                  <a:pt x="3741144" y="1495719"/>
                </a:cubicBezTo>
                <a:cubicBezTo>
                  <a:pt x="3492530" y="1525740"/>
                  <a:pt x="3303841" y="1575241"/>
                  <a:pt x="3154677" y="1637006"/>
                </a:cubicBezTo>
                <a:cubicBezTo>
                  <a:pt x="3117397" y="1652571"/>
                  <a:pt x="3082630" y="1669055"/>
                  <a:pt x="3050132" y="1686578"/>
                </a:cubicBezTo>
                <a:cubicBezTo>
                  <a:pt x="3017659" y="1704100"/>
                  <a:pt x="2987474" y="1722636"/>
                  <a:pt x="2959620" y="1742564"/>
                </a:cubicBezTo>
                <a:cubicBezTo>
                  <a:pt x="2945709" y="1752540"/>
                  <a:pt x="2932358" y="1762846"/>
                  <a:pt x="2919745" y="1773623"/>
                </a:cubicBezTo>
                <a:cubicBezTo>
                  <a:pt x="2907053" y="1784401"/>
                  <a:pt x="2895143" y="1795532"/>
                  <a:pt x="2884083" y="1807229"/>
                </a:cubicBezTo>
                <a:cubicBezTo>
                  <a:pt x="2873046" y="1818880"/>
                  <a:pt x="2862932" y="1831002"/>
                  <a:pt x="2854181" y="1843406"/>
                </a:cubicBezTo>
                <a:cubicBezTo>
                  <a:pt x="2845406" y="1855787"/>
                  <a:pt x="2838098" y="1868376"/>
                  <a:pt x="2832366" y="1880663"/>
                </a:cubicBezTo>
                <a:cubicBezTo>
                  <a:pt x="2826634" y="1892949"/>
                  <a:pt x="2822511" y="1904906"/>
                  <a:pt x="2819585" y="1916250"/>
                </a:cubicBezTo>
                <a:cubicBezTo>
                  <a:pt x="2816685" y="1927570"/>
                  <a:pt x="2814985" y="1938347"/>
                  <a:pt x="2813973" y="1948677"/>
                </a:cubicBezTo>
                <a:cubicBezTo>
                  <a:pt x="2812040" y="1969265"/>
                  <a:pt x="2812912" y="1988013"/>
                  <a:pt x="2814890" y="2005890"/>
                </a:cubicBezTo>
                <a:cubicBezTo>
                  <a:pt x="2819041" y="2041547"/>
                  <a:pt x="2827578" y="2073998"/>
                  <a:pt x="2837508" y="2105788"/>
                </a:cubicBezTo>
                <a:cubicBezTo>
                  <a:pt x="2847648" y="2137319"/>
                  <a:pt x="2859228" y="2168425"/>
                  <a:pt x="2871890" y="2199154"/>
                </a:cubicBezTo>
                <a:cubicBezTo>
                  <a:pt x="2884602" y="2229812"/>
                  <a:pt x="2898401" y="2260093"/>
                  <a:pt x="2912927" y="2290067"/>
                </a:cubicBezTo>
                <a:cubicBezTo>
                  <a:pt x="2971153" y="2410059"/>
                  <a:pt x="3040841" y="2524980"/>
                  <a:pt x="3102511" y="2642023"/>
                </a:cubicBezTo>
                <a:cubicBezTo>
                  <a:pt x="3164464" y="2758996"/>
                  <a:pt x="3217998" y="2878610"/>
                  <a:pt x="3251321" y="3006361"/>
                </a:cubicBezTo>
                <a:cubicBezTo>
                  <a:pt x="3259693" y="3038268"/>
                  <a:pt x="3266886" y="3070672"/>
                  <a:pt x="3272758" y="3103547"/>
                </a:cubicBezTo>
                <a:cubicBezTo>
                  <a:pt x="3275706" y="3119984"/>
                  <a:pt x="3278323" y="3136563"/>
                  <a:pt x="3280611" y="3153260"/>
                </a:cubicBezTo>
                <a:cubicBezTo>
                  <a:pt x="3282875" y="3170028"/>
                  <a:pt x="3284832" y="3186913"/>
                  <a:pt x="3286436" y="3203941"/>
                </a:cubicBezTo>
                <a:cubicBezTo>
                  <a:pt x="3289644" y="3237948"/>
                  <a:pt x="3291601" y="3272426"/>
                  <a:pt x="3291153" y="3309358"/>
                </a:cubicBezTo>
                <a:cubicBezTo>
                  <a:pt x="3290917" y="3327823"/>
                  <a:pt x="3290139" y="3346831"/>
                  <a:pt x="3288276" y="3367184"/>
                </a:cubicBezTo>
                <a:cubicBezTo>
                  <a:pt x="3286389" y="3387489"/>
                  <a:pt x="3283488" y="3409138"/>
                  <a:pt x="3278347" y="3433170"/>
                </a:cubicBezTo>
                <a:cubicBezTo>
                  <a:pt x="3275777" y="3445173"/>
                  <a:pt x="3272546" y="3457838"/>
                  <a:pt x="3268560" y="3470997"/>
                </a:cubicBezTo>
                <a:cubicBezTo>
                  <a:pt x="3264622" y="3484109"/>
                  <a:pt x="3259834" y="3497717"/>
                  <a:pt x="3254481" y="3511136"/>
                </a:cubicBezTo>
                <a:cubicBezTo>
                  <a:pt x="3249104" y="3524578"/>
                  <a:pt x="3243161" y="3537785"/>
                  <a:pt x="3236911" y="3550472"/>
                </a:cubicBezTo>
                <a:cubicBezTo>
                  <a:pt x="3230662" y="3563160"/>
                  <a:pt x="3224106" y="3575282"/>
                  <a:pt x="3217408" y="3586979"/>
                </a:cubicBezTo>
                <a:cubicBezTo>
                  <a:pt x="3203989" y="3610327"/>
                  <a:pt x="3189957" y="3631764"/>
                  <a:pt x="3175453" y="3652187"/>
                </a:cubicBezTo>
                <a:cubicBezTo>
                  <a:pt x="3171822" y="3657281"/>
                  <a:pt x="3168166" y="3662328"/>
                  <a:pt x="3164464" y="3667280"/>
                </a:cubicBezTo>
                <a:cubicBezTo>
                  <a:pt x="3162624" y="3669756"/>
                  <a:pt x="3160761" y="3672233"/>
                  <a:pt x="3158898" y="3674685"/>
                </a:cubicBezTo>
                <a:cubicBezTo>
                  <a:pt x="3157035" y="3677138"/>
                  <a:pt x="3155172" y="3679473"/>
                  <a:pt x="3153309" y="3681855"/>
                </a:cubicBezTo>
                <a:cubicBezTo>
                  <a:pt x="3151446" y="3684236"/>
                  <a:pt x="3149559" y="3686595"/>
                  <a:pt x="3147672" y="3688953"/>
                </a:cubicBezTo>
                <a:cubicBezTo>
                  <a:pt x="3145786" y="3691288"/>
                  <a:pt x="3143899" y="3693599"/>
                  <a:pt x="3141989" y="3695910"/>
                </a:cubicBezTo>
                <a:cubicBezTo>
                  <a:pt x="3138192" y="3700533"/>
                  <a:pt x="3134348" y="3705155"/>
                  <a:pt x="3130460" y="3709730"/>
                </a:cubicBezTo>
                <a:cubicBezTo>
                  <a:pt x="3068173" y="3782767"/>
                  <a:pt x="2996174" y="3849201"/>
                  <a:pt x="2904342" y="3904881"/>
                </a:cubicBezTo>
                <a:cubicBezTo>
                  <a:pt x="2811707" y="3960160"/>
                  <a:pt x="2701246" y="4005770"/>
                  <a:pt x="2544984" y="4027962"/>
                </a:cubicBezTo>
                <a:cubicBezTo>
                  <a:pt x="2386528" y="4047819"/>
                  <a:pt x="2187934" y="4050366"/>
                  <a:pt x="1866518" y="3966575"/>
                </a:cubicBezTo>
                <a:cubicBezTo>
                  <a:pt x="2188122" y="4050319"/>
                  <a:pt x="2386764" y="4047654"/>
                  <a:pt x="2545267" y="4027679"/>
                </a:cubicBezTo>
                <a:cubicBezTo>
                  <a:pt x="2701576" y="4005369"/>
                  <a:pt x="2812040" y="3959618"/>
                  <a:pt x="2904648" y="3904221"/>
                </a:cubicBezTo>
                <a:cubicBezTo>
                  <a:pt x="2996457" y="3848399"/>
                  <a:pt x="3068456" y="3781824"/>
                  <a:pt x="3130693" y="3708645"/>
                </a:cubicBezTo>
                <a:cubicBezTo>
                  <a:pt x="3134584" y="3704046"/>
                  <a:pt x="3138428" y="3699448"/>
                  <a:pt x="3142225" y="3694802"/>
                </a:cubicBezTo>
                <a:cubicBezTo>
                  <a:pt x="3144135" y="3692491"/>
                  <a:pt x="3146022" y="3690156"/>
                  <a:pt x="3147885" y="3687821"/>
                </a:cubicBezTo>
                <a:cubicBezTo>
                  <a:pt x="3149771" y="3685463"/>
                  <a:pt x="3151634" y="3683105"/>
                  <a:pt x="3153498" y="3680746"/>
                </a:cubicBezTo>
                <a:cubicBezTo>
                  <a:pt x="3155361" y="3678364"/>
                  <a:pt x="3157200" y="3676053"/>
                  <a:pt x="3159063" y="3673577"/>
                </a:cubicBezTo>
                <a:cubicBezTo>
                  <a:pt x="3160926" y="3671124"/>
                  <a:pt x="3162766" y="3668648"/>
                  <a:pt x="3164605" y="3666172"/>
                </a:cubicBezTo>
                <a:cubicBezTo>
                  <a:pt x="3168284" y="3661196"/>
                  <a:pt x="3171940" y="3656172"/>
                  <a:pt x="3175548" y="3651079"/>
                </a:cubicBezTo>
                <a:cubicBezTo>
                  <a:pt x="3190004" y="3630679"/>
                  <a:pt x="3203989" y="3609265"/>
                  <a:pt x="3217314" y="3586060"/>
                </a:cubicBezTo>
                <a:cubicBezTo>
                  <a:pt x="3223964" y="3574457"/>
                  <a:pt x="3230450" y="3562405"/>
                  <a:pt x="3236628" y="3549836"/>
                </a:cubicBezTo>
                <a:cubicBezTo>
                  <a:pt x="3242807" y="3537290"/>
                  <a:pt x="3248656" y="3524248"/>
                  <a:pt x="3253939" y="3511018"/>
                </a:cubicBezTo>
                <a:cubicBezTo>
                  <a:pt x="3264575" y="3484487"/>
                  <a:pt x="3272380" y="3457861"/>
                  <a:pt x="3277427" y="3434231"/>
                </a:cubicBezTo>
                <a:cubicBezTo>
                  <a:pt x="3282521" y="3410459"/>
                  <a:pt x="3285422" y="3388998"/>
                  <a:pt x="3287285" y="3368787"/>
                </a:cubicBezTo>
                <a:cubicBezTo>
                  <a:pt x="3289148" y="3348577"/>
                  <a:pt x="3289927" y="3329639"/>
                  <a:pt x="3290162" y="3311244"/>
                </a:cubicBezTo>
                <a:cubicBezTo>
                  <a:pt x="3290587" y="3274454"/>
                  <a:pt x="3288653" y="3240047"/>
                  <a:pt x="3285446" y="3206134"/>
                </a:cubicBezTo>
                <a:cubicBezTo>
                  <a:pt x="3283842" y="3189154"/>
                  <a:pt x="3281908" y="3172316"/>
                  <a:pt x="3279644" y="3155595"/>
                </a:cubicBezTo>
                <a:cubicBezTo>
                  <a:pt x="3277356" y="3138945"/>
                  <a:pt x="3274739" y="3122390"/>
                  <a:pt x="3271791" y="3106000"/>
                </a:cubicBezTo>
                <a:cubicBezTo>
                  <a:pt x="3265919" y="3073172"/>
                  <a:pt x="3258750" y="3040863"/>
                  <a:pt x="3250377" y="3009049"/>
                </a:cubicBezTo>
                <a:cubicBezTo>
                  <a:pt x="3217102" y="2881605"/>
                  <a:pt x="3163615" y="2762298"/>
                  <a:pt x="3101591" y="2645631"/>
                </a:cubicBezTo>
                <a:cubicBezTo>
                  <a:pt x="3039850" y="2528918"/>
                  <a:pt x="2969928" y="2414280"/>
                  <a:pt x="2911133" y="2294595"/>
                </a:cubicBezTo>
                <a:cubicBezTo>
                  <a:pt x="2896468" y="2264692"/>
                  <a:pt x="2882506" y="2234482"/>
                  <a:pt x="2869605" y="2203894"/>
                </a:cubicBezTo>
                <a:cubicBezTo>
                  <a:pt x="2856750" y="2173212"/>
                  <a:pt x="2844959" y="2142153"/>
                  <a:pt x="2834582" y="2110693"/>
                </a:cubicBezTo>
                <a:cubicBezTo>
                  <a:pt x="2824395" y="2078927"/>
                  <a:pt x="2815574" y="2046476"/>
                  <a:pt x="2811073" y="2010606"/>
                </a:cubicBezTo>
                <a:cubicBezTo>
                  <a:pt x="2808901" y="1992612"/>
                  <a:pt x="2807839" y="1973698"/>
                  <a:pt x="2809636" y="1952639"/>
                </a:cubicBezTo>
                <a:cubicBezTo>
                  <a:pt x="2810577" y="1942121"/>
                  <a:pt x="2812202" y="1931084"/>
                  <a:pt x="2815102" y="1919292"/>
                </a:cubicBezTo>
                <a:cubicBezTo>
                  <a:pt x="2818028" y="1907524"/>
                  <a:pt x="2822248" y="1895025"/>
                  <a:pt x="2828191" y="1882078"/>
                </a:cubicBezTo>
                <a:cubicBezTo>
                  <a:pt x="2834111" y="1869130"/>
                  <a:pt x="2841802" y="1855787"/>
                  <a:pt x="2850973" y="1842769"/>
                </a:cubicBezTo>
                <a:cubicBezTo>
                  <a:pt x="2860126" y="1829751"/>
                  <a:pt x="2870666" y="1817087"/>
                  <a:pt x="2882078" y="1805036"/>
                </a:cubicBezTo>
                <a:cubicBezTo>
                  <a:pt x="2893473" y="1792985"/>
                  <a:pt x="2905852" y="1781453"/>
                  <a:pt x="2918753" y="1770534"/>
                </a:cubicBezTo>
                <a:cubicBezTo>
                  <a:pt x="2931697" y="1759521"/>
                  <a:pt x="2945307" y="1749073"/>
                  <a:pt x="2959457" y="1738957"/>
                </a:cubicBezTo>
                <a:cubicBezTo>
                  <a:pt x="2987802" y="1718769"/>
                  <a:pt x="3018366" y="1700138"/>
                  <a:pt x="3051217" y="1682521"/>
                </a:cubicBezTo>
                <a:cubicBezTo>
                  <a:pt x="3084068" y="1664905"/>
                  <a:pt x="3119185" y="1648396"/>
                  <a:pt x="3156799" y="1632808"/>
                </a:cubicBezTo>
                <a:cubicBezTo>
                  <a:pt x="3307142" y="1571020"/>
                  <a:pt x="3497152" y="1521637"/>
                  <a:pt x="3747512" y="1491828"/>
                </a:cubicBezTo>
                <a:cubicBezTo>
                  <a:pt x="3873223" y="1477347"/>
                  <a:pt x="4013484" y="1467177"/>
                  <a:pt x="4172930" y="1464866"/>
                </a:cubicBezTo>
                <a:close/>
                <a:moveTo>
                  <a:pt x="4197774" y="1425308"/>
                </a:moveTo>
                <a:cubicBezTo>
                  <a:pt x="4259648" y="1424475"/>
                  <a:pt x="4324338" y="1424753"/>
                  <a:pt x="4392098" y="1426316"/>
                </a:cubicBezTo>
                <a:cubicBezTo>
                  <a:pt x="4482445" y="1428399"/>
                  <a:pt x="4578248" y="1432766"/>
                  <a:pt x="4680110" y="1439830"/>
                </a:cubicBezTo>
                <a:cubicBezTo>
                  <a:pt x="5087605" y="1471290"/>
                  <a:pt x="5591295" y="1539140"/>
                  <a:pt x="6236956" y="1751507"/>
                </a:cubicBezTo>
                <a:cubicBezTo>
                  <a:pt x="6228112" y="1750658"/>
                  <a:pt x="6219245" y="1749832"/>
                  <a:pt x="6210401" y="1749007"/>
                </a:cubicBezTo>
                <a:cubicBezTo>
                  <a:pt x="5570377" y="1539894"/>
                  <a:pt x="5070789" y="1473224"/>
                  <a:pt x="4666432" y="1442589"/>
                </a:cubicBezTo>
                <a:cubicBezTo>
                  <a:pt x="4262145" y="1415091"/>
                  <a:pt x="3953841" y="1430255"/>
                  <a:pt x="3703599" y="1462116"/>
                </a:cubicBezTo>
                <a:cubicBezTo>
                  <a:pt x="3454397" y="1494733"/>
                  <a:pt x="3265518" y="1546214"/>
                  <a:pt x="3116122" y="1609701"/>
                </a:cubicBezTo>
                <a:cubicBezTo>
                  <a:pt x="3078790" y="1625690"/>
                  <a:pt x="3043957" y="1642576"/>
                  <a:pt x="3011389" y="1660499"/>
                </a:cubicBezTo>
                <a:cubicBezTo>
                  <a:pt x="2978844" y="1678423"/>
                  <a:pt x="2948567" y="1697336"/>
                  <a:pt x="2920643" y="1717618"/>
                </a:cubicBezTo>
                <a:cubicBezTo>
                  <a:pt x="2906682" y="1727806"/>
                  <a:pt x="2893285" y="1738277"/>
                  <a:pt x="2880598" y="1749243"/>
                </a:cubicBezTo>
                <a:cubicBezTo>
                  <a:pt x="2867861" y="1760233"/>
                  <a:pt x="2855883" y="1771529"/>
                  <a:pt x="2844753" y="1783439"/>
                </a:cubicBezTo>
                <a:cubicBezTo>
                  <a:pt x="2833619" y="1795301"/>
                  <a:pt x="2823454" y="1807635"/>
                  <a:pt x="2814589" y="1820252"/>
                </a:cubicBezTo>
                <a:cubicBezTo>
                  <a:pt x="2805719" y="1832845"/>
                  <a:pt x="2798292" y="1845675"/>
                  <a:pt x="2792466" y="1858174"/>
                </a:cubicBezTo>
                <a:cubicBezTo>
                  <a:pt x="2786641" y="1870687"/>
                  <a:pt x="2782399" y="1882856"/>
                  <a:pt x="2779357" y="1894412"/>
                </a:cubicBezTo>
                <a:cubicBezTo>
                  <a:pt x="2776361" y="1905968"/>
                  <a:pt x="2774545" y="1916934"/>
                  <a:pt x="2773437" y="1927476"/>
                </a:cubicBezTo>
                <a:cubicBezTo>
                  <a:pt x="2771291" y="1948465"/>
                  <a:pt x="2771975" y="1967615"/>
                  <a:pt x="2773815" y="1985868"/>
                </a:cubicBezTo>
                <a:cubicBezTo>
                  <a:pt x="2777635" y="2022280"/>
                  <a:pt x="2785913" y="2055415"/>
                  <a:pt x="2795649" y="2087842"/>
                </a:cubicBezTo>
                <a:cubicBezTo>
                  <a:pt x="2805606" y="2119986"/>
                  <a:pt x="2817063" y="2151682"/>
                  <a:pt x="2829655" y="2182953"/>
                </a:cubicBezTo>
                <a:cubicBezTo>
                  <a:pt x="2842324" y="2214130"/>
                  <a:pt x="2856117" y="2244882"/>
                  <a:pt x="2870743" y="2275281"/>
                </a:cubicBezTo>
                <a:cubicBezTo>
                  <a:pt x="2929275" y="2396923"/>
                  <a:pt x="3000375" y="2512505"/>
                  <a:pt x="3064333" y="2628982"/>
                </a:cubicBezTo>
                <a:cubicBezTo>
                  <a:pt x="3128572" y="2745436"/>
                  <a:pt x="3185289" y="2863376"/>
                  <a:pt x="3222220" y="2988744"/>
                </a:cubicBezTo>
                <a:cubicBezTo>
                  <a:pt x="3231488" y="3020063"/>
                  <a:pt x="3239600" y="3051806"/>
                  <a:pt x="3246416" y="3084044"/>
                </a:cubicBezTo>
                <a:cubicBezTo>
                  <a:pt x="3249836" y="3100152"/>
                  <a:pt x="3252925" y="3116377"/>
                  <a:pt x="3255683" y="3132744"/>
                </a:cubicBezTo>
                <a:cubicBezTo>
                  <a:pt x="3258420" y="3149157"/>
                  <a:pt x="3260848" y="3165689"/>
                  <a:pt x="3262947" y="3182339"/>
                </a:cubicBezTo>
                <a:cubicBezTo>
                  <a:pt x="3267121" y="3215615"/>
                  <a:pt x="3270022" y="3249362"/>
                  <a:pt x="3270589" y="3285539"/>
                </a:cubicBezTo>
                <a:cubicBezTo>
                  <a:pt x="3270847" y="3303627"/>
                  <a:pt x="3270564" y="3322258"/>
                  <a:pt x="3269197" y="3342210"/>
                </a:cubicBezTo>
                <a:cubicBezTo>
                  <a:pt x="3267830" y="3362138"/>
                  <a:pt x="3265448" y="3383386"/>
                  <a:pt x="3260801" y="3407087"/>
                </a:cubicBezTo>
                <a:cubicBezTo>
                  <a:pt x="3258467" y="3418902"/>
                  <a:pt x="3255518" y="3431401"/>
                  <a:pt x="3251769" y="3444396"/>
                </a:cubicBezTo>
                <a:cubicBezTo>
                  <a:pt x="3248067" y="3457343"/>
                  <a:pt x="3243515" y="3470809"/>
                  <a:pt x="3238374" y="3484110"/>
                </a:cubicBezTo>
                <a:cubicBezTo>
                  <a:pt x="3233210" y="3497434"/>
                  <a:pt x="3227432" y="3510523"/>
                  <a:pt x="3221323" y="3523117"/>
                </a:cubicBezTo>
                <a:cubicBezTo>
                  <a:pt x="3215215" y="3535710"/>
                  <a:pt x="3208777" y="3547761"/>
                  <a:pt x="3202198" y="3559364"/>
                </a:cubicBezTo>
                <a:cubicBezTo>
                  <a:pt x="3188967" y="3582546"/>
                  <a:pt x="3175077" y="3603866"/>
                  <a:pt x="3160644" y="3624123"/>
                </a:cubicBezTo>
                <a:cubicBezTo>
                  <a:pt x="3157036" y="3629194"/>
                  <a:pt x="3153380" y="3634170"/>
                  <a:pt x="3149701" y="3639099"/>
                </a:cubicBezTo>
                <a:cubicBezTo>
                  <a:pt x="3147862" y="3641552"/>
                  <a:pt x="3146022" y="3644004"/>
                  <a:pt x="3144159" y="3646457"/>
                </a:cubicBezTo>
                <a:cubicBezTo>
                  <a:pt x="3142296" y="3648909"/>
                  <a:pt x="3140457" y="3651197"/>
                  <a:pt x="3138570" y="3653579"/>
                </a:cubicBezTo>
                <a:cubicBezTo>
                  <a:pt x="3136707" y="3655937"/>
                  <a:pt x="3134820" y="3658272"/>
                  <a:pt x="3132936" y="3660630"/>
                </a:cubicBezTo>
                <a:cubicBezTo>
                  <a:pt x="3131050" y="3662941"/>
                  <a:pt x="3129161" y="3665229"/>
                  <a:pt x="3127252" y="3667540"/>
                </a:cubicBezTo>
                <a:cubicBezTo>
                  <a:pt x="3123454" y="3672139"/>
                  <a:pt x="3119588" y="3676691"/>
                  <a:pt x="3115697" y="3681242"/>
                </a:cubicBezTo>
                <a:cubicBezTo>
                  <a:pt x="3053273" y="3753572"/>
                  <a:pt x="2980564" y="3818897"/>
                  <a:pt x="2886920" y="3872785"/>
                </a:cubicBezTo>
                <a:cubicBezTo>
                  <a:pt x="2792398" y="3926201"/>
                  <a:pt x="2679033" y="3969405"/>
                  <a:pt x="2516875" y="3986975"/>
                </a:cubicBezTo>
                <a:cubicBezTo>
                  <a:pt x="2352429" y="4001974"/>
                  <a:pt x="2144921" y="3998012"/>
                  <a:pt x="1807091" y="3898255"/>
                </a:cubicBezTo>
                <a:cubicBezTo>
                  <a:pt x="2145086" y="3997965"/>
                  <a:pt x="2352665" y="4001809"/>
                  <a:pt x="2517135" y="3986692"/>
                </a:cubicBezTo>
                <a:cubicBezTo>
                  <a:pt x="2679316" y="3969004"/>
                  <a:pt x="2792680" y="3925658"/>
                  <a:pt x="2887202" y="3872125"/>
                </a:cubicBezTo>
                <a:cubicBezTo>
                  <a:pt x="2980827" y="3818119"/>
                  <a:pt x="3053535" y="3752628"/>
                  <a:pt x="3115910" y="3680181"/>
                </a:cubicBezTo>
                <a:cubicBezTo>
                  <a:pt x="3119801" y="3675629"/>
                  <a:pt x="3123643" y="3671054"/>
                  <a:pt x="3127440" y="3666455"/>
                </a:cubicBezTo>
                <a:cubicBezTo>
                  <a:pt x="3129350" y="3664144"/>
                  <a:pt x="3131239" y="3661857"/>
                  <a:pt x="3133123" y="3659546"/>
                </a:cubicBezTo>
                <a:cubicBezTo>
                  <a:pt x="3135009" y="3657211"/>
                  <a:pt x="3136872" y="3654876"/>
                  <a:pt x="3138735" y="3652518"/>
                </a:cubicBezTo>
                <a:cubicBezTo>
                  <a:pt x="3140598" y="3650159"/>
                  <a:pt x="3142438" y="3647848"/>
                  <a:pt x="3144301" y="3645419"/>
                </a:cubicBezTo>
                <a:cubicBezTo>
                  <a:pt x="3146164" y="3642966"/>
                  <a:pt x="3148003" y="3640514"/>
                  <a:pt x="3149843" y="3638061"/>
                </a:cubicBezTo>
                <a:cubicBezTo>
                  <a:pt x="3153522" y="3633132"/>
                  <a:pt x="3157154" y="3628133"/>
                  <a:pt x="3160762" y="3623086"/>
                </a:cubicBezTo>
                <a:cubicBezTo>
                  <a:pt x="3175148" y="3602828"/>
                  <a:pt x="3189015" y="3581556"/>
                  <a:pt x="3202127" y="3558491"/>
                </a:cubicBezTo>
                <a:cubicBezTo>
                  <a:pt x="3208683" y="3546959"/>
                  <a:pt x="3215051" y="3535002"/>
                  <a:pt x="3221088" y="3522527"/>
                </a:cubicBezTo>
                <a:cubicBezTo>
                  <a:pt x="3227125" y="3510075"/>
                  <a:pt x="3232809" y="3497128"/>
                  <a:pt x="3237879" y="3484039"/>
                </a:cubicBezTo>
                <a:cubicBezTo>
                  <a:pt x="3248114" y="3457767"/>
                  <a:pt x="3255425" y="3431449"/>
                  <a:pt x="3259953" y="3408196"/>
                </a:cubicBezTo>
                <a:cubicBezTo>
                  <a:pt x="3264552" y="3384777"/>
                  <a:pt x="3266910" y="3363694"/>
                  <a:pt x="3268278" y="3343884"/>
                </a:cubicBezTo>
                <a:cubicBezTo>
                  <a:pt x="3269645" y="3324051"/>
                  <a:pt x="3269928" y="3305514"/>
                  <a:pt x="3269645" y="3287473"/>
                </a:cubicBezTo>
                <a:cubicBezTo>
                  <a:pt x="3269078" y="3251438"/>
                  <a:pt x="3266179" y="3217784"/>
                  <a:pt x="3262028" y="3184603"/>
                </a:cubicBezTo>
                <a:cubicBezTo>
                  <a:pt x="3259953" y="3168000"/>
                  <a:pt x="3257524" y="3151492"/>
                  <a:pt x="3254788" y="3135125"/>
                </a:cubicBezTo>
                <a:cubicBezTo>
                  <a:pt x="3252029" y="3118806"/>
                  <a:pt x="3248940" y="3102628"/>
                  <a:pt x="3245520" y="3086544"/>
                </a:cubicBezTo>
                <a:cubicBezTo>
                  <a:pt x="3238705" y="3054400"/>
                  <a:pt x="3230615" y="3022728"/>
                  <a:pt x="3221347" y="2991480"/>
                </a:cubicBezTo>
                <a:cubicBezTo>
                  <a:pt x="3184486" y="2866418"/>
                  <a:pt x="3127817" y="2748785"/>
                  <a:pt x="3063510" y="2632638"/>
                </a:cubicBezTo>
                <a:cubicBezTo>
                  <a:pt x="2999459" y="2516467"/>
                  <a:pt x="2928116" y="2401216"/>
                  <a:pt x="2868992" y="2279856"/>
                </a:cubicBezTo>
                <a:cubicBezTo>
                  <a:pt x="2854232" y="2249528"/>
                  <a:pt x="2840271" y="2218847"/>
                  <a:pt x="2827416" y="2187740"/>
                </a:cubicBezTo>
                <a:cubicBezTo>
                  <a:pt x="2814610" y="2156540"/>
                  <a:pt x="2802937" y="2124891"/>
                  <a:pt x="2792749" y="2092794"/>
                </a:cubicBezTo>
                <a:cubicBezTo>
                  <a:pt x="2782752" y="2060414"/>
                  <a:pt x="2774192" y="2027280"/>
                  <a:pt x="2770017" y="1990632"/>
                </a:cubicBezTo>
                <a:cubicBezTo>
                  <a:pt x="2768013" y="1972260"/>
                  <a:pt x="2767140" y="1952969"/>
                  <a:pt x="2769121" y="1931461"/>
                </a:cubicBezTo>
                <a:cubicBezTo>
                  <a:pt x="2770159" y="1920731"/>
                  <a:pt x="2771904" y="1909458"/>
                  <a:pt x="2774923" y="1897454"/>
                </a:cubicBezTo>
                <a:cubicBezTo>
                  <a:pt x="2777965" y="1885451"/>
                  <a:pt x="2782304" y="1872739"/>
                  <a:pt x="2788343" y="1859533"/>
                </a:cubicBezTo>
                <a:cubicBezTo>
                  <a:pt x="2794376" y="1846359"/>
                  <a:pt x="2802159" y="1832775"/>
                  <a:pt x="2811450" y="1819544"/>
                </a:cubicBezTo>
                <a:cubicBezTo>
                  <a:pt x="2820697" y="1806314"/>
                  <a:pt x="2831331" y="1793414"/>
                  <a:pt x="2842839" y="1781175"/>
                </a:cubicBezTo>
                <a:cubicBezTo>
                  <a:pt x="2854301" y="1768911"/>
                  <a:pt x="2866757" y="1757190"/>
                  <a:pt x="2879726" y="1746059"/>
                </a:cubicBezTo>
                <a:cubicBezTo>
                  <a:pt x="2892742" y="1734857"/>
                  <a:pt x="2906374" y="1724221"/>
                  <a:pt x="2920593" y="1713915"/>
                </a:cubicBezTo>
                <a:cubicBezTo>
                  <a:pt x="2949037" y="1693351"/>
                  <a:pt x="2979693" y="1674319"/>
                  <a:pt x="3012591" y="1656325"/>
                </a:cubicBezTo>
                <a:cubicBezTo>
                  <a:pt x="3045513" y="1638331"/>
                  <a:pt x="3080700" y="1621398"/>
                  <a:pt x="3118363" y="1605385"/>
                </a:cubicBezTo>
                <a:cubicBezTo>
                  <a:pt x="3268937" y="1541899"/>
                  <a:pt x="3459159" y="1490535"/>
                  <a:pt x="3710108" y="1458107"/>
                </a:cubicBezTo>
                <a:cubicBezTo>
                  <a:pt x="3851877" y="1440305"/>
                  <a:pt x="4012152" y="1427807"/>
                  <a:pt x="4197774" y="1425308"/>
                </a:cubicBezTo>
                <a:close/>
                <a:moveTo>
                  <a:pt x="4357357" y="1385141"/>
                </a:moveTo>
                <a:cubicBezTo>
                  <a:pt x="4448059" y="1386162"/>
                  <a:pt x="4544283" y="1389350"/>
                  <a:pt x="4646646" y="1395087"/>
                </a:cubicBezTo>
                <a:cubicBezTo>
                  <a:pt x="5056475" y="1421217"/>
                  <a:pt x="5562807" y="1480977"/>
                  <a:pt x="6219576" y="1678982"/>
                </a:cubicBezTo>
                <a:cubicBezTo>
                  <a:pt x="6210685" y="1678228"/>
                  <a:pt x="6201771" y="1677567"/>
                  <a:pt x="6192880" y="1676907"/>
                </a:cubicBezTo>
                <a:cubicBezTo>
                  <a:pt x="5541865" y="1481991"/>
                  <a:pt x="5039613" y="1423340"/>
                  <a:pt x="4632944" y="1397964"/>
                </a:cubicBezTo>
                <a:cubicBezTo>
                  <a:pt x="4226652" y="1375725"/>
                  <a:pt x="3917665" y="1393814"/>
                  <a:pt x="3666928" y="1428198"/>
                </a:cubicBezTo>
                <a:cubicBezTo>
                  <a:pt x="3417276" y="1463266"/>
                  <a:pt x="3228209" y="1516588"/>
                  <a:pt x="3078575" y="1581630"/>
                </a:cubicBezTo>
                <a:cubicBezTo>
                  <a:pt x="3041173" y="1598021"/>
                  <a:pt x="3006269" y="1615260"/>
                  <a:pt x="2973632" y="1633538"/>
                </a:cubicBezTo>
                <a:cubicBezTo>
                  <a:pt x="2941013" y="1651814"/>
                  <a:pt x="2910638" y="1671083"/>
                  <a:pt x="2882600" y="1691717"/>
                </a:cubicBezTo>
                <a:cubicBezTo>
                  <a:pt x="2868565" y="1702070"/>
                  <a:pt x="2855123" y="1712730"/>
                  <a:pt x="2842367" y="1723862"/>
                </a:cubicBezTo>
                <a:cubicBezTo>
                  <a:pt x="2829560" y="1735016"/>
                  <a:pt x="2817507" y="1746501"/>
                  <a:pt x="2806282" y="1758600"/>
                </a:cubicBezTo>
                <a:cubicBezTo>
                  <a:pt x="2795084" y="1770651"/>
                  <a:pt x="2784777" y="1783173"/>
                  <a:pt x="2775815" y="1796003"/>
                </a:cubicBezTo>
                <a:cubicBezTo>
                  <a:pt x="2766830" y="1808808"/>
                  <a:pt x="2759284" y="1821849"/>
                  <a:pt x="2753341" y="1834584"/>
                </a:cubicBezTo>
                <a:cubicBezTo>
                  <a:pt x="2747398" y="1847319"/>
                  <a:pt x="2743011" y="1859721"/>
                  <a:pt x="2739851" y="1871489"/>
                </a:cubicBezTo>
                <a:cubicBezTo>
                  <a:pt x="2736714" y="1883257"/>
                  <a:pt x="2734804" y="1894459"/>
                  <a:pt x="2733554" y="1905189"/>
                </a:cubicBezTo>
                <a:cubicBezTo>
                  <a:pt x="2731172" y="1926626"/>
                  <a:pt x="2731668" y="1946177"/>
                  <a:pt x="2733271" y="1964808"/>
                </a:cubicBezTo>
                <a:cubicBezTo>
                  <a:pt x="2736714" y="2001998"/>
                  <a:pt x="2744662" y="2035864"/>
                  <a:pt x="2754166" y="2068975"/>
                </a:cubicBezTo>
                <a:cubicBezTo>
                  <a:pt x="2763882" y="2101803"/>
                  <a:pt x="2775155" y="2134135"/>
                  <a:pt x="2787651" y="2165996"/>
                </a:cubicBezTo>
                <a:cubicBezTo>
                  <a:pt x="2800200" y="2197763"/>
                  <a:pt x="2813973" y="2229058"/>
                  <a:pt x="2828619" y="2259928"/>
                </a:cubicBezTo>
                <a:cubicBezTo>
                  <a:pt x="2887271" y="2383480"/>
                  <a:pt x="2959596" y="2499982"/>
                  <a:pt x="3025680" y="2616200"/>
                </a:cubicBezTo>
                <a:cubicBezTo>
                  <a:pt x="3092016" y="2732394"/>
                  <a:pt x="3151752" y="2848919"/>
                  <a:pt x="3192127" y="2972094"/>
                </a:cubicBezTo>
                <a:cubicBezTo>
                  <a:pt x="3202268" y="3002870"/>
                  <a:pt x="3211253" y="3034024"/>
                  <a:pt x="3218965" y="3065625"/>
                </a:cubicBezTo>
                <a:cubicBezTo>
                  <a:pt x="3222832" y="3081426"/>
                  <a:pt x="3226370" y="3097345"/>
                  <a:pt x="3229601" y="3113358"/>
                </a:cubicBezTo>
                <a:cubicBezTo>
                  <a:pt x="3232808" y="3129441"/>
                  <a:pt x="3235685" y="3145643"/>
                  <a:pt x="3238232" y="3161939"/>
                </a:cubicBezTo>
                <a:cubicBezTo>
                  <a:pt x="3243326" y="3194531"/>
                  <a:pt x="3247194" y="3227547"/>
                  <a:pt x="3248703" y="3262969"/>
                </a:cubicBezTo>
                <a:cubicBezTo>
                  <a:pt x="3249434" y="3280704"/>
                  <a:pt x="3249646" y="3298957"/>
                  <a:pt x="3248774" y="3318532"/>
                </a:cubicBezTo>
                <a:cubicBezTo>
                  <a:pt x="3247901" y="3338082"/>
                  <a:pt x="3246015" y="3358953"/>
                  <a:pt x="3241864" y="3382277"/>
                </a:cubicBezTo>
                <a:cubicBezTo>
                  <a:pt x="3239789" y="3393927"/>
                  <a:pt x="3237077" y="3406238"/>
                  <a:pt x="3233586" y="3419043"/>
                </a:cubicBezTo>
                <a:cubicBezTo>
                  <a:pt x="3230120" y="3431825"/>
                  <a:pt x="3225804" y="3445126"/>
                  <a:pt x="3220851" y="3458286"/>
                </a:cubicBezTo>
                <a:cubicBezTo>
                  <a:pt x="3215875" y="3471445"/>
                  <a:pt x="3210286" y="3484440"/>
                  <a:pt x="3204319" y="3496915"/>
                </a:cubicBezTo>
                <a:cubicBezTo>
                  <a:pt x="3198353" y="3509391"/>
                  <a:pt x="3192056" y="3521347"/>
                  <a:pt x="3185547" y="3532832"/>
                </a:cubicBezTo>
                <a:cubicBezTo>
                  <a:pt x="3172529" y="3555826"/>
                  <a:pt x="3158733" y="3576957"/>
                  <a:pt x="3144347" y="3597026"/>
                </a:cubicBezTo>
                <a:cubicBezTo>
                  <a:pt x="3140763" y="3602049"/>
                  <a:pt x="3137131" y="3606978"/>
                  <a:pt x="3133454" y="3611860"/>
                </a:cubicBezTo>
                <a:cubicBezTo>
                  <a:pt x="3131615" y="3614289"/>
                  <a:pt x="3129776" y="3616718"/>
                  <a:pt x="3127911" y="3619147"/>
                </a:cubicBezTo>
                <a:cubicBezTo>
                  <a:pt x="3126047" y="3621576"/>
                  <a:pt x="3124207" y="3623840"/>
                  <a:pt x="3122324" y="3626198"/>
                </a:cubicBezTo>
                <a:cubicBezTo>
                  <a:pt x="3120459" y="3628533"/>
                  <a:pt x="3118571" y="3630844"/>
                  <a:pt x="3116687" y="3633179"/>
                </a:cubicBezTo>
                <a:cubicBezTo>
                  <a:pt x="3114798" y="3635467"/>
                  <a:pt x="3112914" y="3637731"/>
                  <a:pt x="3111001" y="3640018"/>
                </a:cubicBezTo>
                <a:cubicBezTo>
                  <a:pt x="3107182" y="3644570"/>
                  <a:pt x="3103336" y="3649074"/>
                  <a:pt x="3099423" y="3653555"/>
                </a:cubicBezTo>
                <a:cubicBezTo>
                  <a:pt x="3036810" y="3725012"/>
                  <a:pt x="2963370" y="3789087"/>
                  <a:pt x="2867787" y="3840971"/>
                </a:cubicBezTo>
                <a:cubicBezTo>
                  <a:pt x="2771264" y="3892311"/>
                  <a:pt x="2654857" y="3932898"/>
                  <a:pt x="2486567" y="3945468"/>
                </a:cubicBezTo>
                <a:cubicBezTo>
                  <a:pt x="2315966" y="3955208"/>
                  <a:pt x="2099118" y="3944100"/>
                  <a:pt x="1745087" y="3827387"/>
                </a:cubicBezTo>
                <a:cubicBezTo>
                  <a:pt x="2099331" y="3944077"/>
                  <a:pt x="2316202" y="3955043"/>
                  <a:pt x="2486850" y="3945209"/>
                </a:cubicBezTo>
                <a:cubicBezTo>
                  <a:pt x="2655164" y="3932544"/>
                  <a:pt x="2771594" y="3891816"/>
                  <a:pt x="2868094" y="3840358"/>
                </a:cubicBezTo>
                <a:cubicBezTo>
                  <a:pt x="2963657" y="3788357"/>
                  <a:pt x="3037092" y="3724140"/>
                  <a:pt x="3099657" y="3652564"/>
                </a:cubicBezTo>
                <a:cubicBezTo>
                  <a:pt x="3103548" y="3648084"/>
                  <a:pt x="3107416" y="3643556"/>
                  <a:pt x="3111213" y="3639004"/>
                </a:cubicBezTo>
                <a:cubicBezTo>
                  <a:pt x="3113123" y="3636740"/>
                  <a:pt x="3115010" y="3634452"/>
                  <a:pt x="3116900" y="3632165"/>
                </a:cubicBezTo>
                <a:cubicBezTo>
                  <a:pt x="3118783" y="3629854"/>
                  <a:pt x="3120648" y="3627542"/>
                  <a:pt x="3122512" y="3625208"/>
                </a:cubicBezTo>
                <a:cubicBezTo>
                  <a:pt x="3124372" y="3622873"/>
                  <a:pt x="3126212" y="3620586"/>
                  <a:pt x="3128075" y="3618180"/>
                </a:cubicBezTo>
                <a:cubicBezTo>
                  <a:pt x="3129938" y="3615751"/>
                  <a:pt x="3131778" y="3613346"/>
                  <a:pt x="3133593" y="3610893"/>
                </a:cubicBezTo>
                <a:cubicBezTo>
                  <a:pt x="3137249" y="3606011"/>
                  <a:pt x="3140881" y="3601059"/>
                  <a:pt x="3144465" y="3596059"/>
                </a:cubicBezTo>
                <a:cubicBezTo>
                  <a:pt x="3158780" y="3575990"/>
                  <a:pt x="3172529" y="3554906"/>
                  <a:pt x="3185453" y="3532030"/>
                </a:cubicBezTo>
                <a:cubicBezTo>
                  <a:pt x="3191915" y="3520593"/>
                  <a:pt x="3198164" y="3508730"/>
                  <a:pt x="3204060" y="3496396"/>
                </a:cubicBezTo>
                <a:cubicBezTo>
                  <a:pt x="3209956" y="3484062"/>
                  <a:pt x="3215474" y="3471233"/>
                  <a:pt x="3220356" y="3458286"/>
                </a:cubicBezTo>
                <a:cubicBezTo>
                  <a:pt x="3230190" y="3432273"/>
                  <a:pt x="3237006" y="3406332"/>
                  <a:pt x="3241062" y="3383433"/>
                </a:cubicBezTo>
                <a:cubicBezTo>
                  <a:pt x="3245166" y="3360392"/>
                  <a:pt x="3247029" y="3339662"/>
                  <a:pt x="3247901" y="3320230"/>
                </a:cubicBezTo>
                <a:cubicBezTo>
                  <a:pt x="3248774" y="3300773"/>
                  <a:pt x="3248562" y="3282614"/>
                  <a:pt x="3247831" y="3264950"/>
                </a:cubicBezTo>
                <a:cubicBezTo>
                  <a:pt x="3246321" y="3229670"/>
                  <a:pt x="3242477" y="3196724"/>
                  <a:pt x="3237383" y="3164227"/>
                </a:cubicBezTo>
                <a:cubicBezTo>
                  <a:pt x="3234836" y="3147954"/>
                  <a:pt x="3231959" y="3131800"/>
                  <a:pt x="3228752" y="3115763"/>
                </a:cubicBezTo>
                <a:cubicBezTo>
                  <a:pt x="3225521" y="3099774"/>
                  <a:pt x="3221983" y="3083926"/>
                  <a:pt x="3218116" y="3068149"/>
                </a:cubicBezTo>
                <a:cubicBezTo>
                  <a:pt x="3210404" y="3036618"/>
                  <a:pt x="3201442" y="3005559"/>
                  <a:pt x="3191301" y="2974853"/>
                </a:cubicBezTo>
                <a:cubicBezTo>
                  <a:pt x="3150998" y="2851985"/>
                  <a:pt x="3091332" y="2735767"/>
                  <a:pt x="3024902" y="2619902"/>
                </a:cubicBezTo>
                <a:cubicBezTo>
                  <a:pt x="2958724" y="2503991"/>
                  <a:pt x="2886159" y="2387843"/>
                  <a:pt x="2826893" y="2264598"/>
                </a:cubicBezTo>
                <a:cubicBezTo>
                  <a:pt x="2812108" y="2233798"/>
                  <a:pt x="2798172" y="2202597"/>
                  <a:pt x="2785411" y="2170901"/>
                </a:cubicBezTo>
                <a:cubicBezTo>
                  <a:pt x="2772702" y="2139111"/>
                  <a:pt x="2761217" y="2106849"/>
                  <a:pt x="2751242" y="2074069"/>
                </a:cubicBezTo>
                <a:cubicBezTo>
                  <a:pt x="2741478" y="2041005"/>
                  <a:pt x="2733224" y="2007140"/>
                  <a:pt x="2729451" y="1969713"/>
                </a:cubicBezTo>
                <a:cubicBezTo>
                  <a:pt x="2727658" y="1950941"/>
                  <a:pt x="2726974" y="1931225"/>
                  <a:pt x="2729215" y="1909316"/>
                </a:cubicBezTo>
                <a:cubicBezTo>
                  <a:pt x="2730370" y="1898350"/>
                  <a:pt x="2732257" y="1886889"/>
                  <a:pt x="2735394" y="1874649"/>
                </a:cubicBezTo>
                <a:cubicBezTo>
                  <a:pt x="2738577" y="1862409"/>
                  <a:pt x="2743035" y="1849465"/>
                  <a:pt x="2749213" y="1836047"/>
                </a:cubicBezTo>
                <a:cubicBezTo>
                  <a:pt x="2755392" y="1822628"/>
                  <a:pt x="2763316" y="1808808"/>
                  <a:pt x="2772702" y="1795365"/>
                </a:cubicBezTo>
                <a:cubicBezTo>
                  <a:pt x="2782065" y="1781899"/>
                  <a:pt x="2792817" y="1768812"/>
                  <a:pt x="2804395" y="1756383"/>
                </a:cubicBezTo>
                <a:cubicBezTo>
                  <a:pt x="2815975" y="1743931"/>
                  <a:pt x="2828499" y="1732022"/>
                  <a:pt x="2841515" y="1720701"/>
                </a:cubicBezTo>
                <a:cubicBezTo>
                  <a:pt x="2854608" y="1709311"/>
                  <a:pt x="2868306" y="1698485"/>
                  <a:pt x="2882574" y="1688014"/>
                </a:cubicBezTo>
                <a:cubicBezTo>
                  <a:pt x="2911133" y="1667096"/>
                  <a:pt x="2941885" y="1647734"/>
                  <a:pt x="2974856" y="1629363"/>
                </a:cubicBezTo>
                <a:cubicBezTo>
                  <a:pt x="3007871" y="1610992"/>
                  <a:pt x="3043107" y="1593705"/>
                  <a:pt x="3080842" y="1577291"/>
                </a:cubicBezTo>
                <a:cubicBezTo>
                  <a:pt x="3231676" y="1512225"/>
                  <a:pt x="3422063" y="1458998"/>
                  <a:pt x="3673461" y="1424118"/>
                </a:cubicBezTo>
                <a:cubicBezTo>
                  <a:pt x="3862840" y="1398507"/>
                  <a:pt x="4085250" y="1382075"/>
                  <a:pt x="4357357" y="1385141"/>
                </a:cubicBezTo>
                <a:close/>
                <a:moveTo>
                  <a:pt x="4323146" y="1343962"/>
                </a:moveTo>
                <a:cubicBezTo>
                  <a:pt x="4414105" y="1343996"/>
                  <a:pt x="4510636" y="1346086"/>
                  <a:pt x="4613370" y="1350585"/>
                </a:cubicBezTo>
                <a:cubicBezTo>
                  <a:pt x="5024968" y="1371716"/>
                  <a:pt x="5533234" y="1423976"/>
                  <a:pt x="6198941" y="1607713"/>
                </a:cubicBezTo>
                <a:cubicBezTo>
                  <a:pt x="6189932" y="1607194"/>
                  <a:pt x="6180970" y="1606699"/>
                  <a:pt x="6172056" y="1606204"/>
                </a:cubicBezTo>
                <a:cubicBezTo>
                  <a:pt x="5512150" y="1425391"/>
                  <a:pt x="5007941" y="1374121"/>
                  <a:pt x="4599503" y="1353722"/>
                </a:cubicBezTo>
                <a:cubicBezTo>
                  <a:pt x="4191702" y="1336412"/>
                  <a:pt x="3882220" y="1357212"/>
                  <a:pt x="3631152" y="1393908"/>
                </a:cubicBezTo>
                <a:cubicBezTo>
                  <a:pt x="3381170" y="1431264"/>
                  <a:pt x="3191986" y="1486330"/>
                  <a:pt x="3042045" y="1552811"/>
                </a:cubicBezTo>
                <a:cubicBezTo>
                  <a:pt x="3004570" y="1569555"/>
                  <a:pt x="2969596" y="1587149"/>
                  <a:pt x="2936864" y="1605756"/>
                </a:cubicBezTo>
                <a:cubicBezTo>
                  <a:pt x="2904152" y="1624363"/>
                  <a:pt x="2873660" y="1643961"/>
                  <a:pt x="2845479" y="1664902"/>
                </a:cubicBezTo>
                <a:cubicBezTo>
                  <a:pt x="2831375" y="1675421"/>
                  <a:pt x="2817863" y="1686222"/>
                  <a:pt x="2805009" y="1697542"/>
                </a:cubicBezTo>
                <a:cubicBezTo>
                  <a:pt x="2792109" y="1708861"/>
                  <a:pt x="2779965" y="1720512"/>
                  <a:pt x="2768645" y="1732775"/>
                </a:cubicBezTo>
                <a:cubicBezTo>
                  <a:pt x="2757325" y="1744991"/>
                  <a:pt x="2746925" y="1757726"/>
                  <a:pt x="2737822" y="1770744"/>
                </a:cubicBezTo>
                <a:cubicBezTo>
                  <a:pt x="2728695" y="1783738"/>
                  <a:pt x="2721031" y="1796992"/>
                  <a:pt x="2714946" y="1809939"/>
                </a:cubicBezTo>
                <a:cubicBezTo>
                  <a:pt x="2708838" y="1822886"/>
                  <a:pt x="2704334" y="1835527"/>
                  <a:pt x="2701032" y="1847507"/>
                </a:cubicBezTo>
                <a:cubicBezTo>
                  <a:pt x="2697754" y="1859485"/>
                  <a:pt x="2695679" y="1870923"/>
                  <a:pt x="2694335" y="1881866"/>
                </a:cubicBezTo>
                <a:cubicBezTo>
                  <a:pt x="2691693" y="1903728"/>
                  <a:pt x="2691929" y="1923703"/>
                  <a:pt x="2693321" y="1942758"/>
                </a:cubicBezTo>
                <a:cubicBezTo>
                  <a:pt x="2696315" y="1980774"/>
                  <a:pt x="2703886" y="2015418"/>
                  <a:pt x="2713107" y="2049236"/>
                </a:cubicBezTo>
                <a:cubicBezTo>
                  <a:pt x="2722517" y="2082795"/>
                  <a:pt x="2733577" y="2115812"/>
                  <a:pt x="2745911" y="2148309"/>
                </a:cubicBezTo>
                <a:cubicBezTo>
                  <a:pt x="2758316" y="2180713"/>
                  <a:pt x="2771994" y="2212597"/>
                  <a:pt x="2786614" y="2243986"/>
                </a:cubicBezTo>
                <a:cubicBezTo>
                  <a:pt x="2845196" y="2369685"/>
                  <a:pt x="2918564" y="2487389"/>
                  <a:pt x="2986601" y="2603607"/>
                </a:cubicBezTo>
                <a:cubicBezTo>
                  <a:pt x="3054896" y="2719825"/>
                  <a:pt x="3117465" y="2835194"/>
                  <a:pt x="3161115" y="2956388"/>
                </a:cubicBezTo>
                <a:cubicBezTo>
                  <a:pt x="3172082" y="2986669"/>
                  <a:pt x="3181916" y="3017280"/>
                  <a:pt x="3190500" y="3048292"/>
                </a:cubicBezTo>
                <a:cubicBezTo>
                  <a:pt x="3194792" y="3063810"/>
                  <a:pt x="3198801" y="3079398"/>
                  <a:pt x="3202457" y="3095105"/>
                </a:cubicBezTo>
                <a:cubicBezTo>
                  <a:pt x="3206112" y="3110882"/>
                  <a:pt x="3209437" y="3126753"/>
                  <a:pt x="3212432" y="3142719"/>
                </a:cubicBezTo>
                <a:cubicBezTo>
                  <a:pt x="3218446" y="3174651"/>
                  <a:pt x="3223186" y="3206984"/>
                  <a:pt x="3225663" y="3241698"/>
                </a:cubicBezTo>
                <a:cubicBezTo>
                  <a:pt x="3226865" y="3259079"/>
                  <a:pt x="3227549" y="3276955"/>
                  <a:pt x="3227172" y="3296175"/>
                </a:cubicBezTo>
                <a:cubicBezTo>
                  <a:pt x="3226771" y="3315349"/>
                  <a:pt x="3225380" y="3335866"/>
                  <a:pt x="3221724" y="3358812"/>
                </a:cubicBezTo>
                <a:cubicBezTo>
                  <a:pt x="3219908" y="3370274"/>
                  <a:pt x="3217432" y="3382396"/>
                  <a:pt x="3214154" y="3395036"/>
                </a:cubicBezTo>
                <a:cubicBezTo>
                  <a:pt x="3210923" y="3407653"/>
                  <a:pt x="3206820" y="3420765"/>
                  <a:pt x="3202056" y="3433783"/>
                </a:cubicBezTo>
                <a:cubicBezTo>
                  <a:pt x="3197292" y="3446801"/>
                  <a:pt x="3191844" y="3459654"/>
                  <a:pt x="3186043" y="3471965"/>
                </a:cubicBezTo>
                <a:cubicBezTo>
                  <a:pt x="3180218" y="3484322"/>
                  <a:pt x="3174015" y="3496137"/>
                  <a:pt x="3167624" y="3507528"/>
                </a:cubicBezTo>
                <a:cubicBezTo>
                  <a:pt x="3154795" y="3530286"/>
                  <a:pt x="3141093" y="3551204"/>
                  <a:pt x="3126780" y="3571061"/>
                </a:cubicBezTo>
                <a:cubicBezTo>
                  <a:pt x="3123195" y="3576014"/>
                  <a:pt x="3119587" y="3580896"/>
                  <a:pt x="3115908" y="3585730"/>
                </a:cubicBezTo>
                <a:cubicBezTo>
                  <a:pt x="3114069" y="3588136"/>
                  <a:pt x="3112229" y="3590517"/>
                  <a:pt x="3110390" y="3592923"/>
                </a:cubicBezTo>
                <a:cubicBezTo>
                  <a:pt x="3108525" y="3595305"/>
                  <a:pt x="3106686" y="3597569"/>
                  <a:pt x="3104799" y="3599880"/>
                </a:cubicBezTo>
                <a:cubicBezTo>
                  <a:pt x="3102937" y="3602191"/>
                  <a:pt x="3101049" y="3604479"/>
                  <a:pt x="3099141" y="3606766"/>
                </a:cubicBezTo>
                <a:cubicBezTo>
                  <a:pt x="3097252" y="3609030"/>
                  <a:pt x="3095367" y="3611271"/>
                  <a:pt x="3093433" y="3613511"/>
                </a:cubicBezTo>
                <a:cubicBezTo>
                  <a:pt x="3089611" y="3617992"/>
                  <a:pt x="3085744" y="3622449"/>
                  <a:pt x="3081829" y="3626859"/>
                </a:cubicBezTo>
                <a:cubicBezTo>
                  <a:pt x="3019005" y="3697302"/>
                  <a:pt x="2944741" y="3759939"/>
                  <a:pt x="2847106" y="3809606"/>
                </a:cubicBezTo>
                <a:cubicBezTo>
                  <a:pt x="2748482" y="3858682"/>
                  <a:pt x="2628820" y="3896439"/>
                  <a:pt x="2454187" y="3903537"/>
                </a:cubicBezTo>
                <a:cubicBezTo>
                  <a:pt x="2277218" y="3907594"/>
                  <a:pt x="2050749" y="3888704"/>
                  <a:pt x="1680822" y="3754091"/>
                </a:cubicBezTo>
                <a:cubicBezTo>
                  <a:pt x="2050937" y="3888704"/>
                  <a:pt x="2277478" y="3907452"/>
                  <a:pt x="2454470" y="3903278"/>
                </a:cubicBezTo>
                <a:cubicBezTo>
                  <a:pt x="2629127" y="3896038"/>
                  <a:pt x="2748765" y="3858187"/>
                  <a:pt x="2847388" y="3808969"/>
                </a:cubicBezTo>
                <a:cubicBezTo>
                  <a:pt x="2944999" y="3759161"/>
                  <a:pt x="3019239" y="3696383"/>
                  <a:pt x="3082017" y="3625845"/>
                </a:cubicBezTo>
                <a:cubicBezTo>
                  <a:pt x="3085932" y="3621411"/>
                  <a:pt x="3089800" y="3616954"/>
                  <a:pt x="3093622" y="3612474"/>
                </a:cubicBezTo>
                <a:cubicBezTo>
                  <a:pt x="3095531" y="3610233"/>
                  <a:pt x="3097419" y="3607969"/>
                  <a:pt x="3099304" y="3605729"/>
                </a:cubicBezTo>
                <a:cubicBezTo>
                  <a:pt x="3101192" y="3603441"/>
                  <a:pt x="3103054" y="3601154"/>
                  <a:pt x="3104916" y="3598866"/>
                </a:cubicBezTo>
                <a:cubicBezTo>
                  <a:pt x="3106780" y="3596555"/>
                  <a:pt x="3108620" y="3594314"/>
                  <a:pt x="3110484" y="3591909"/>
                </a:cubicBezTo>
                <a:cubicBezTo>
                  <a:pt x="3112324" y="3589527"/>
                  <a:pt x="3114163" y="3587122"/>
                  <a:pt x="3116002" y="3584716"/>
                </a:cubicBezTo>
                <a:cubicBezTo>
                  <a:pt x="3119656" y="3579905"/>
                  <a:pt x="3123265" y="3575000"/>
                  <a:pt x="3126850" y="3570047"/>
                </a:cubicBezTo>
                <a:cubicBezTo>
                  <a:pt x="3141117" y="3550214"/>
                  <a:pt x="3154748" y="3529343"/>
                  <a:pt x="3167483" y="3506703"/>
                </a:cubicBezTo>
                <a:cubicBezTo>
                  <a:pt x="3173850" y="3495383"/>
                  <a:pt x="3179982" y="3483638"/>
                  <a:pt x="3185736" y="3471422"/>
                </a:cubicBezTo>
                <a:cubicBezTo>
                  <a:pt x="3191491" y="3459230"/>
                  <a:pt x="3196844" y="3446542"/>
                  <a:pt x="3201537" y="3433736"/>
                </a:cubicBezTo>
                <a:cubicBezTo>
                  <a:pt x="3210994" y="3408054"/>
                  <a:pt x="3217338" y="3382443"/>
                  <a:pt x="3220875" y="3359921"/>
                </a:cubicBezTo>
                <a:cubicBezTo>
                  <a:pt x="3224483" y="3337234"/>
                  <a:pt x="3225875" y="3316905"/>
                  <a:pt x="3226276" y="3297826"/>
                </a:cubicBezTo>
                <a:cubicBezTo>
                  <a:pt x="3226677" y="3278724"/>
                  <a:pt x="3225993" y="3260942"/>
                  <a:pt x="3224790" y="3243632"/>
                </a:cubicBezTo>
                <a:cubicBezTo>
                  <a:pt x="3222337" y="3209059"/>
                  <a:pt x="3217597" y="3176820"/>
                  <a:pt x="3211607" y="3144960"/>
                </a:cubicBezTo>
                <a:cubicBezTo>
                  <a:pt x="3208612" y="3129018"/>
                  <a:pt x="3205287" y="3113193"/>
                  <a:pt x="3201655" y="3097463"/>
                </a:cubicBezTo>
                <a:cubicBezTo>
                  <a:pt x="3198000" y="3081804"/>
                  <a:pt x="3194014" y="3066239"/>
                  <a:pt x="3189722" y="3050768"/>
                </a:cubicBezTo>
                <a:cubicBezTo>
                  <a:pt x="3181138" y="3019827"/>
                  <a:pt x="3171327" y="2989287"/>
                  <a:pt x="3160384" y="2959100"/>
                </a:cubicBezTo>
                <a:cubicBezTo>
                  <a:pt x="3116804" y="2838236"/>
                  <a:pt x="3054307" y="2723174"/>
                  <a:pt x="2985917" y="2607286"/>
                </a:cubicBezTo>
                <a:cubicBezTo>
                  <a:pt x="2917786" y="2491398"/>
                  <a:pt x="2844157" y="2374048"/>
                  <a:pt x="2784963" y="2248656"/>
                </a:cubicBezTo>
                <a:cubicBezTo>
                  <a:pt x="2770178" y="2217337"/>
                  <a:pt x="2756335" y="2185524"/>
                  <a:pt x="2743742" y="2153191"/>
                </a:cubicBezTo>
                <a:cubicBezTo>
                  <a:pt x="2731195" y="2120764"/>
                  <a:pt x="2719922" y="2087818"/>
                  <a:pt x="2710253" y="2054307"/>
                </a:cubicBezTo>
                <a:cubicBezTo>
                  <a:pt x="2700796" y="2020512"/>
                  <a:pt x="2692896" y="1985868"/>
                  <a:pt x="2689547" y="1947640"/>
                </a:cubicBezTo>
                <a:cubicBezTo>
                  <a:pt x="2687967" y="1928443"/>
                  <a:pt x="2687543" y="1908326"/>
                  <a:pt x="2690043" y="1885946"/>
                </a:cubicBezTo>
                <a:cubicBezTo>
                  <a:pt x="2691339" y="1874768"/>
                  <a:pt x="2693344" y="1863070"/>
                  <a:pt x="2696646" y="1850597"/>
                </a:cubicBezTo>
                <a:cubicBezTo>
                  <a:pt x="2699971" y="1838145"/>
                  <a:pt x="2704593" y="1824962"/>
                  <a:pt x="2710937" y="1811307"/>
                </a:cubicBezTo>
                <a:cubicBezTo>
                  <a:pt x="2717257" y="1797676"/>
                  <a:pt x="2725347" y="1783620"/>
                  <a:pt x="2734874" y="1769966"/>
                </a:cubicBezTo>
                <a:cubicBezTo>
                  <a:pt x="2744378" y="1756311"/>
                  <a:pt x="2755250" y="1743010"/>
                  <a:pt x="2766947" y="1730393"/>
                </a:cubicBezTo>
                <a:cubicBezTo>
                  <a:pt x="2778621" y="1717752"/>
                  <a:pt x="2791260" y="1705678"/>
                  <a:pt x="2804374" y="1694193"/>
                </a:cubicBezTo>
                <a:cubicBezTo>
                  <a:pt x="2817557" y="1682637"/>
                  <a:pt x="2831329" y="1671671"/>
                  <a:pt x="2845668" y="1661011"/>
                </a:cubicBezTo>
                <a:cubicBezTo>
                  <a:pt x="2874369" y="1639763"/>
                  <a:pt x="2905214" y="1620071"/>
                  <a:pt x="2938301" y="1601369"/>
                </a:cubicBezTo>
                <a:cubicBezTo>
                  <a:pt x="2971412" y="1582668"/>
                  <a:pt x="3006740" y="1565027"/>
                  <a:pt x="3044520" y="1548260"/>
                </a:cubicBezTo>
                <a:cubicBezTo>
                  <a:pt x="3195641" y="1481755"/>
                  <a:pt x="3386170" y="1426783"/>
                  <a:pt x="3637897" y="1389639"/>
                </a:cubicBezTo>
                <a:cubicBezTo>
                  <a:pt x="3827542" y="1362259"/>
                  <a:pt x="4050271" y="1343859"/>
                  <a:pt x="4323146" y="1343962"/>
                </a:cubicBezTo>
                <a:close/>
                <a:moveTo>
                  <a:pt x="4289416" y="1302883"/>
                </a:moveTo>
                <a:cubicBezTo>
                  <a:pt x="4380548" y="1302000"/>
                  <a:pt x="4477289" y="1303070"/>
                  <a:pt x="4580283" y="1306419"/>
                </a:cubicBezTo>
                <a:cubicBezTo>
                  <a:pt x="4993131" y="1322832"/>
                  <a:pt x="5502646" y="1368277"/>
                  <a:pt x="6175216" y="1537936"/>
                </a:cubicBezTo>
                <a:cubicBezTo>
                  <a:pt x="6166066" y="1537582"/>
                  <a:pt x="6157081" y="1537228"/>
                  <a:pt x="6148143" y="1536898"/>
                </a:cubicBezTo>
                <a:cubicBezTo>
                  <a:pt x="5481398" y="1369976"/>
                  <a:pt x="4975915" y="1325450"/>
                  <a:pt x="4566204" y="1309720"/>
                </a:cubicBezTo>
                <a:cubicBezTo>
                  <a:pt x="4157365" y="1296962"/>
                  <a:pt x="3847623" y="1320285"/>
                  <a:pt x="3596367" y="1359175"/>
                </a:cubicBezTo>
                <a:cubicBezTo>
                  <a:pt x="3346196" y="1398653"/>
                  <a:pt x="3156894" y="1455300"/>
                  <a:pt x="3006672" y="1523102"/>
                </a:cubicBezTo>
                <a:cubicBezTo>
                  <a:pt x="2969128" y="1540176"/>
                  <a:pt x="2934059" y="1558076"/>
                  <a:pt x="2901207" y="1576990"/>
                </a:cubicBezTo>
                <a:cubicBezTo>
                  <a:pt x="2868382" y="1595905"/>
                  <a:pt x="2837773" y="1615762"/>
                  <a:pt x="2809448" y="1637010"/>
                </a:cubicBezTo>
                <a:cubicBezTo>
                  <a:pt x="2795272" y="1647670"/>
                  <a:pt x="2781668" y="1658636"/>
                  <a:pt x="2768721" y="1670074"/>
                </a:cubicBezTo>
                <a:cubicBezTo>
                  <a:pt x="2755726" y="1681535"/>
                  <a:pt x="2743487" y="1693350"/>
                  <a:pt x="2732025" y="1705779"/>
                </a:cubicBezTo>
                <a:cubicBezTo>
                  <a:pt x="2720588" y="1718160"/>
                  <a:pt x="2710046" y="1731060"/>
                  <a:pt x="2700801" y="1744267"/>
                </a:cubicBezTo>
                <a:cubicBezTo>
                  <a:pt x="2691532" y="1757450"/>
                  <a:pt x="2683702" y="1770892"/>
                  <a:pt x="2677453" y="1784051"/>
                </a:cubicBezTo>
                <a:cubicBezTo>
                  <a:pt x="2671180" y="1797211"/>
                  <a:pt x="2666511" y="1810064"/>
                  <a:pt x="2663044" y="1822280"/>
                </a:cubicBezTo>
                <a:cubicBezTo>
                  <a:pt x="2659600" y="1834496"/>
                  <a:pt x="2657385" y="1846146"/>
                  <a:pt x="2655874" y="1857324"/>
                </a:cubicBezTo>
                <a:cubicBezTo>
                  <a:pt x="2652927" y="1879625"/>
                  <a:pt x="2652879" y="1900025"/>
                  <a:pt x="2654035" y="1919504"/>
                </a:cubicBezTo>
                <a:cubicBezTo>
                  <a:pt x="2656511" y="1958370"/>
                  <a:pt x="2663680" y="1993815"/>
                  <a:pt x="2672548" y="2028412"/>
                </a:cubicBezTo>
                <a:cubicBezTo>
                  <a:pt x="2681604" y="2062749"/>
                  <a:pt x="2692382" y="2096496"/>
                  <a:pt x="2704527" y="2129678"/>
                </a:cubicBezTo>
                <a:cubicBezTo>
                  <a:pt x="2716720" y="2162765"/>
                  <a:pt x="2730257" y="2195287"/>
                  <a:pt x="2744807" y="2227289"/>
                </a:cubicBezTo>
                <a:cubicBezTo>
                  <a:pt x="2803101" y="2355370"/>
                  <a:pt x="2877341" y="2474536"/>
                  <a:pt x="2947149" y="2591037"/>
                </a:cubicBezTo>
                <a:cubicBezTo>
                  <a:pt x="3017213" y="2707561"/>
                  <a:pt x="3082445" y="2822034"/>
                  <a:pt x="3129256" y="2941436"/>
                </a:cubicBezTo>
                <a:cubicBezTo>
                  <a:pt x="3140999" y="2971269"/>
                  <a:pt x="3151659" y="3001385"/>
                  <a:pt x="3161092" y="3031878"/>
                </a:cubicBezTo>
                <a:cubicBezTo>
                  <a:pt x="3165808" y="3047112"/>
                  <a:pt x="3170218" y="3062441"/>
                  <a:pt x="3174322" y="3077865"/>
                </a:cubicBezTo>
                <a:cubicBezTo>
                  <a:pt x="3178402" y="3093336"/>
                  <a:pt x="3182175" y="3108924"/>
                  <a:pt x="3185595" y="3124583"/>
                </a:cubicBezTo>
                <a:cubicBezTo>
                  <a:pt x="3192458" y="3155902"/>
                  <a:pt x="3198117" y="3187574"/>
                  <a:pt x="3201491" y="3221605"/>
                </a:cubicBezTo>
                <a:cubicBezTo>
                  <a:pt x="3203165" y="3238632"/>
                  <a:pt x="3204296" y="3256154"/>
                  <a:pt x="3204368" y="3275021"/>
                </a:cubicBezTo>
                <a:cubicBezTo>
                  <a:pt x="3204438" y="3293840"/>
                  <a:pt x="3203518" y="3313980"/>
                  <a:pt x="3200358" y="3336549"/>
                </a:cubicBezTo>
                <a:cubicBezTo>
                  <a:pt x="3198778" y="3347822"/>
                  <a:pt x="3196538" y="3359755"/>
                  <a:pt x="3193495" y="3372207"/>
                </a:cubicBezTo>
                <a:cubicBezTo>
                  <a:pt x="3190477" y="3384635"/>
                  <a:pt x="3186610" y="3397583"/>
                  <a:pt x="3182034" y="3410412"/>
                </a:cubicBezTo>
                <a:cubicBezTo>
                  <a:pt x="3177459" y="3423265"/>
                  <a:pt x="3172176" y="3435953"/>
                  <a:pt x="3166492" y="3448145"/>
                </a:cubicBezTo>
                <a:cubicBezTo>
                  <a:pt x="3160810" y="3460361"/>
                  <a:pt x="3154725" y="3472035"/>
                  <a:pt x="3148404" y="3483284"/>
                </a:cubicBezTo>
                <a:cubicBezTo>
                  <a:pt x="3135740" y="3505783"/>
                  <a:pt x="3122162" y="3526441"/>
                  <a:pt x="3107892" y="3546016"/>
                </a:cubicBezTo>
                <a:cubicBezTo>
                  <a:pt x="3104334" y="3550897"/>
                  <a:pt x="3100698" y="3555732"/>
                  <a:pt x="3097045" y="3560472"/>
                </a:cubicBezTo>
                <a:cubicBezTo>
                  <a:pt x="3095205" y="3562830"/>
                  <a:pt x="3093366" y="3565212"/>
                  <a:pt x="3091527" y="3567547"/>
                </a:cubicBezTo>
                <a:cubicBezTo>
                  <a:pt x="3089662" y="3569905"/>
                  <a:pt x="3087823" y="3572122"/>
                  <a:pt x="3085935" y="3574410"/>
                </a:cubicBezTo>
                <a:cubicBezTo>
                  <a:pt x="3084076" y="3576674"/>
                  <a:pt x="3082185" y="3578938"/>
                  <a:pt x="3080277" y="3581178"/>
                </a:cubicBezTo>
                <a:cubicBezTo>
                  <a:pt x="3078389" y="3583395"/>
                  <a:pt x="3076479" y="3585612"/>
                  <a:pt x="3074571" y="3587805"/>
                </a:cubicBezTo>
                <a:cubicBezTo>
                  <a:pt x="3070747" y="3592215"/>
                  <a:pt x="3066856" y="3596601"/>
                  <a:pt x="3062919" y="3600941"/>
                </a:cubicBezTo>
                <a:cubicBezTo>
                  <a:pt x="2999810" y="3670181"/>
                  <a:pt x="2924674" y="3731238"/>
                  <a:pt x="2824872" y="3778522"/>
                </a:cubicBezTo>
                <a:cubicBezTo>
                  <a:pt x="2724007" y="3825146"/>
                  <a:pt x="2600925" y="3859790"/>
                  <a:pt x="2419783" y="3861040"/>
                </a:cubicBezTo>
                <a:cubicBezTo>
                  <a:pt x="2236306" y="3859036"/>
                  <a:pt x="1999884" y="3831632"/>
                  <a:pt x="1614629" y="3678294"/>
                </a:cubicBezTo>
                <a:cubicBezTo>
                  <a:pt x="2000097" y="3831632"/>
                  <a:pt x="2236565" y="3858918"/>
                  <a:pt x="2420066" y="3860804"/>
                </a:cubicBezTo>
                <a:cubicBezTo>
                  <a:pt x="2601256" y="3859437"/>
                  <a:pt x="2724313" y="3824651"/>
                  <a:pt x="2825154" y="3777909"/>
                </a:cubicBezTo>
                <a:cubicBezTo>
                  <a:pt x="2924932" y="3730507"/>
                  <a:pt x="3000045" y="3669309"/>
                  <a:pt x="3063108" y="3599950"/>
                </a:cubicBezTo>
                <a:cubicBezTo>
                  <a:pt x="3067045" y="3595588"/>
                  <a:pt x="3070913" y="3591201"/>
                  <a:pt x="3074734" y="3586791"/>
                </a:cubicBezTo>
                <a:cubicBezTo>
                  <a:pt x="3076643" y="3584574"/>
                  <a:pt x="3078558" y="3582357"/>
                  <a:pt x="3080440" y="3580140"/>
                </a:cubicBezTo>
                <a:cubicBezTo>
                  <a:pt x="3082330" y="3577900"/>
                  <a:pt x="3084214" y="3575636"/>
                  <a:pt x="3086077" y="3573372"/>
                </a:cubicBezTo>
                <a:cubicBezTo>
                  <a:pt x="3087942" y="3571085"/>
                  <a:pt x="3089782" y="3568868"/>
                  <a:pt x="3091647" y="3566533"/>
                </a:cubicBezTo>
                <a:cubicBezTo>
                  <a:pt x="3093486" y="3564175"/>
                  <a:pt x="3095325" y="3561816"/>
                  <a:pt x="3097165" y="3559458"/>
                </a:cubicBezTo>
                <a:cubicBezTo>
                  <a:pt x="3100817" y="3554718"/>
                  <a:pt x="3104428" y="3549883"/>
                  <a:pt x="3107986" y="3545001"/>
                </a:cubicBezTo>
                <a:cubicBezTo>
                  <a:pt x="3122205" y="3525451"/>
                  <a:pt x="3135740" y="3504816"/>
                  <a:pt x="3148286" y="3482435"/>
                </a:cubicBezTo>
                <a:cubicBezTo>
                  <a:pt x="3154559" y="3471257"/>
                  <a:pt x="3160596" y="3459630"/>
                  <a:pt x="3166210" y="3447579"/>
                </a:cubicBezTo>
                <a:cubicBezTo>
                  <a:pt x="3171823" y="3435528"/>
                  <a:pt x="3177011" y="3423005"/>
                  <a:pt x="3181515" y="3410365"/>
                </a:cubicBezTo>
                <a:cubicBezTo>
                  <a:pt x="3190594" y="3384989"/>
                  <a:pt x="3196467" y="3359779"/>
                  <a:pt x="3199556" y="3337634"/>
                </a:cubicBezTo>
                <a:cubicBezTo>
                  <a:pt x="3202693" y="3315325"/>
                  <a:pt x="3203612" y="3295349"/>
                  <a:pt x="3203542" y="3276648"/>
                </a:cubicBezTo>
                <a:cubicBezTo>
                  <a:pt x="3203471" y="3257923"/>
                  <a:pt x="3202339" y="3240471"/>
                  <a:pt x="3200664" y="3223491"/>
                </a:cubicBezTo>
                <a:cubicBezTo>
                  <a:pt x="3197317" y="3189602"/>
                  <a:pt x="3191680" y="3158001"/>
                  <a:pt x="3184816" y="3126777"/>
                </a:cubicBezTo>
                <a:cubicBezTo>
                  <a:pt x="3181397" y="3111141"/>
                  <a:pt x="3177624" y="3095623"/>
                  <a:pt x="3173567" y="3080176"/>
                </a:cubicBezTo>
                <a:cubicBezTo>
                  <a:pt x="3169487" y="3064800"/>
                  <a:pt x="3165077" y="3049518"/>
                  <a:pt x="3160362" y="3034307"/>
                </a:cubicBezTo>
                <a:cubicBezTo>
                  <a:pt x="3150951" y="3003908"/>
                  <a:pt x="3140315" y="2973863"/>
                  <a:pt x="3128596" y="2944101"/>
                </a:cubicBezTo>
                <a:cubicBezTo>
                  <a:pt x="3081855" y="2825006"/>
                  <a:pt x="3016698" y="2710863"/>
                  <a:pt x="2946539" y="2594668"/>
                </a:cubicBezTo>
                <a:cubicBezTo>
                  <a:pt x="2876637" y="2478497"/>
                  <a:pt x="2802111" y="2359685"/>
                  <a:pt x="2743204" y="2231911"/>
                </a:cubicBezTo>
                <a:cubicBezTo>
                  <a:pt x="2728488" y="2200003"/>
                  <a:pt x="2714763" y="2167553"/>
                  <a:pt x="2702382" y="2134536"/>
                </a:cubicBezTo>
                <a:cubicBezTo>
                  <a:pt x="2690024" y="2101425"/>
                  <a:pt x="2679033" y="2067725"/>
                  <a:pt x="2669718" y="2033459"/>
                </a:cubicBezTo>
                <a:cubicBezTo>
                  <a:pt x="2660591" y="1998886"/>
                  <a:pt x="2653139" y="1963440"/>
                  <a:pt x="2650285" y="1924339"/>
                </a:cubicBezTo>
                <a:cubicBezTo>
                  <a:pt x="2648964" y="1904718"/>
                  <a:pt x="2648799" y="1884153"/>
                  <a:pt x="2651629" y="1861325"/>
                </a:cubicBezTo>
                <a:cubicBezTo>
                  <a:pt x="2653091" y="1849919"/>
                  <a:pt x="2655262" y="1837986"/>
                  <a:pt x="2658728" y="1825298"/>
                </a:cubicBezTo>
                <a:cubicBezTo>
                  <a:pt x="2662218" y="1812611"/>
                  <a:pt x="2667006" y="1799192"/>
                  <a:pt x="2673538" y="1785325"/>
                </a:cubicBezTo>
                <a:cubicBezTo>
                  <a:pt x="2680047" y="1771458"/>
                  <a:pt x="2688278" y="1757214"/>
                  <a:pt x="2697970" y="1743370"/>
                </a:cubicBezTo>
                <a:cubicBezTo>
                  <a:pt x="2707641" y="1729503"/>
                  <a:pt x="2718654" y="1716037"/>
                  <a:pt x="2730468" y="1703255"/>
                </a:cubicBezTo>
                <a:cubicBezTo>
                  <a:pt x="2742283" y="1690450"/>
                  <a:pt x="2755019" y="1678210"/>
                  <a:pt x="2768248" y="1666583"/>
                </a:cubicBezTo>
                <a:cubicBezTo>
                  <a:pt x="2781526" y="1654886"/>
                  <a:pt x="2795392" y="1643755"/>
                  <a:pt x="2809824" y="1632977"/>
                </a:cubicBezTo>
                <a:cubicBezTo>
                  <a:pt x="2838688" y="1611446"/>
                  <a:pt x="2869677" y="1591470"/>
                  <a:pt x="2902858" y="1572485"/>
                </a:cubicBezTo>
                <a:cubicBezTo>
                  <a:pt x="2936068" y="1553501"/>
                  <a:pt x="2971487" y="1535554"/>
                  <a:pt x="3009360" y="1518456"/>
                </a:cubicBezTo>
                <a:cubicBezTo>
                  <a:pt x="3160785" y="1450631"/>
                  <a:pt x="3351408" y="1394078"/>
                  <a:pt x="3603324" y="1354788"/>
                </a:cubicBezTo>
                <a:cubicBezTo>
                  <a:pt x="3793110" y="1325763"/>
                  <a:pt x="4016020" y="1305533"/>
                  <a:pt x="4289416" y="1302883"/>
                </a:cubicBezTo>
                <a:close/>
                <a:moveTo>
                  <a:pt x="4397046" y="1260519"/>
                </a:moveTo>
                <a:cubicBezTo>
                  <a:pt x="4445548" y="1260618"/>
                  <a:pt x="4495539" y="1261219"/>
                  <a:pt x="4547101" y="1262360"/>
                </a:cubicBezTo>
                <a:cubicBezTo>
                  <a:pt x="4960680" y="1274388"/>
                  <a:pt x="5470809" y="1313630"/>
                  <a:pt x="6148261" y="1469563"/>
                </a:cubicBezTo>
                <a:cubicBezTo>
                  <a:pt x="6139252" y="1469397"/>
                  <a:pt x="6130290" y="1469185"/>
                  <a:pt x="6121352" y="1469020"/>
                </a:cubicBezTo>
                <a:cubicBezTo>
                  <a:pt x="5449702" y="1315611"/>
                  <a:pt x="4943559" y="1277241"/>
                  <a:pt x="4533093" y="1265851"/>
                </a:cubicBezTo>
                <a:cubicBezTo>
                  <a:pt x="4123712" y="1257314"/>
                  <a:pt x="3813899" y="1282972"/>
                  <a:pt x="3562573" y="1323889"/>
                </a:cubicBezTo>
                <a:cubicBezTo>
                  <a:pt x="3312355" y="1365325"/>
                  <a:pt x="3122958" y="1423457"/>
                  <a:pt x="2972426" y="1492415"/>
                </a:cubicBezTo>
                <a:cubicBezTo>
                  <a:pt x="2934787" y="1509772"/>
                  <a:pt x="2899625" y="1527956"/>
                  <a:pt x="2866655" y="1547104"/>
                </a:cubicBezTo>
                <a:cubicBezTo>
                  <a:pt x="2833709" y="1566277"/>
                  <a:pt x="2802957" y="1586371"/>
                  <a:pt x="2774447" y="1607878"/>
                </a:cubicBezTo>
                <a:cubicBezTo>
                  <a:pt x="2760179" y="1618656"/>
                  <a:pt x="2746477" y="1629741"/>
                  <a:pt x="2733412" y="1641319"/>
                </a:cubicBezTo>
                <a:cubicBezTo>
                  <a:pt x="2720300" y="1652923"/>
                  <a:pt x="2707942" y="1664855"/>
                  <a:pt x="2696339" y="1677426"/>
                </a:cubicBezTo>
                <a:cubicBezTo>
                  <a:pt x="2684760" y="1689949"/>
                  <a:pt x="2674053" y="1703014"/>
                  <a:pt x="2664667" y="1716385"/>
                </a:cubicBezTo>
                <a:cubicBezTo>
                  <a:pt x="2655234" y="1729734"/>
                  <a:pt x="2647215" y="1743388"/>
                  <a:pt x="2640777" y="1756760"/>
                </a:cubicBezTo>
                <a:cubicBezTo>
                  <a:pt x="2634339" y="1770132"/>
                  <a:pt x="2629457" y="1783197"/>
                  <a:pt x="2625802" y="1795625"/>
                </a:cubicBezTo>
                <a:cubicBezTo>
                  <a:pt x="2622194" y="1808053"/>
                  <a:pt x="2619765" y="1819916"/>
                  <a:pt x="2618090" y="1831330"/>
                </a:cubicBezTo>
                <a:cubicBezTo>
                  <a:pt x="2614789" y="1854088"/>
                  <a:pt x="2614435" y="1874956"/>
                  <a:pt x="2615307" y="1894860"/>
                </a:cubicBezTo>
                <a:cubicBezTo>
                  <a:pt x="2617218" y="1934598"/>
                  <a:pt x="2623892" y="1970893"/>
                  <a:pt x="2632358" y="2006315"/>
                </a:cubicBezTo>
                <a:cubicBezTo>
                  <a:pt x="2641013" y="2041454"/>
                  <a:pt x="2651461" y="2075980"/>
                  <a:pt x="2663323" y="2109916"/>
                </a:cubicBezTo>
                <a:cubicBezTo>
                  <a:pt x="2675256" y="2143758"/>
                  <a:pt x="2688604" y="2176963"/>
                  <a:pt x="2703037" y="2209602"/>
                </a:cubicBezTo>
                <a:cubicBezTo>
                  <a:pt x="2760863" y="2340277"/>
                  <a:pt x="2835788" y="2461188"/>
                  <a:pt x="2907195" y="2578255"/>
                </a:cubicBezTo>
                <a:cubicBezTo>
                  <a:pt x="2978842" y="2695346"/>
                  <a:pt x="3046622" y="2809205"/>
                  <a:pt x="3096429" y="2927051"/>
                </a:cubicBezTo>
                <a:cubicBezTo>
                  <a:pt x="3108927" y="2956506"/>
                  <a:pt x="3120365" y="2986174"/>
                  <a:pt x="3130599" y="3016172"/>
                </a:cubicBezTo>
                <a:cubicBezTo>
                  <a:pt x="3135716" y="3031171"/>
                  <a:pt x="3140551" y="3046240"/>
                  <a:pt x="3145055" y="3061381"/>
                </a:cubicBezTo>
                <a:cubicBezTo>
                  <a:pt x="3149560" y="3076592"/>
                  <a:pt x="3153734" y="3091898"/>
                  <a:pt x="3157578" y="3107274"/>
                </a:cubicBezTo>
                <a:cubicBezTo>
                  <a:pt x="3165290" y="3138003"/>
                  <a:pt x="3171799" y="3169085"/>
                  <a:pt x="3176044" y="3202455"/>
                </a:cubicBezTo>
                <a:cubicBezTo>
                  <a:pt x="3178143" y="3219152"/>
                  <a:pt x="3179746" y="3236345"/>
                  <a:pt x="3180265" y="3254858"/>
                </a:cubicBezTo>
                <a:cubicBezTo>
                  <a:pt x="3180784" y="3273323"/>
                  <a:pt x="3180359" y="3293086"/>
                  <a:pt x="3177647" y="3315278"/>
                </a:cubicBezTo>
                <a:cubicBezTo>
                  <a:pt x="3176303" y="3326362"/>
                  <a:pt x="3174298" y="3338106"/>
                  <a:pt x="3171469" y="3350370"/>
                </a:cubicBezTo>
                <a:cubicBezTo>
                  <a:pt x="3168686" y="3362609"/>
                  <a:pt x="3165007" y="3375368"/>
                  <a:pt x="3160620" y="3388032"/>
                </a:cubicBezTo>
                <a:cubicBezTo>
                  <a:pt x="3156210" y="3400696"/>
                  <a:pt x="3151116" y="3413219"/>
                  <a:pt x="3145551" y="3425246"/>
                </a:cubicBezTo>
                <a:cubicBezTo>
                  <a:pt x="3140008" y="3437297"/>
                  <a:pt x="3134019" y="3448830"/>
                  <a:pt x="3127792" y="3459914"/>
                </a:cubicBezTo>
                <a:cubicBezTo>
                  <a:pt x="3115293" y="3482105"/>
                  <a:pt x="3101804" y="3502481"/>
                  <a:pt x="3087559" y="3521749"/>
                </a:cubicBezTo>
                <a:cubicBezTo>
                  <a:pt x="3083999" y="3526560"/>
                  <a:pt x="3080390" y="3531300"/>
                  <a:pt x="3076736" y="3535993"/>
                </a:cubicBezTo>
                <a:cubicBezTo>
                  <a:pt x="3074896" y="3538328"/>
                  <a:pt x="3073057" y="3540639"/>
                  <a:pt x="3071218" y="3542950"/>
                </a:cubicBezTo>
                <a:cubicBezTo>
                  <a:pt x="3069353" y="3545261"/>
                  <a:pt x="3067490" y="3547454"/>
                  <a:pt x="3065630" y="3549695"/>
                </a:cubicBezTo>
                <a:cubicBezTo>
                  <a:pt x="3063741" y="3551912"/>
                  <a:pt x="3061854" y="3554152"/>
                  <a:pt x="3059943" y="3556345"/>
                </a:cubicBezTo>
                <a:cubicBezTo>
                  <a:pt x="3058060" y="3558515"/>
                  <a:pt x="3056147" y="3560708"/>
                  <a:pt x="3054213" y="3562854"/>
                </a:cubicBezTo>
                <a:cubicBezTo>
                  <a:pt x="3050370" y="3567194"/>
                  <a:pt x="3046478" y="3571486"/>
                  <a:pt x="3042516" y="3575754"/>
                </a:cubicBezTo>
                <a:cubicBezTo>
                  <a:pt x="2979076" y="3643650"/>
                  <a:pt x="2902952" y="3702986"/>
                  <a:pt x="2800835" y="3747652"/>
                </a:cubicBezTo>
                <a:cubicBezTo>
                  <a:pt x="2697636" y="3791588"/>
                  <a:pt x="2570924" y="3822930"/>
                  <a:pt x="2383060" y="3817883"/>
                </a:cubicBezTo>
                <a:cubicBezTo>
                  <a:pt x="2192955" y="3809393"/>
                  <a:pt x="1946346" y="3772745"/>
                  <a:pt x="1546445" y="3599998"/>
                </a:cubicBezTo>
                <a:cubicBezTo>
                  <a:pt x="1946581" y="3772745"/>
                  <a:pt x="2193215" y="3809275"/>
                  <a:pt x="2383366" y="3817648"/>
                </a:cubicBezTo>
                <a:cubicBezTo>
                  <a:pt x="2571254" y="3822576"/>
                  <a:pt x="2697919" y="3791116"/>
                  <a:pt x="2801118" y="3747063"/>
                </a:cubicBezTo>
                <a:cubicBezTo>
                  <a:pt x="2903209" y="3702255"/>
                  <a:pt x="2979289" y="3642802"/>
                  <a:pt x="3042660" y="3574787"/>
                </a:cubicBezTo>
                <a:cubicBezTo>
                  <a:pt x="3046597" y="3570519"/>
                  <a:pt x="3050510" y="3566203"/>
                  <a:pt x="3054331" y="3561887"/>
                </a:cubicBezTo>
                <a:cubicBezTo>
                  <a:pt x="3056241" y="3559718"/>
                  <a:pt x="3058154" y="3557548"/>
                  <a:pt x="3060062" y="3555355"/>
                </a:cubicBezTo>
                <a:cubicBezTo>
                  <a:pt x="3061948" y="3553138"/>
                  <a:pt x="3063835" y="3550945"/>
                  <a:pt x="3065700" y="3548704"/>
                </a:cubicBezTo>
                <a:cubicBezTo>
                  <a:pt x="3067564" y="3546464"/>
                  <a:pt x="3069424" y="3544294"/>
                  <a:pt x="3071264" y="3541983"/>
                </a:cubicBezTo>
                <a:cubicBezTo>
                  <a:pt x="3073126" y="3539672"/>
                  <a:pt x="3074942" y="3537337"/>
                  <a:pt x="3076782" y="3535026"/>
                </a:cubicBezTo>
                <a:cubicBezTo>
                  <a:pt x="3080440" y="3530357"/>
                  <a:pt x="3084024" y="3525616"/>
                  <a:pt x="3087583" y="3520806"/>
                </a:cubicBezTo>
                <a:cubicBezTo>
                  <a:pt x="3101783" y="3501538"/>
                  <a:pt x="3115199" y="3481209"/>
                  <a:pt x="3127604" y="3459135"/>
                </a:cubicBezTo>
                <a:cubicBezTo>
                  <a:pt x="3133782" y="3448098"/>
                  <a:pt x="3139725" y="3436637"/>
                  <a:pt x="3145197" y="3424727"/>
                </a:cubicBezTo>
                <a:cubicBezTo>
                  <a:pt x="3150668" y="3412818"/>
                  <a:pt x="3155715" y="3400460"/>
                  <a:pt x="3160054" y="3388008"/>
                </a:cubicBezTo>
                <a:cubicBezTo>
                  <a:pt x="3168780" y="3362987"/>
                  <a:pt x="3174180" y="3338153"/>
                  <a:pt x="3176822" y="3316386"/>
                </a:cubicBezTo>
                <a:cubicBezTo>
                  <a:pt x="3179510" y="3294454"/>
                  <a:pt x="3179958" y="3274856"/>
                  <a:pt x="3179416" y="3256485"/>
                </a:cubicBezTo>
                <a:cubicBezTo>
                  <a:pt x="3178873" y="3238090"/>
                  <a:pt x="3177317" y="3220992"/>
                  <a:pt x="3175218" y="3204342"/>
                </a:cubicBezTo>
                <a:cubicBezTo>
                  <a:pt x="3170997" y="3171113"/>
                  <a:pt x="3164511" y="3140125"/>
                  <a:pt x="3156800" y="3109467"/>
                </a:cubicBezTo>
                <a:cubicBezTo>
                  <a:pt x="3152956" y="3094138"/>
                  <a:pt x="3148782" y="3078880"/>
                  <a:pt x="3144301" y="3063715"/>
                </a:cubicBezTo>
                <a:cubicBezTo>
                  <a:pt x="3139796" y="3048598"/>
                  <a:pt x="3134985" y="3033576"/>
                  <a:pt x="3129870" y="3018624"/>
                </a:cubicBezTo>
                <a:cubicBezTo>
                  <a:pt x="3119656" y="2988721"/>
                  <a:pt x="3108243" y="2959124"/>
                  <a:pt x="3095769" y="2929739"/>
                </a:cubicBezTo>
                <a:cubicBezTo>
                  <a:pt x="3046032" y="2812200"/>
                  <a:pt x="2978322" y="2698694"/>
                  <a:pt x="2906561" y="2581910"/>
                </a:cubicBezTo>
                <a:cubicBezTo>
                  <a:pt x="2835054" y="2465197"/>
                  <a:pt x="2759849" y="2344640"/>
                  <a:pt x="2701386" y="2214271"/>
                </a:cubicBezTo>
                <a:cubicBezTo>
                  <a:pt x="2686788" y="2181703"/>
                  <a:pt x="2673251" y="2148569"/>
                  <a:pt x="2661130" y="2114821"/>
                </a:cubicBezTo>
                <a:cubicBezTo>
                  <a:pt x="2649031" y="2080956"/>
                  <a:pt x="2638372" y="2046501"/>
                  <a:pt x="2629457" y="2011409"/>
                </a:cubicBezTo>
                <a:cubicBezTo>
                  <a:pt x="2620755" y="1976010"/>
                  <a:pt x="2613751" y="1939716"/>
                  <a:pt x="2611487" y="1899742"/>
                </a:cubicBezTo>
                <a:cubicBezTo>
                  <a:pt x="2610449" y="1879673"/>
                  <a:pt x="2610614" y="1858663"/>
                  <a:pt x="2613774" y="1835386"/>
                </a:cubicBezTo>
                <a:cubicBezTo>
                  <a:pt x="2615402" y="1823760"/>
                  <a:pt x="2617760" y="1811591"/>
                  <a:pt x="2621416" y="1798667"/>
                </a:cubicBezTo>
                <a:cubicBezTo>
                  <a:pt x="2625094" y="1785744"/>
                  <a:pt x="2630094" y="1772113"/>
                  <a:pt x="2636792" y="1758034"/>
                </a:cubicBezTo>
                <a:cubicBezTo>
                  <a:pt x="2643489" y="1743954"/>
                  <a:pt x="2651932" y="1729498"/>
                  <a:pt x="2661790" y="1715466"/>
                </a:cubicBezTo>
                <a:cubicBezTo>
                  <a:pt x="2671624" y="1701434"/>
                  <a:pt x="2682802" y="1687779"/>
                  <a:pt x="2694783" y="1674855"/>
                </a:cubicBezTo>
                <a:cubicBezTo>
                  <a:pt x="2706740" y="1661907"/>
                  <a:pt x="2719592" y="1649527"/>
                  <a:pt x="2732940" y="1637759"/>
                </a:cubicBezTo>
                <a:cubicBezTo>
                  <a:pt x="2746336" y="1625919"/>
                  <a:pt x="2760321" y="1614671"/>
                  <a:pt x="2774824" y="1603752"/>
                </a:cubicBezTo>
                <a:cubicBezTo>
                  <a:pt x="2803878" y="1581984"/>
                  <a:pt x="2835009" y="1561749"/>
                  <a:pt x="2868331" y="1542482"/>
                </a:cubicBezTo>
                <a:cubicBezTo>
                  <a:pt x="2901653" y="1523238"/>
                  <a:pt x="2937196" y="1505008"/>
                  <a:pt x="2975138" y="1487627"/>
                </a:cubicBezTo>
                <a:cubicBezTo>
                  <a:pt x="3126876" y="1418646"/>
                  <a:pt x="3317590" y="1360608"/>
                  <a:pt x="3569530" y="1319361"/>
                </a:cubicBezTo>
                <a:cubicBezTo>
                  <a:pt x="3790988" y="1283724"/>
                  <a:pt x="4057532" y="1259823"/>
                  <a:pt x="4397046" y="1260519"/>
                </a:cubicBezTo>
                <a:close/>
                <a:moveTo>
                  <a:pt x="4364195" y="1218053"/>
                </a:moveTo>
                <a:cubicBezTo>
                  <a:pt x="4412701" y="1217713"/>
                  <a:pt x="4462700" y="1217850"/>
                  <a:pt x="4514273" y="1218498"/>
                </a:cubicBezTo>
                <a:cubicBezTo>
                  <a:pt x="4928087" y="1226446"/>
                  <a:pt x="5438240" y="1260052"/>
                  <a:pt x="6118687" y="1402778"/>
                </a:cubicBezTo>
                <a:cubicBezTo>
                  <a:pt x="6109725" y="1402637"/>
                  <a:pt x="6100787" y="1402589"/>
                  <a:pt x="6091896" y="1402542"/>
                </a:cubicBezTo>
                <a:cubicBezTo>
                  <a:pt x="5417180" y="1262151"/>
                  <a:pt x="4910966" y="1229347"/>
                  <a:pt x="4500241" y="1222012"/>
                </a:cubicBezTo>
                <a:cubicBezTo>
                  <a:pt x="4090742" y="1217366"/>
                  <a:pt x="3781118" y="1245171"/>
                  <a:pt x="3529862" y="1287951"/>
                </a:cubicBezTo>
                <a:cubicBezTo>
                  <a:pt x="3279715" y="1331180"/>
                  <a:pt x="3090296" y="1390656"/>
                  <a:pt x="2939413" y="1460628"/>
                </a:cubicBezTo>
                <a:cubicBezTo>
                  <a:pt x="2901703" y="1478245"/>
                  <a:pt x="2866423" y="1496664"/>
                  <a:pt x="2833310" y="1516049"/>
                </a:cubicBezTo>
                <a:cubicBezTo>
                  <a:pt x="2800225" y="1535435"/>
                  <a:pt x="2769309" y="1555764"/>
                  <a:pt x="2740584" y="1577460"/>
                </a:cubicBezTo>
                <a:cubicBezTo>
                  <a:pt x="2726223" y="1588356"/>
                  <a:pt x="2712402" y="1599534"/>
                  <a:pt x="2699219" y="1611231"/>
                </a:cubicBezTo>
                <a:cubicBezTo>
                  <a:pt x="2685989" y="1622952"/>
                  <a:pt x="2673466" y="1635003"/>
                  <a:pt x="2661722" y="1647714"/>
                </a:cubicBezTo>
                <a:cubicBezTo>
                  <a:pt x="2649977" y="1660379"/>
                  <a:pt x="2639129" y="1673563"/>
                  <a:pt x="2629530" y="1687098"/>
                </a:cubicBezTo>
                <a:cubicBezTo>
                  <a:pt x="2619910" y="1700612"/>
                  <a:pt x="2611702" y="1714431"/>
                  <a:pt x="2605051" y="1728016"/>
                </a:cubicBezTo>
                <a:cubicBezTo>
                  <a:pt x="2598401" y="1741576"/>
                  <a:pt x="2593307" y="1754853"/>
                  <a:pt x="2589463" y="1767518"/>
                </a:cubicBezTo>
                <a:cubicBezTo>
                  <a:pt x="2585642" y="1780158"/>
                  <a:pt x="2583048" y="1792256"/>
                  <a:pt x="2581161" y="1803883"/>
                </a:cubicBezTo>
                <a:cubicBezTo>
                  <a:pt x="2577506" y="1827088"/>
                  <a:pt x="2576798" y="1848408"/>
                  <a:pt x="2577342" y="1868777"/>
                </a:cubicBezTo>
                <a:cubicBezTo>
                  <a:pt x="2578614" y="1909411"/>
                  <a:pt x="2584746" y="1946601"/>
                  <a:pt x="2592741" y="1982872"/>
                </a:cubicBezTo>
                <a:cubicBezTo>
                  <a:pt x="2600948" y="2018860"/>
                  <a:pt x="2610970" y="2054235"/>
                  <a:pt x="2622527" y="2088926"/>
                </a:cubicBezTo>
                <a:cubicBezTo>
                  <a:pt x="2634129" y="2123546"/>
                  <a:pt x="2647241" y="2157506"/>
                  <a:pt x="2661509" y="2190853"/>
                </a:cubicBezTo>
                <a:cubicBezTo>
                  <a:pt x="2718628" y="2324357"/>
                  <a:pt x="2794044" y="2447273"/>
                  <a:pt x="2866893" y="2565165"/>
                </a:cubicBezTo>
                <a:cubicBezTo>
                  <a:pt x="2939978" y="2683105"/>
                  <a:pt x="3010113" y="2796611"/>
                  <a:pt x="3062800" y="2913136"/>
                </a:cubicBezTo>
                <a:cubicBezTo>
                  <a:pt x="3076008" y="2942261"/>
                  <a:pt x="3088199" y="2971552"/>
                  <a:pt x="3099211" y="3001101"/>
                </a:cubicBezTo>
                <a:cubicBezTo>
                  <a:pt x="3104710" y="3015864"/>
                  <a:pt x="3109941" y="3030722"/>
                  <a:pt x="3114847" y="3045626"/>
                </a:cubicBezTo>
                <a:cubicBezTo>
                  <a:pt x="3119728" y="3060602"/>
                  <a:pt x="3124326" y="3075624"/>
                  <a:pt x="3128572" y="3090741"/>
                </a:cubicBezTo>
                <a:cubicBezTo>
                  <a:pt x="3137107" y="3120951"/>
                  <a:pt x="3144418" y="3151444"/>
                  <a:pt x="3149535" y="3184201"/>
                </a:cubicBezTo>
                <a:cubicBezTo>
                  <a:pt x="3152059" y="3200592"/>
                  <a:pt x="3154087" y="3217454"/>
                  <a:pt x="3155054" y="3235613"/>
                </a:cubicBezTo>
                <a:cubicBezTo>
                  <a:pt x="3156021" y="3253748"/>
                  <a:pt x="3156021" y="3273157"/>
                  <a:pt x="3153781" y="3294972"/>
                </a:cubicBezTo>
                <a:cubicBezTo>
                  <a:pt x="3152648" y="3305867"/>
                  <a:pt x="3150880" y="3317423"/>
                  <a:pt x="3148262" y="3329498"/>
                </a:cubicBezTo>
                <a:cubicBezTo>
                  <a:pt x="3145691" y="3341549"/>
                  <a:pt x="3142201" y="3354119"/>
                  <a:pt x="3138003" y="3366571"/>
                </a:cubicBezTo>
                <a:cubicBezTo>
                  <a:pt x="3133788" y="3379046"/>
                  <a:pt x="3128809" y="3391380"/>
                  <a:pt x="3123385" y="3403242"/>
                </a:cubicBezTo>
                <a:cubicBezTo>
                  <a:pt x="3117962" y="3415105"/>
                  <a:pt x="3112067" y="3426472"/>
                  <a:pt x="3105909" y="3437414"/>
                </a:cubicBezTo>
                <a:cubicBezTo>
                  <a:pt x="3093575" y="3459276"/>
                  <a:pt x="3080132" y="3479322"/>
                  <a:pt x="3065939" y="3498259"/>
                </a:cubicBezTo>
                <a:cubicBezTo>
                  <a:pt x="3062374" y="3502999"/>
                  <a:pt x="3058766" y="3507645"/>
                  <a:pt x="3055110" y="3512244"/>
                </a:cubicBezTo>
                <a:cubicBezTo>
                  <a:pt x="3053271" y="3514532"/>
                  <a:pt x="3051431" y="3516819"/>
                  <a:pt x="3049568" y="3519083"/>
                </a:cubicBezTo>
                <a:cubicBezTo>
                  <a:pt x="3047709" y="3521347"/>
                  <a:pt x="3045844" y="3523493"/>
                  <a:pt x="3043955" y="3525710"/>
                </a:cubicBezTo>
                <a:cubicBezTo>
                  <a:pt x="3042071" y="3527903"/>
                  <a:pt x="3040182" y="3530073"/>
                  <a:pt x="3038273" y="3532243"/>
                </a:cubicBezTo>
                <a:cubicBezTo>
                  <a:pt x="3036365" y="3534389"/>
                  <a:pt x="3034451" y="3536511"/>
                  <a:pt x="3032518" y="3538634"/>
                </a:cubicBezTo>
                <a:cubicBezTo>
                  <a:pt x="3028650" y="3542879"/>
                  <a:pt x="3024739" y="3547076"/>
                  <a:pt x="3020752" y="3551251"/>
                </a:cubicBezTo>
                <a:cubicBezTo>
                  <a:pt x="2956910" y="3617661"/>
                  <a:pt x="2879726" y="3675110"/>
                  <a:pt x="2775158" y="3716994"/>
                </a:cubicBezTo>
                <a:cubicBezTo>
                  <a:pt x="2669457" y="3758052"/>
                  <a:pt x="2538971" y="3785809"/>
                  <a:pt x="2344244" y="3774018"/>
                </a:cubicBezTo>
                <a:cubicBezTo>
                  <a:pt x="2147396" y="3758642"/>
                  <a:pt x="1890433" y="3711970"/>
                  <a:pt x="1476760" y="3519272"/>
                </a:cubicBezTo>
                <a:cubicBezTo>
                  <a:pt x="1890669" y="3711994"/>
                  <a:pt x="2147678" y="3758547"/>
                  <a:pt x="2344551" y="3773805"/>
                </a:cubicBezTo>
                <a:cubicBezTo>
                  <a:pt x="2539277" y="3785479"/>
                  <a:pt x="2669764" y="3757604"/>
                  <a:pt x="2775417" y="3716428"/>
                </a:cubicBezTo>
                <a:cubicBezTo>
                  <a:pt x="2879934" y="3674426"/>
                  <a:pt x="2957098" y="3616859"/>
                  <a:pt x="3020867" y="3550331"/>
                </a:cubicBezTo>
                <a:cubicBezTo>
                  <a:pt x="3024833" y="3546157"/>
                  <a:pt x="3028744" y="3541935"/>
                  <a:pt x="3032612" y="3537690"/>
                </a:cubicBezTo>
                <a:cubicBezTo>
                  <a:pt x="3034546" y="3535568"/>
                  <a:pt x="3036459" y="3533445"/>
                  <a:pt x="3038367" y="3531299"/>
                </a:cubicBezTo>
                <a:cubicBezTo>
                  <a:pt x="3040277" y="3529130"/>
                  <a:pt x="3042165" y="3526960"/>
                  <a:pt x="3044026" y="3524790"/>
                </a:cubicBezTo>
                <a:cubicBezTo>
                  <a:pt x="3045889" y="3522597"/>
                  <a:pt x="3047752" y="3520451"/>
                  <a:pt x="3049617" y="3518187"/>
                </a:cubicBezTo>
                <a:cubicBezTo>
                  <a:pt x="3051482" y="3515923"/>
                  <a:pt x="3053321" y="3513635"/>
                  <a:pt x="3055134" y="3511348"/>
                </a:cubicBezTo>
                <a:cubicBezTo>
                  <a:pt x="3058789" y="3506749"/>
                  <a:pt x="3062374" y="3502103"/>
                  <a:pt x="3065939" y="3497387"/>
                </a:cubicBezTo>
                <a:cubicBezTo>
                  <a:pt x="3080109" y="3478473"/>
                  <a:pt x="3093480" y="3458451"/>
                  <a:pt x="3105720" y="3436707"/>
                </a:cubicBezTo>
                <a:cubicBezTo>
                  <a:pt x="3111828" y="3425835"/>
                  <a:pt x="3117653" y="3414539"/>
                  <a:pt x="3123030" y="3402818"/>
                </a:cubicBezTo>
                <a:cubicBezTo>
                  <a:pt x="3128382" y="3391097"/>
                  <a:pt x="3133292" y="3378905"/>
                  <a:pt x="3137437" y="3366641"/>
                </a:cubicBezTo>
                <a:cubicBezTo>
                  <a:pt x="3145809" y="3341997"/>
                  <a:pt x="3150785" y="3317565"/>
                  <a:pt x="3152955" y="3296151"/>
                </a:cubicBezTo>
                <a:cubicBezTo>
                  <a:pt x="3155195" y="3274596"/>
                  <a:pt x="3155195" y="3255328"/>
                  <a:pt x="3154229" y="3237311"/>
                </a:cubicBezTo>
                <a:cubicBezTo>
                  <a:pt x="3153262" y="3219270"/>
                  <a:pt x="3151257" y="3202478"/>
                  <a:pt x="3148734" y="3186159"/>
                </a:cubicBezTo>
                <a:cubicBezTo>
                  <a:pt x="3143640" y="3153543"/>
                  <a:pt x="3136353" y="3123145"/>
                  <a:pt x="3127842" y="3093005"/>
                </a:cubicBezTo>
                <a:cubicBezTo>
                  <a:pt x="3123599" y="3077935"/>
                  <a:pt x="3119022" y="3062937"/>
                  <a:pt x="3114139" y="3048008"/>
                </a:cubicBezTo>
                <a:cubicBezTo>
                  <a:pt x="3109235" y="3033151"/>
                  <a:pt x="3104045" y="3018341"/>
                  <a:pt x="3098551" y="3003601"/>
                </a:cubicBezTo>
                <a:cubicBezTo>
                  <a:pt x="3087561" y="2974122"/>
                  <a:pt x="3075393" y="2944926"/>
                  <a:pt x="3062209" y="2915872"/>
                </a:cubicBezTo>
                <a:cubicBezTo>
                  <a:pt x="3009597" y="2799653"/>
                  <a:pt x="2939533" y="2686501"/>
                  <a:pt x="2866329" y="2568892"/>
                </a:cubicBezTo>
                <a:cubicBezTo>
                  <a:pt x="2793364" y="2451353"/>
                  <a:pt x="2717661" y="2328791"/>
                  <a:pt x="2659858" y="2195616"/>
                </a:cubicBezTo>
                <a:cubicBezTo>
                  <a:pt x="2645426" y="2162364"/>
                  <a:pt x="2632126" y="2128451"/>
                  <a:pt x="2620309" y="2093926"/>
                </a:cubicBezTo>
                <a:cubicBezTo>
                  <a:pt x="2608541" y="2059282"/>
                  <a:pt x="2598259" y="2023978"/>
                  <a:pt x="2589793" y="1988037"/>
                </a:cubicBezTo>
                <a:cubicBezTo>
                  <a:pt x="2581539" y="1951790"/>
                  <a:pt x="2575077" y="1914622"/>
                  <a:pt x="2573473" y="1873729"/>
                </a:cubicBezTo>
                <a:cubicBezTo>
                  <a:pt x="2572766" y="1853219"/>
                  <a:pt x="2573261" y="1831734"/>
                  <a:pt x="2576822" y="1808010"/>
                </a:cubicBezTo>
                <a:cubicBezTo>
                  <a:pt x="2578638" y="1796147"/>
                  <a:pt x="2581208" y="1783766"/>
                  <a:pt x="2585076" y="1770607"/>
                </a:cubicBezTo>
                <a:cubicBezTo>
                  <a:pt x="2588967" y="1757471"/>
                  <a:pt x="2594179" y="1743605"/>
                  <a:pt x="2601113" y="1729312"/>
                </a:cubicBezTo>
                <a:cubicBezTo>
                  <a:pt x="2608023" y="1715021"/>
                  <a:pt x="2616678" y="1700399"/>
                  <a:pt x="2626748" y="1686179"/>
                </a:cubicBezTo>
                <a:cubicBezTo>
                  <a:pt x="2636770" y="1671958"/>
                  <a:pt x="2648138" y="1658185"/>
                  <a:pt x="2660259" y="1645120"/>
                </a:cubicBezTo>
                <a:cubicBezTo>
                  <a:pt x="2672381" y="1632032"/>
                  <a:pt x="2685376" y="1619532"/>
                  <a:pt x="2698842" y="1607670"/>
                </a:cubicBezTo>
                <a:cubicBezTo>
                  <a:pt x="2712356" y="1595713"/>
                  <a:pt x="2726458" y="1584370"/>
                  <a:pt x="2741080" y="1573357"/>
                </a:cubicBezTo>
                <a:cubicBezTo>
                  <a:pt x="2770322" y="1551377"/>
                  <a:pt x="2801638" y="1530930"/>
                  <a:pt x="2835079" y="1511451"/>
                </a:cubicBezTo>
                <a:cubicBezTo>
                  <a:pt x="2868544" y="1491971"/>
                  <a:pt x="2904178" y="1473528"/>
                  <a:pt x="2942219" y="1455865"/>
                </a:cubicBezTo>
                <a:cubicBezTo>
                  <a:pt x="3094307" y="1385869"/>
                  <a:pt x="3285045" y="1326510"/>
                  <a:pt x="3536890" y="1283447"/>
                </a:cubicBezTo>
                <a:cubicBezTo>
                  <a:pt x="3758266" y="1246180"/>
                  <a:pt x="4024655" y="1220432"/>
                  <a:pt x="4364195" y="1218053"/>
                </a:cubicBezTo>
                <a:close/>
                <a:moveTo>
                  <a:pt x="4481657" y="1174396"/>
                </a:moveTo>
                <a:cubicBezTo>
                  <a:pt x="4895213" y="1178547"/>
                  <a:pt x="5404823" y="1207106"/>
                  <a:pt x="6086543" y="1337192"/>
                </a:cubicBezTo>
                <a:cubicBezTo>
                  <a:pt x="6077629" y="1337262"/>
                  <a:pt x="6068761" y="1337357"/>
                  <a:pt x="6059918" y="1337475"/>
                </a:cubicBezTo>
                <a:cubicBezTo>
                  <a:pt x="5383881" y="1209535"/>
                  <a:pt x="4878139" y="1181731"/>
                  <a:pt x="4467649" y="1178169"/>
                </a:cubicBezTo>
                <a:cubicBezTo>
                  <a:pt x="4058480" y="1177108"/>
                  <a:pt x="3749257" y="1206894"/>
                  <a:pt x="3498237" y="1251372"/>
                </a:cubicBezTo>
                <a:cubicBezTo>
                  <a:pt x="3248302" y="1296252"/>
                  <a:pt x="3058907" y="1356931"/>
                  <a:pt x="2907644" y="1427728"/>
                </a:cubicBezTo>
                <a:cubicBezTo>
                  <a:pt x="2869840" y="1445557"/>
                  <a:pt x="2834445" y="1464164"/>
                  <a:pt x="2801192" y="1483738"/>
                </a:cubicBezTo>
                <a:cubicBezTo>
                  <a:pt x="2767963" y="1503312"/>
                  <a:pt x="2736857" y="1523784"/>
                  <a:pt x="2707897" y="1545668"/>
                </a:cubicBezTo>
                <a:cubicBezTo>
                  <a:pt x="2693416" y="1556635"/>
                  <a:pt x="2679479" y="1567908"/>
                  <a:pt x="2666154" y="1579699"/>
                </a:cubicBezTo>
                <a:cubicBezTo>
                  <a:pt x="2652783" y="1591515"/>
                  <a:pt x="2640118" y="1603659"/>
                  <a:pt x="2628185" y="1616466"/>
                </a:cubicBezTo>
                <a:cubicBezTo>
                  <a:pt x="2616276" y="1629224"/>
                  <a:pt x="2605215" y="1642549"/>
                  <a:pt x="2595428" y="1656250"/>
                </a:cubicBezTo>
                <a:cubicBezTo>
                  <a:pt x="2585594" y="1669905"/>
                  <a:pt x="2577151" y="1683914"/>
                  <a:pt x="2570289" y="1697663"/>
                </a:cubicBezTo>
                <a:cubicBezTo>
                  <a:pt x="2563402" y="1711412"/>
                  <a:pt x="2558096" y="1724901"/>
                  <a:pt x="2554016" y="1737778"/>
                </a:cubicBezTo>
                <a:cubicBezTo>
                  <a:pt x="2549983" y="1750631"/>
                  <a:pt x="2547153" y="1762965"/>
                  <a:pt x="2545078" y="1774827"/>
                </a:cubicBezTo>
                <a:cubicBezTo>
                  <a:pt x="2540998" y="1798481"/>
                  <a:pt x="2539913" y="1820272"/>
                  <a:pt x="2540102" y="1841096"/>
                </a:cubicBezTo>
                <a:cubicBezTo>
                  <a:pt x="2540668" y="1882643"/>
                  <a:pt x="2546187" y="1920754"/>
                  <a:pt x="2553639" y="1957921"/>
                </a:cubicBezTo>
                <a:cubicBezTo>
                  <a:pt x="2561303" y="1994805"/>
                  <a:pt x="2570902" y="2031029"/>
                  <a:pt x="2582080" y="2066569"/>
                </a:cubicBezTo>
                <a:cubicBezTo>
                  <a:pt x="2593306" y="2102015"/>
                  <a:pt x="2606111" y="2136776"/>
                  <a:pt x="2620167" y="2170878"/>
                </a:cubicBezTo>
                <a:cubicBezTo>
                  <a:pt x="2676389" y="2307401"/>
                  <a:pt x="2752115" y="2432604"/>
                  <a:pt x="2826234" y="2551605"/>
                </a:cubicBezTo>
                <a:cubicBezTo>
                  <a:pt x="2900592" y="2670677"/>
                  <a:pt x="2972922" y="2784112"/>
                  <a:pt x="3028366" y="2899552"/>
                </a:cubicBezTo>
                <a:cubicBezTo>
                  <a:pt x="3042280" y="2928394"/>
                  <a:pt x="3055160" y="2957354"/>
                  <a:pt x="3066925" y="2986527"/>
                </a:cubicBezTo>
                <a:cubicBezTo>
                  <a:pt x="3072800" y="3001101"/>
                  <a:pt x="3078387" y="3015746"/>
                  <a:pt x="3083692" y="3030439"/>
                </a:cubicBezTo>
                <a:cubicBezTo>
                  <a:pt x="3088978" y="3045178"/>
                  <a:pt x="3093931" y="3059989"/>
                  <a:pt x="3098597" y="3074869"/>
                </a:cubicBezTo>
                <a:cubicBezTo>
                  <a:pt x="3107912" y="3104584"/>
                  <a:pt x="3116049" y="3134559"/>
                  <a:pt x="3121968" y="3166726"/>
                </a:cubicBezTo>
                <a:cubicBezTo>
                  <a:pt x="3124917" y="3182810"/>
                  <a:pt x="3127346" y="3199389"/>
                  <a:pt x="3128760" y="3217218"/>
                </a:cubicBezTo>
                <a:cubicBezTo>
                  <a:pt x="3130152" y="3235023"/>
                  <a:pt x="3130599" y="3254078"/>
                  <a:pt x="3128783" y="3275539"/>
                </a:cubicBezTo>
                <a:cubicBezTo>
                  <a:pt x="3127868" y="3286246"/>
                  <a:pt x="3126311" y="3297613"/>
                  <a:pt x="3123902" y="3309499"/>
                </a:cubicBezTo>
                <a:cubicBezTo>
                  <a:pt x="3121546" y="3321338"/>
                  <a:pt x="3118244" y="3333719"/>
                  <a:pt x="3114209" y="3345982"/>
                </a:cubicBezTo>
                <a:cubicBezTo>
                  <a:pt x="3110153" y="3358269"/>
                  <a:pt x="3105318" y="3370415"/>
                  <a:pt x="3100013" y="3382088"/>
                </a:cubicBezTo>
                <a:cubicBezTo>
                  <a:pt x="3094709" y="3393762"/>
                  <a:pt x="3088904" y="3404964"/>
                  <a:pt x="3082820" y="3415694"/>
                </a:cubicBezTo>
                <a:cubicBezTo>
                  <a:pt x="3070627" y="3437202"/>
                  <a:pt x="3057256" y="3456894"/>
                  <a:pt x="3043038" y="3475454"/>
                </a:cubicBezTo>
                <a:cubicBezTo>
                  <a:pt x="3039474" y="3480100"/>
                  <a:pt x="3035869" y="3484652"/>
                  <a:pt x="3032186" y="3489156"/>
                </a:cubicBezTo>
                <a:cubicBezTo>
                  <a:pt x="3030347" y="3491396"/>
                  <a:pt x="3028512" y="3493637"/>
                  <a:pt x="3026647" y="3495854"/>
                </a:cubicBezTo>
                <a:cubicBezTo>
                  <a:pt x="3024782" y="3498071"/>
                  <a:pt x="3022895" y="3500169"/>
                  <a:pt x="3021009" y="3502339"/>
                </a:cubicBezTo>
                <a:cubicBezTo>
                  <a:pt x="3019121" y="3504485"/>
                  <a:pt x="3017211" y="3506608"/>
                  <a:pt x="3015278" y="3508730"/>
                </a:cubicBezTo>
                <a:cubicBezTo>
                  <a:pt x="3013370" y="3510829"/>
                  <a:pt x="3011436" y="3512904"/>
                  <a:pt x="3009503" y="3514979"/>
                </a:cubicBezTo>
                <a:cubicBezTo>
                  <a:pt x="3005610" y="3519130"/>
                  <a:pt x="3001670" y="3523234"/>
                  <a:pt x="2997663" y="3527290"/>
                </a:cubicBezTo>
                <a:cubicBezTo>
                  <a:pt x="2933349" y="3592073"/>
                  <a:pt x="2854985" y="3647494"/>
                  <a:pt x="2747847" y="3686359"/>
                </a:cubicBezTo>
                <a:cubicBezTo>
                  <a:pt x="2639529" y="3724351"/>
                  <a:pt x="2505034" y="3748241"/>
                  <a:pt x="2303350" y="3729233"/>
                </a:cubicBezTo>
                <a:cubicBezTo>
                  <a:pt x="2099685" y="3706570"/>
                  <a:pt x="1832275" y="3649097"/>
                  <a:pt x="1405867" y="3436070"/>
                </a:cubicBezTo>
                <a:cubicBezTo>
                  <a:pt x="1832511" y="3649121"/>
                  <a:pt x="2099992" y="3706475"/>
                  <a:pt x="2303657" y="3729021"/>
                </a:cubicBezTo>
                <a:cubicBezTo>
                  <a:pt x="2505340" y="3747911"/>
                  <a:pt x="2639812" y="3723880"/>
                  <a:pt x="2748107" y="3685793"/>
                </a:cubicBezTo>
                <a:cubicBezTo>
                  <a:pt x="2855218" y="3646786"/>
                  <a:pt x="2933538" y="3591271"/>
                  <a:pt x="2997783" y="3526347"/>
                </a:cubicBezTo>
                <a:cubicBezTo>
                  <a:pt x="3001788" y="3522267"/>
                  <a:pt x="3005726" y="3518163"/>
                  <a:pt x="3009597" y="3514013"/>
                </a:cubicBezTo>
                <a:cubicBezTo>
                  <a:pt x="3011531" y="3511937"/>
                  <a:pt x="3013464" y="3509862"/>
                  <a:pt x="3015372" y="3507763"/>
                </a:cubicBezTo>
                <a:cubicBezTo>
                  <a:pt x="3017282" y="3505641"/>
                  <a:pt x="3019170" y="3503518"/>
                  <a:pt x="3021055" y="3501396"/>
                </a:cubicBezTo>
                <a:cubicBezTo>
                  <a:pt x="3022943" y="3499250"/>
                  <a:pt x="3024808" y="3497151"/>
                  <a:pt x="3026668" y="3494934"/>
                </a:cubicBezTo>
                <a:cubicBezTo>
                  <a:pt x="3028531" y="3492717"/>
                  <a:pt x="3030371" y="3490476"/>
                  <a:pt x="3032210" y="3488236"/>
                </a:cubicBezTo>
                <a:cubicBezTo>
                  <a:pt x="3035869" y="3483732"/>
                  <a:pt x="3039474" y="3479180"/>
                  <a:pt x="3043012" y="3474535"/>
                </a:cubicBezTo>
                <a:cubicBezTo>
                  <a:pt x="3057188" y="3455974"/>
                  <a:pt x="3070486" y="3436330"/>
                  <a:pt x="3082587" y="3414940"/>
                </a:cubicBezTo>
                <a:cubicBezTo>
                  <a:pt x="3088621" y="3404256"/>
                  <a:pt x="3094376" y="3393149"/>
                  <a:pt x="3099611" y="3381593"/>
                </a:cubicBezTo>
                <a:cubicBezTo>
                  <a:pt x="3104847" y="3370061"/>
                  <a:pt x="3109612" y="3358081"/>
                  <a:pt x="3113598" y="3345982"/>
                </a:cubicBezTo>
                <a:cubicBezTo>
                  <a:pt x="3121661" y="3321739"/>
                  <a:pt x="3126191" y="3297684"/>
                  <a:pt x="3127936" y="3276648"/>
                </a:cubicBezTo>
                <a:cubicBezTo>
                  <a:pt x="3129750" y="3255446"/>
                  <a:pt x="3129305" y="3236532"/>
                  <a:pt x="3127911" y="3218845"/>
                </a:cubicBezTo>
                <a:cubicBezTo>
                  <a:pt x="3126519" y="3201110"/>
                  <a:pt x="3124090" y="3184626"/>
                  <a:pt x="3121144" y="3168613"/>
                </a:cubicBezTo>
                <a:cubicBezTo>
                  <a:pt x="3115224" y="3136587"/>
                  <a:pt x="3107134" y="3106707"/>
                  <a:pt x="3097842" y="3077063"/>
                </a:cubicBezTo>
                <a:cubicBezTo>
                  <a:pt x="3093196" y="3062229"/>
                  <a:pt x="3088244" y="3047466"/>
                  <a:pt x="3082963" y="3032750"/>
                </a:cubicBezTo>
                <a:cubicBezTo>
                  <a:pt x="3077679" y="3018105"/>
                  <a:pt x="3072090" y="3003507"/>
                  <a:pt x="3066241" y="2988956"/>
                </a:cubicBezTo>
                <a:cubicBezTo>
                  <a:pt x="3054496" y="2959878"/>
                  <a:pt x="3041620" y="2930988"/>
                  <a:pt x="3027753" y="2902217"/>
                </a:cubicBezTo>
                <a:cubicBezTo>
                  <a:pt x="2972379" y="2787107"/>
                  <a:pt x="2900097" y="2674002"/>
                  <a:pt x="2825625" y="2555260"/>
                </a:cubicBezTo>
                <a:cubicBezTo>
                  <a:pt x="2751384" y="2436613"/>
                  <a:pt x="2675352" y="2311764"/>
                  <a:pt x="2618446" y="2175594"/>
                </a:cubicBezTo>
                <a:cubicBezTo>
                  <a:pt x="2604225" y="2141587"/>
                  <a:pt x="2591230" y="2106896"/>
                  <a:pt x="2579793" y="2071521"/>
                </a:cubicBezTo>
                <a:cubicBezTo>
                  <a:pt x="2568402" y="2036052"/>
                  <a:pt x="2558568" y="1999876"/>
                  <a:pt x="2550620" y="1963039"/>
                </a:cubicBezTo>
                <a:cubicBezTo>
                  <a:pt x="2542908" y="1925895"/>
                  <a:pt x="2537036" y="1887808"/>
                  <a:pt x="2536140" y="1845978"/>
                </a:cubicBezTo>
                <a:cubicBezTo>
                  <a:pt x="2535786" y="1824988"/>
                  <a:pt x="2536682" y="1803032"/>
                  <a:pt x="2540668" y="1778836"/>
                </a:cubicBezTo>
                <a:cubicBezTo>
                  <a:pt x="2542696" y="1766738"/>
                  <a:pt x="2545479" y="1754121"/>
                  <a:pt x="2549582" y="1740749"/>
                </a:cubicBezTo>
                <a:cubicBezTo>
                  <a:pt x="2553709" y="1727378"/>
                  <a:pt x="2559157" y="1713298"/>
                  <a:pt x="2566326" y="1698818"/>
                </a:cubicBezTo>
                <a:cubicBezTo>
                  <a:pt x="2573472" y="1684338"/>
                  <a:pt x="2582363" y="1669528"/>
                  <a:pt x="2592645" y="1655166"/>
                </a:cubicBezTo>
                <a:cubicBezTo>
                  <a:pt x="2602904" y="1640804"/>
                  <a:pt x="2614460" y="1626889"/>
                  <a:pt x="2626770" y="1613705"/>
                </a:cubicBezTo>
                <a:cubicBezTo>
                  <a:pt x="2639057" y="1600500"/>
                  <a:pt x="2652240" y="1587906"/>
                  <a:pt x="2665848" y="1575949"/>
                </a:cubicBezTo>
                <a:cubicBezTo>
                  <a:pt x="2679502" y="1563898"/>
                  <a:pt x="2693723" y="1552461"/>
                  <a:pt x="2708463" y="1541352"/>
                </a:cubicBezTo>
                <a:cubicBezTo>
                  <a:pt x="2737943" y="1519184"/>
                  <a:pt x="2769425" y="1498596"/>
                  <a:pt x="2803031" y="1478927"/>
                </a:cubicBezTo>
                <a:cubicBezTo>
                  <a:pt x="2836660" y="1459259"/>
                  <a:pt x="2872411" y="1440628"/>
                  <a:pt x="2910523" y="1422752"/>
                </a:cubicBezTo>
                <a:cubicBezTo>
                  <a:pt x="3062963" y="1351908"/>
                  <a:pt x="3253679" y="1291345"/>
                  <a:pt x="3505312" y="1246632"/>
                </a:cubicBezTo>
                <a:cubicBezTo>
                  <a:pt x="3758077" y="1202342"/>
                  <a:pt x="4069446" y="1172792"/>
                  <a:pt x="4481657" y="1174396"/>
                </a:cubicBezTo>
                <a:close/>
                <a:moveTo>
                  <a:pt x="4449277" y="1130201"/>
                </a:moveTo>
                <a:cubicBezTo>
                  <a:pt x="4862054" y="1130838"/>
                  <a:pt x="5370603" y="1154893"/>
                  <a:pt x="6051946" y="1273022"/>
                </a:cubicBezTo>
                <a:cubicBezTo>
                  <a:pt x="6043173" y="1273257"/>
                  <a:pt x="6034353" y="1273494"/>
                  <a:pt x="6025604" y="1273729"/>
                </a:cubicBezTo>
                <a:cubicBezTo>
                  <a:pt x="5349826" y="1157581"/>
                  <a:pt x="4845098" y="1134257"/>
                  <a:pt x="4435340" y="1134163"/>
                </a:cubicBezTo>
                <a:cubicBezTo>
                  <a:pt x="4026973" y="1136380"/>
                  <a:pt x="3718362" y="1168005"/>
                  <a:pt x="3467720" y="1213993"/>
                </a:cubicBezTo>
                <a:cubicBezTo>
                  <a:pt x="3218162" y="1260357"/>
                  <a:pt x="3028813" y="1322052"/>
                  <a:pt x="2877176" y="1393556"/>
                </a:cubicBezTo>
                <a:cubicBezTo>
                  <a:pt x="2839252" y="1411573"/>
                  <a:pt x="2803734" y="1430298"/>
                  <a:pt x="2770345" y="1450014"/>
                </a:cubicBezTo>
                <a:cubicBezTo>
                  <a:pt x="2736951" y="1469730"/>
                  <a:pt x="2705655" y="1490341"/>
                  <a:pt x="2676459" y="1512321"/>
                </a:cubicBezTo>
                <a:cubicBezTo>
                  <a:pt x="2661862" y="1523358"/>
                  <a:pt x="2647782" y="1534701"/>
                  <a:pt x="2634292" y="1546564"/>
                </a:cubicBezTo>
                <a:cubicBezTo>
                  <a:pt x="2620755" y="1558450"/>
                  <a:pt x="2607926" y="1570666"/>
                  <a:pt x="2595829" y="1583589"/>
                </a:cubicBezTo>
                <a:cubicBezTo>
                  <a:pt x="2583730" y="1596442"/>
                  <a:pt x="2572481" y="1609885"/>
                  <a:pt x="2562434" y="1623705"/>
                </a:cubicBezTo>
                <a:cubicBezTo>
                  <a:pt x="2552388" y="1637501"/>
                  <a:pt x="2543709" y="1651651"/>
                  <a:pt x="2536587" y="1665565"/>
                </a:cubicBezTo>
                <a:cubicBezTo>
                  <a:pt x="2529465" y="1679503"/>
                  <a:pt x="2523899" y="1693182"/>
                  <a:pt x="2519583" y="1706270"/>
                </a:cubicBezTo>
                <a:cubicBezTo>
                  <a:pt x="2515291" y="1719334"/>
                  <a:pt x="2512250" y="1731881"/>
                  <a:pt x="2509938" y="1743980"/>
                </a:cubicBezTo>
                <a:cubicBezTo>
                  <a:pt x="2505410" y="1768082"/>
                  <a:pt x="2503900" y="1790343"/>
                  <a:pt x="2503688" y="1811640"/>
                </a:cubicBezTo>
                <a:cubicBezTo>
                  <a:pt x="2503452" y="1854136"/>
                  <a:pt x="2508334" y="1893186"/>
                  <a:pt x="2515173" y="1931273"/>
                </a:cubicBezTo>
                <a:cubicBezTo>
                  <a:pt x="2522248" y="1969077"/>
                  <a:pt x="2531329" y="2006220"/>
                  <a:pt x="2542058" y="2042633"/>
                </a:cubicBezTo>
                <a:cubicBezTo>
                  <a:pt x="2552859" y="2078951"/>
                  <a:pt x="2565289" y="2114562"/>
                  <a:pt x="2579037" y="2149465"/>
                </a:cubicBezTo>
                <a:cubicBezTo>
                  <a:pt x="2634104" y="2289195"/>
                  <a:pt x="2709948" y="2416969"/>
                  <a:pt x="2785177" y="2537338"/>
                </a:cubicBezTo>
                <a:cubicBezTo>
                  <a:pt x="2860617" y="2657825"/>
                  <a:pt x="2935050" y="2771472"/>
                  <a:pt x="2993112" y="2886063"/>
                </a:cubicBezTo>
                <a:cubicBezTo>
                  <a:pt x="3007659" y="2914693"/>
                  <a:pt x="3021242" y="2943394"/>
                  <a:pt x="3033722" y="2972236"/>
                </a:cubicBezTo>
                <a:cubicBezTo>
                  <a:pt x="3039944" y="2986646"/>
                  <a:pt x="3045912" y="3001102"/>
                  <a:pt x="3051570" y="3015606"/>
                </a:cubicBezTo>
                <a:cubicBezTo>
                  <a:pt x="3057207" y="3030157"/>
                  <a:pt x="3062560" y="3044778"/>
                  <a:pt x="3067584" y="3059423"/>
                </a:cubicBezTo>
                <a:cubicBezTo>
                  <a:pt x="3077654" y="3088714"/>
                  <a:pt x="3086548" y="3118193"/>
                  <a:pt x="3093289" y="3149818"/>
                </a:cubicBezTo>
                <a:cubicBezTo>
                  <a:pt x="3096643" y="3165642"/>
                  <a:pt x="3099492" y="3181914"/>
                  <a:pt x="3101308" y="3199437"/>
                </a:cubicBezTo>
                <a:cubicBezTo>
                  <a:pt x="3103127" y="3216936"/>
                  <a:pt x="3104000" y="3235661"/>
                  <a:pt x="3102581" y="3256744"/>
                </a:cubicBezTo>
                <a:cubicBezTo>
                  <a:pt x="3101878" y="3267262"/>
                  <a:pt x="3100529" y="3278441"/>
                  <a:pt x="3098313" y="3290114"/>
                </a:cubicBezTo>
                <a:cubicBezTo>
                  <a:pt x="3096147" y="3301765"/>
                  <a:pt x="3093032" y="3313933"/>
                  <a:pt x="3089140" y="3325984"/>
                </a:cubicBezTo>
                <a:cubicBezTo>
                  <a:pt x="3085248" y="3338059"/>
                  <a:pt x="3080554" y="3350016"/>
                  <a:pt x="3075343" y="3361477"/>
                </a:cubicBezTo>
                <a:cubicBezTo>
                  <a:pt x="3070131" y="3372962"/>
                  <a:pt x="3064425" y="3383952"/>
                  <a:pt x="3058386" y="3394494"/>
                </a:cubicBezTo>
                <a:cubicBezTo>
                  <a:pt x="3046314" y="3415601"/>
                  <a:pt x="3032963" y="3434915"/>
                  <a:pt x="3018719" y="3453074"/>
                </a:cubicBezTo>
                <a:cubicBezTo>
                  <a:pt x="3015158" y="3457602"/>
                  <a:pt x="3011531" y="3462083"/>
                  <a:pt x="3007847" y="3466470"/>
                </a:cubicBezTo>
                <a:cubicBezTo>
                  <a:pt x="3006008" y="3468663"/>
                  <a:pt x="3004147" y="3470833"/>
                  <a:pt x="3002282" y="3473002"/>
                </a:cubicBezTo>
                <a:cubicBezTo>
                  <a:pt x="3000419" y="3475172"/>
                  <a:pt x="2998535" y="3477224"/>
                  <a:pt x="2996622" y="3479322"/>
                </a:cubicBezTo>
                <a:cubicBezTo>
                  <a:pt x="2994712" y="3481421"/>
                  <a:pt x="2992804" y="3483497"/>
                  <a:pt x="2990870" y="3485548"/>
                </a:cubicBezTo>
                <a:cubicBezTo>
                  <a:pt x="2988937" y="3487577"/>
                  <a:pt x="2987004" y="3489605"/>
                  <a:pt x="2985045" y="3491633"/>
                </a:cubicBezTo>
                <a:cubicBezTo>
                  <a:pt x="2981127" y="3495666"/>
                  <a:pt x="2977142" y="3499675"/>
                  <a:pt x="2973111" y="3503637"/>
                </a:cubicBezTo>
                <a:cubicBezTo>
                  <a:pt x="2908232" y="3566651"/>
                  <a:pt x="2828568" y="3619878"/>
                  <a:pt x="2718697" y="3655537"/>
                </a:cubicBezTo>
                <a:cubicBezTo>
                  <a:pt x="2607620" y="3690227"/>
                  <a:pt x="2468927" y="3709990"/>
                  <a:pt x="2260215" y="3683317"/>
                </a:cubicBezTo>
                <a:cubicBezTo>
                  <a:pt x="2049711" y="3652942"/>
                  <a:pt x="1771806" y="3583914"/>
                  <a:pt x="1333866" y="3350370"/>
                </a:cubicBezTo>
                <a:cubicBezTo>
                  <a:pt x="1772066" y="3583938"/>
                  <a:pt x="2049994" y="3652848"/>
                  <a:pt x="2260522" y="3683129"/>
                </a:cubicBezTo>
                <a:cubicBezTo>
                  <a:pt x="2469233" y="3709683"/>
                  <a:pt x="2607902" y="3689779"/>
                  <a:pt x="2718933" y="3654994"/>
                </a:cubicBezTo>
                <a:cubicBezTo>
                  <a:pt x="2828756" y="3619218"/>
                  <a:pt x="2908350" y="3565873"/>
                  <a:pt x="2973156" y="3502717"/>
                </a:cubicBezTo>
                <a:cubicBezTo>
                  <a:pt x="2977191" y="3498755"/>
                  <a:pt x="2981178" y="3494746"/>
                  <a:pt x="2985070" y="3490690"/>
                </a:cubicBezTo>
                <a:cubicBezTo>
                  <a:pt x="2987023" y="3488662"/>
                  <a:pt x="2988957" y="3486633"/>
                  <a:pt x="2990891" y="3484605"/>
                </a:cubicBezTo>
                <a:cubicBezTo>
                  <a:pt x="2992804" y="3482553"/>
                  <a:pt x="2994712" y="3480478"/>
                  <a:pt x="2996622" y="3478379"/>
                </a:cubicBezTo>
                <a:cubicBezTo>
                  <a:pt x="2998510" y="3476280"/>
                  <a:pt x="3000395" y="3474252"/>
                  <a:pt x="3002258" y="3472083"/>
                </a:cubicBezTo>
                <a:cubicBezTo>
                  <a:pt x="3004122" y="3469913"/>
                  <a:pt x="3005987" y="3467743"/>
                  <a:pt x="3007801" y="3465550"/>
                </a:cubicBezTo>
                <a:cubicBezTo>
                  <a:pt x="3011479" y="3461164"/>
                  <a:pt x="3015089" y="3456683"/>
                  <a:pt x="3018625" y="3452155"/>
                </a:cubicBezTo>
                <a:cubicBezTo>
                  <a:pt x="3032824" y="3433996"/>
                  <a:pt x="3046076" y="3414728"/>
                  <a:pt x="3058079" y="3393739"/>
                </a:cubicBezTo>
                <a:cubicBezTo>
                  <a:pt x="3064074" y="3383244"/>
                  <a:pt x="3069730" y="3372325"/>
                  <a:pt x="3074871" y="3360982"/>
                </a:cubicBezTo>
                <a:cubicBezTo>
                  <a:pt x="3080012" y="3349638"/>
                  <a:pt x="3084634" y="3337847"/>
                  <a:pt x="3088456" y="3325961"/>
                </a:cubicBezTo>
                <a:cubicBezTo>
                  <a:pt x="3096190" y="3302118"/>
                  <a:pt x="3100321" y="3278464"/>
                  <a:pt x="3101664" y="3257782"/>
                </a:cubicBezTo>
                <a:cubicBezTo>
                  <a:pt x="3103053" y="3236958"/>
                  <a:pt x="3102180" y="3218374"/>
                  <a:pt x="3100390" y="3200970"/>
                </a:cubicBezTo>
                <a:cubicBezTo>
                  <a:pt x="3098576" y="3183565"/>
                  <a:pt x="3095745" y="3167364"/>
                  <a:pt x="3092417" y="3151586"/>
                </a:cubicBezTo>
                <a:cubicBezTo>
                  <a:pt x="3085719" y="3120103"/>
                  <a:pt x="3076830" y="3090695"/>
                  <a:pt x="3066786" y="3061499"/>
                </a:cubicBezTo>
                <a:cubicBezTo>
                  <a:pt x="3061759" y="3046877"/>
                  <a:pt x="3056429" y="3032326"/>
                  <a:pt x="3050792" y="3017799"/>
                </a:cubicBezTo>
                <a:cubicBezTo>
                  <a:pt x="3045160" y="3003342"/>
                  <a:pt x="3039189" y="2988933"/>
                  <a:pt x="3032987" y="2974547"/>
                </a:cubicBezTo>
                <a:cubicBezTo>
                  <a:pt x="3020539" y="2945799"/>
                  <a:pt x="3006979" y="2917169"/>
                  <a:pt x="2992447" y="2888610"/>
                </a:cubicBezTo>
                <a:cubicBezTo>
                  <a:pt x="2934460" y="2774349"/>
                  <a:pt x="2860101" y="2661008"/>
                  <a:pt x="2784517" y="2540899"/>
                </a:cubicBezTo>
                <a:cubicBezTo>
                  <a:pt x="2709170" y="2420884"/>
                  <a:pt x="2632995" y="2293488"/>
                  <a:pt x="2577221" y="2154087"/>
                </a:cubicBezTo>
                <a:cubicBezTo>
                  <a:pt x="2563283" y="2119255"/>
                  <a:pt x="2550642" y="2083738"/>
                  <a:pt x="2539653" y="2047491"/>
                </a:cubicBezTo>
                <a:cubicBezTo>
                  <a:pt x="2528686" y="2011149"/>
                  <a:pt x="2519371" y="1974076"/>
                  <a:pt x="2512037" y="1936296"/>
                </a:cubicBezTo>
                <a:cubicBezTo>
                  <a:pt x="2504916" y="1898233"/>
                  <a:pt x="2499726" y="1859179"/>
                  <a:pt x="2499608" y="1816403"/>
                </a:cubicBezTo>
                <a:cubicBezTo>
                  <a:pt x="2499657" y="1794942"/>
                  <a:pt x="2500952" y="1772516"/>
                  <a:pt x="2505410" y="1747848"/>
                </a:cubicBezTo>
                <a:cubicBezTo>
                  <a:pt x="2507675" y="1735513"/>
                  <a:pt x="2510692" y="1722660"/>
                  <a:pt x="2515056" y="1709077"/>
                </a:cubicBezTo>
                <a:cubicBezTo>
                  <a:pt x="2519442" y="1695492"/>
                  <a:pt x="2525149" y="1681201"/>
                  <a:pt x="2532579" y="1666532"/>
                </a:cubicBezTo>
                <a:cubicBezTo>
                  <a:pt x="2539984" y="1651864"/>
                  <a:pt x="2549133" y="1636889"/>
                  <a:pt x="2559651" y="1622407"/>
                </a:cubicBezTo>
                <a:cubicBezTo>
                  <a:pt x="2570147" y="1607904"/>
                  <a:pt x="2581915" y="1593895"/>
                  <a:pt x="2594413" y="1580618"/>
                </a:cubicBezTo>
                <a:cubicBezTo>
                  <a:pt x="2606912" y="1567317"/>
                  <a:pt x="2620237" y="1554629"/>
                  <a:pt x="2634009" y="1542625"/>
                </a:cubicBezTo>
                <a:cubicBezTo>
                  <a:pt x="2647829" y="1530504"/>
                  <a:pt x="2662191" y="1518995"/>
                  <a:pt x="2677048" y="1507840"/>
                </a:cubicBezTo>
                <a:cubicBezTo>
                  <a:pt x="2706788" y="1485554"/>
                  <a:pt x="2738460" y="1464824"/>
                  <a:pt x="2772230" y="1445014"/>
                </a:cubicBezTo>
                <a:cubicBezTo>
                  <a:pt x="2806025" y="1425228"/>
                  <a:pt x="2841896" y="1406409"/>
                  <a:pt x="2880121" y="1388391"/>
                </a:cubicBezTo>
                <a:cubicBezTo>
                  <a:pt x="3032943" y="1316863"/>
                  <a:pt x="3223587" y="1255264"/>
                  <a:pt x="3474819" y="1209087"/>
                </a:cubicBezTo>
                <a:cubicBezTo>
                  <a:pt x="3727183" y="1163265"/>
                  <a:pt x="4037892" y="1131899"/>
                  <a:pt x="4449277" y="1130201"/>
                </a:cubicBezTo>
                <a:close/>
                <a:moveTo>
                  <a:pt x="4417275" y="1085868"/>
                </a:moveTo>
                <a:cubicBezTo>
                  <a:pt x="4828802" y="1083272"/>
                  <a:pt x="5335724" y="1103271"/>
                  <a:pt x="6015203" y="1210175"/>
                </a:cubicBezTo>
                <a:cubicBezTo>
                  <a:pt x="6006454" y="1210528"/>
                  <a:pt x="5997752" y="1210906"/>
                  <a:pt x="5989073" y="1211259"/>
                </a:cubicBezTo>
                <a:cubicBezTo>
                  <a:pt x="5315041" y="1106149"/>
                  <a:pt x="4811846" y="1086834"/>
                  <a:pt x="4403290" y="1089946"/>
                </a:cubicBezTo>
                <a:cubicBezTo>
                  <a:pt x="3996149" y="1095158"/>
                  <a:pt x="3688436" y="1128435"/>
                  <a:pt x="3438335" y="1175790"/>
                </a:cubicBezTo>
                <a:cubicBezTo>
                  <a:pt x="3189297" y="1223476"/>
                  <a:pt x="3000043" y="1286042"/>
                  <a:pt x="2848050" y="1358041"/>
                </a:cubicBezTo>
                <a:cubicBezTo>
                  <a:pt x="2810038" y="1376177"/>
                  <a:pt x="2774403" y="1395044"/>
                  <a:pt x="2740820" y="1414831"/>
                </a:cubicBezTo>
                <a:cubicBezTo>
                  <a:pt x="2707238" y="1434641"/>
                  <a:pt x="2675754" y="1455323"/>
                  <a:pt x="2646275" y="1477397"/>
                </a:cubicBezTo>
                <a:cubicBezTo>
                  <a:pt x="2631536" y="1488481"/>
                  <a:pt x="2617315" y="1499848"/>
                  <a:pt x="2603661" y="1511758"/>
                </a:cubicBezTo>
                <a:cubicBezTo>
                  <a:pt x="2589959" y="1523691"/>
                  <a:pt x="2576964" y="1535955"/>
                  <a:pt x="2564630" y="1548949"/>
                </a:cubicBezTo>
                <a:cubicBezTo>
                  <a:pt x="2552343" y="1561873"/>
                  <a:pt x="2540835" y="1575386"/>
                  <a:pt x="2530576" y="1589324"/>
                </a:cubicBezTo>
                <a:cubicBezTo>
                  <a:pt x="2520294" y="1603237"/>
                  <a:pt x="2511332" y="1617530"/>
                  <a:pt x="2503951" y="1631609"/>
                </a:cubicBezTo>
                <a:cubicBezTo>
                  <a:pt x="2496546" y="1645712"/>
                  <a:pt x="2490721" y="1659579"/>
                  <a:pt x="2486145" y="1672856"/>
                </a:cubicBezTo>
                <a:cubicBezTo>
                  <a:pt x="2481594" y="1686133"/>
                  <a:pt x="2478269" y="1698892"/>
                  <a:pt x="2475722" y="1711202"/>
                </a:cubicBezTo>
                <a:cubicBezTo>
                  <a:pt x="2470675" y="1735752"/>
                  <a:pt x="2468717" y="1758510"/>
                  <a:pt x="2468081" y="1780277"/>
                </a:cubicBezTo>
                <a:cubicBezTo>
                  <a:pt x="2466996" y="1823741"/>
                  <a:pt x="2471123" y="1863754"/>
                  <a:pt x="2477302" y="1902784"/>
                </a:cubicBezTo>
                <a:cubicBezTo>
                  <a:pt x="2483716" y="1941555"/>
                  <a:pt x="2492206" y="1979618"/>
                  <a:pt x="2502441" y="2016951"/>
                </a:cubicBezTo>
                <a:cubicBezTo>
                  <a:pt x="2512724" y="2054188"/>
                  <a:pt x="2524751" y="2090695"/>
                  <a:pt x="2538146" y="2126447"/>
                </a:cubicBezTo>
                <a:cubicBezTo>
                  <a:pt x="2591822" y="2269598"/>
                  <a:pt x="2667571" y="2400154"/>
                  <a:pt x="2743721" y="2522174"/>
                </a:cubicBezTo>
                <a:cubicBezTo>
                  <a:pt x="2820081" y="2644335"/>
                  <a:pt x="2896442" y="2758501"/>
                  <a:pt x="2957004" y="2872503"/>
                </a:cubicBezTo>
                <a:cubicBezTo>
                  <a:pt x="2972195" y="2900991"/>
                  <a:pt x="2986439" y="2929480"/>
                  <a:pt x="2999573" y="2958039"/>
                </a:cubicBezTo>
                <a:cubicBezTo>
                  <a:pt x="3006151" y="2972330"/>
                  <a:pt x="3012448" y="2986622"/>
                  <a:pt x="3018462" y="3000960"/>
                </a:cubicBezTo>
                <a:cubicBezTo>
                  <a:pt x="3024452" y="3015346"/>
                  <a:pt x="3030163" y="3029779"/>
                  <a:pt x="3035561" y="3044236"/>
                </a:cubicBezTo>
                <a:cubicBezTo>
                  <a:pt x="3046361" y="3073149"/>
                  <a:pt x="3056007" y="3102180"/>
                  <a:pt x="3063530" y="3133309"/>
                </a:cubicBezTo>
                <a:cubicBezTo>
                  <a:pt x="3067257" y="3148874"/>
                  <a:pt x="3070511" y="3164887"/>
                  <a:pt x="3072727" y="3182127"/>
                </a:cubicBezTo>
                <a:cubicBezTo>
                  <a:pt x="3074922" y="3199343"/>
                  <a:pt x="3076218" y="3217738"/>
                  <a:pt x="3075230" y="3238467"/>
                </a:cubicBezTo>
                <a:cubicBezTo>
                  <a:pt x="3074734" y="3248820"/>
                  <a:pt x="3073579" y="3259786"/>
                  <a:pt x="3071551" y="3271271"/>
                </a:cubicBezTo>
                <a:cubicBezTo>
                  <a:pt x="3069568" y="3282709"/>
                  <a:pt x="3066642" y="3294666"/>
                  <a:pt x="3062894" y="3306528"/>
                </a:cubicBezTo>
                <a:cubicBezTo>
                  <a:pt x="3059147" y="3318391"/>
                  <a:pt x="3054570" y="3330135"/>
                  <a:pt x="3049474" y="3341384"/>
                </a:cubicBezTo>
                <a:cubicBezTo>
                  <a:pt x="3044357" y="3352657"/>
                  <a:pt x="3038721" y="3363434"/>
                  <a:pt x="3032730" y="3373788"/>
                </a:cubicBezTo>
                <a:cubicBezTo>
                  <a:pt x="3020752" y="3394494"/>
                  <a:pt x="3007425" y="3413360"/>
                  <a:pt x="2993137" y="3431095"/>
                </a:cubicBezTo>
                <a:cubicBezTo>
                  <a:pt x="2989572" y="3435529"/>
                  <a:pt x="2985917" y="3439868"/>
                  <a:pt x="2982215" y="3444160"/>
                </a:cubicBezTo>
                <a:cubicBezTo>
                  <a:pt x="2980352" y="3446306"/>
                  <a:pt x="2978492" y="3448428"/>
                  <a:pt x="2976627" y="3450527"/>
                </a:cubicBezTo>
                <a:cubicBezTo>
                  <a:pt x="2974740" y="3452626"/>
                  <a:pt x="2972828" y="3454631"/>
                  <a:pt x="2970920" y="3456683"/>
                </a:cubicBezTo>
                <a:cubicBezTo>
                  <a:pt x="2969008" y="3458711"/>
                  <a:pt x="2967074" y="3460739"/>
                  <a:pt x="2965120" y="3462744"/>
                </a:cubicBezTo>
                <a:cubicBezTo>
                  <a:pt x="2963187" y="3464725"/>
                  <a:pt x="2961203" y="3466705"/>
                  <a:pt x="2959244" y="3468663"/>
                </a:cubicBezTo>
                <a:cubicBezTo>
                  <a:pt x="2955282" y="3472578"/>
                  <a:pt x="2951274" y="3476469"/>
                  <a:pt x="2947193" y="3480313"/>
                </a:cubicBezTo>
                <a:cubicBezTo>
                  <a:pt x="2881633" y="3541441"/>
                  <a:pt x="2800576" y="3592310"/>
                  <a:pt x="2687853" y="3624548"/>
                </a:cubicBezTo>
                <a:cubicBezTo>
                  <a:pt x="2573899" y="3655725"/>
                  <a:pt x="2430819" y="3671054"/>
                  <a:pt x="2215056" y="3636269"/>
                </a:cubicBezTo>
                <a:cubicBezTo>
                  <a:pt x="1997713" y="3597781"/>
                  <a:pt x="1709432" y="3516442"/>
                  <a:pt x="1261280" y="3262404"/>
                </a:cubicBezTo>
                <a:cubicBezTo>
                  <a:pt x="1709668" y="3516490"/>
                  <a:pt x="1998020" y="3597710"/>
                  <a:pt x="2215363" y="3636104"/>
                </a:cubicBezTo>
                <a:cubicBezTo>
                  <a:pt x="2431149" y="3670771"/>
                  <a:pt x="2574182" y="3655324"/>
                  <a:pt x="2688088" y="3624029"/>
                </a:cubicBezTo>
                <a:cubicBezTo>
                  <a:pt x="2800765" y="3591673"/>
                  <a:pt x="2881773" y="3540662"/>
                  <a:pt x="2947266" y="3479440"/>
                </a:cubicBezTo>
                <a:cubicBezTo>
                  <a:pt x="2951347" y="3475596"/>
                  <a:pt x="2955353" y="3471705"/>
                  <a:pt x="2959294" y="3467767"/>
                </a:cubicBezTo>
                <a:cubicBezTo>
                  <a:pt x="2961274" y="3465809"/>
                  <a:pt x="2963231" y="3463828"/>
                  <a:pt x="2965165" y="3461847"/>
                </a:cubicBezTo>
                <a:cubicBezTo>
                  <a:pt x="2967098" y="3459843"/>
                  <a:pt x="2969031" y="3457815"/>
                  <a:pt x="2970946" y="3455810"/>
                </a:cubicBezTo>
                <a:cubicBezTo>
                  <a:pt x="2972854" y="3453782"/>
                  <a:pt x="2974740" y="3451777"/>
                  <a:pt x="2976627" y="3449678"/>
                </a:cubicBezTo>
                <a:cubicBezTo>
                  <a:pt x="2978512" y="3447556"/>
                  <a:pt x="2980352" y="3445433"/>
                  <a:pt x="2982215" y="3443311"/>
                </a:cubicBezTo>
                <a:cubicBezTo>
                  <a:pt x="2985894" y="3439019"/>
                  <a:pt x="2989527" y="3434680"/>
                  <a:pt x="2993086" y="3430246"/>
                </a:cubicBezTo>
                <a:cubicBezTo>
                  <a:pt x="3007308" y="3412535"/>
                  <a:pt x="3020564" y="3393668"/>
                  <a:pt x="3032473" y="3373104"/>
                </a:cubicBezTo>
                <a:cubicBezTo>
                  <a:pt x="3038413" y="3362821"/>
                  <a:pt x="3044005" y="3352115"/>
                  <a:pt x="3049052" y="3340960"/>
                </a:cubicBezTo>
                <a:cubicBezTo>
                  <a:pt x="3054100" y="3329828"/>
                  <a:pt x="3058601" y="3318249"/>
                  <a:pt x="3062280" y="3306575"/>
                </a:cubicBezTo>
                <a:cubicBezTo>
                  <a:pt x="3069733" y="3283134"/>
                  <a:pt x="3073459" y="3259904"/>
                  <a:pt x="3074426" y="3239576"/>
                </a:cubicBezTo>
                <a:cubicBezTo>
                  <a:pt x="3075418" y="3219105"/>
                  <a:pt x="3074143" y="3200828"/>
                  <a:pt x="3071949" y="3183730"/>
                </a:cubicBezTo>
                <a:cubicBezTo>
                  <a:pt x="3069733" y="3166609"/>
                  <a:pt x="3066530" y="3150667"/>
                  <a:pt x="3062800" y="3135173"/>
                </a:cubicBezTo>
                <a:cubicBezTo>
                  <a:pt x="3055323" y="3104184"/>
                  <a:pt x="3045682" y="3075224"/>
                  <a:pt x="3034902" y="3046405"/>
                </a:cubicBezTo>
                <a:cubicBezTo>
                  <a:pt x="3029522" y="3031972"/>
                  <a:pt x="3023815" y="3017610"/>
                  <a:pt x="3017827" y="3003248"/>
                </a:cubicBezTo>
                <a:cubicBezTo>
                  <a:pt x="3011838" y="2988957"/>
                  <a:pt x="3005542" y="2974689"/>
                  <a:pt x="2998963" y="2960444"/>
                </a:cubicBezTo>
                <a:cubicBezTo>
                  <a:pt x="2985823" y="2931956"/>
                  <a:pt x="2971605" y="2903562"/>
                  <a:pt x="2956438" y="2875144"/>
                </a:cubicBezTo>
                <a:cubicBezTo>
                  <a:pt x="2895971" y="2761473"/>
                  <a:pt x="2819656" y="2647637"/>
                  <a:pt x="2743132" y="2525829"/>
                </a:cubicBezTo>
                <a:cubicBezTo>
                  <a:pt x="2666840" y="2404164"/>
                  <a:pt x="2590737" y="2273984"/>
                  <a:pt x="2536354" y="2131164"/>
                </a:cubicBezTo>
                <a:cubicBezTo>
                  <a:pt x="2522770" y="2095483"/>
                  <a:pt x="2510554" y="2059070"/>
                  <a:pt x="2500036" y="2021903"/>
                </a:cubicBezTo>
                <a:cubicBezTo>
                  <a:pt x="2489565" y="1984642"/>
                  <a:pt x="2480839" y="1946625"/>
                  <a:pt x="2474141" y="1907902"/>
                </a:cubicBezTo>
                <a:cubicBezTo>
                  <a:pt x="2467680" y="1868895"/>
                  <a:pt x="2463222" y="1828859"/>
                  <a:pt x="2463977" y="1785112"/>
                </a:cubicBezTo>
                <a:cubicBezTo>
                  <a:pt x="2464449" y="1763180"/>
                  <a:pt x="2466218" y="1740257"/>
                  <a:pt x="2471194" y="1715141"/>
                </a:cubicBezTo>
                <a:cubicBezTo>
                  <a:pt x="2473717" y="1702594"/>
                  <a:pt x="2476995" y="1689506"/>
                  <a:pt x="2481641" y="1675709"/>
                </a:cubicBezTo>
                <a:cubicBezTo>
                  <a:pt x="2486287" y="1661913"/>
                  <a:pt x="2492301" y="1647433"/>
                  <a:pt x="2500012" y="1632576"/>
                </a:cubicBezTo>
                <a:cubicBezTo>
                  <a:pt x="2507700" y="1617742"/>
                  <a:pt x="2517134" y="1602601"/>
                  <a:pt x="2527911" y="1588003"/>
                </a:cubicBezTo>
                <a:cubicBezTo>
                  <a:pt x="2538665" y="1573381"/>
                  <a:pt x="2550669" y="1559278"/>
                  <a:pt x="2563380" y="1545930"/>
                </a:cubicBezTo>
                <a:cubicBezTo>
                  <a:pt x="2576092" y="1532559"/>
                  <a:pt x="2589605" y="1519823"/>
                  <a:pt x="2603543" y="1507749"/>
                </a:cubicBezTo>
                <a:cubicBezTo>
                  <a:pt x="2617528" y="1495580"/>
                  <a:pt x="2632031" y="1484024"/>
                  <a:pt x="2647030" y="1472822"/>
                </a:cubicBezTo>
                <a:cubicBezTo>
                  <a:pt x="2677028" y="1450465"/>
                  <a:pt x="2708936" y="1429665"/>
                  <a:pt x="2742872" y="1409761"/>
                </a:cubicBezTo>
                <a:cubicBezTo>
                  <a:pt x="2776832" y="1389879"/>
                  <a:pt x="2812844" y="1370966"/>
                  <a:pt x="2851162" y="1352807"/>
                </a:cubicBezTo>
                <a:cubicBezTo>
                  <a:pt x="3004361" y="1280783"/>
                  <a:pt x="3194886" y="1218311"/>
                  <a:pt x="3445576" y="1170791"/>
                </a:cubicBezTo>
                <a:cubicBezTo>
                  <a:pt x="3697374" y="1123624"/>
                  <a:pt x="4007186" y="1090584"/>
                  <a:pt x="4417275" y="1085868"/>
                </a:cubicBezTo>
                <a:close/>
                <a:moveTo>
                  <a:pt x="4543669" y="1040212"/>
                </a:moveTo>
                <a:cubicBezTo>
                  <a:pt x="4924069" y="1040955"/>
                  <a:pt x="5384500" y="1064054"/>
                  <a:pt x="5976197" y="1148452"/>
                </a:cubicBezTo>
                <a:cubicBezTo>
                  <a:pt x="5967612" y="1149018"/>
                  <a:pt x="5959005" y="1149490"/>
                  <a:pt x="5950444" y="1149961"/>
                </a:cubicBezTo>
                <a:cubicBezTo>
                  <a:pt x="5279501" y="1055157"/>
                  <a:pt x="4778381" y="1039403"/>
                  <a:pt x="4371500" y="1045464"/>
                </a:cubicBezTo>
                <a:cubicBezTo>
                  <a:pt x="3966034" y="1053412"/>
                  <a:pt x="3659452" y="1088173"/>
                  <a:pt x="3410083" y="1136731"/>
                </a:cubicBezTo>
                <a:cubicBezTo>
                  <a:pt x="3161728" y="1185572"/>
                  <a:pt x="2972663" y="1248846"/>
                  <a:pt x="2820268" y="1321175"/>
                </a:cubicBezTo>
                <a:cubicBezTo>
                  <a:pt x="2782157" y="1339406"/>
                  <a:pt x="2746381" y="1358297"/>
                  <a:pt x="2712610" y="1378153"/>
                </a:cubicBezTo>
                <a:cubicBezTo>
                  <a:pt x="2678863" y="1398010"/>
                  <a:pt x="2647119" y="1418717"/>
                  <a:pt x="2617381" y="1440838"/>
                </a:cubicBezTo>
                <a:cubicBezTo>
                  <a:pt x="2602500" y="1451922"/>
                  <a:pt x="2588114" y="1463336"/>
                  <a:pt x="2574294" y="1475269"/>
                </a:cubicBezTo>
                <a:cubicBezTo>
                  <a:pt x="2560427" y="1487226"/>
                  <a:pt x="2547221" y="1499536"/>
                  <a:pt x="2534675" y="1512554"/>
                </a:cubicBezTo>
                <a:cubicBezTo>
                  <a:pt x="2522152" y="1525525"/>
                  <a:pt x="2510431" y="1539109"/>
                  <a:pt x="2499889" y="1553141"/>
                </a:cubicBezTo>
                <a:cubicBezTo>
                  <a:pt x="2489324" y="1567150"/>
                  <a:pt x="2480103" y="1581559"/>
                  <a:pt x="2472415" y="1595779"/>
                </a:cubicBezTo>
                <a:cubicBezTo>
                  <a:pt x="2464727" y="1610024"/>
                  <a:pt x="2458595" y="1624079"/>
                  <a:pt x="2453737" y="1637569"/>
                </a:cubicBezTo>
                <a:cubicBezTo>
                  <a:pt x="2448903" y="1651035"/>
                  <a:pt x="2445294" y="1664029"/>
                  <a:pt x="2442464" y="1676552"/>
                </a:cubicBezTo>
                <a:cubicBezTo>
                  <a:pt x="2436898" y="1701550"/>
                  <a:pt x="2434422" y="1724780"/>
                  <a:pt x="2433314" y="1747042"/>
                </a:cubicBezTo>
                <a:cubicBezTo>
                  <a:pt x="2431309" y="1791473"/>
                  <a:pt x="2434587" y="1832484"/>
                  <a:pt x="2440035" y="1872503"/>
                </a:cubicBezTo>
                <a:cubicBezTo>
                  <a:pt x="2445719" y="1912264"/>
                  <a:pt x="2453548" y="1951294"/>
                  <a:pt x="2463217" y="1989570"/>
                </a:cubicBezTo>
                <a:cubicBezTo>
                  <a:pt x="2472934" y="2027751"/>
                  <a:pt x="2484466" y="2065178"/>
                  <a:pt x="2497460" y="2101850"/>
                </a:cubicBezTo>
                <a:cubicBezTo>
                  <a:pt x="2549485" y="2248585"/>
                  <a:pt x="2624928" y="2382184"/>
                  <a:pt x="2701833" y="2506137"/>
                </a:cubicBezTo>
                <a:cubicBezTo>
                  <a:pt x="2778950" y="2630256"/>
                  <a:pt x="2857105" y="2745247"/>
                  <a:pt x="2920026" y="2858918"/>
                </a:cubicBezTo>
                <a:cubicBezTo>
                  <a:pt x="2935803" y="2887336"/>
                  <a:pt x="2950660" y="2915659"/>
                  <a:pt x="2964479" y="2944030"/>
                </a:cubicBezTo>
                <a:cubicBezTo>
                  <a:pt x="2971390" y="2958204"/>
                  <a:pt x="2978015" y="2972401"/>
                  <a:pt x="2984384" y="2986598"/>
                </a:cubicBezTo>
                <a:cubicBezTo>
                  <a:pt x="2990726" y="3000866"/>
                  <a:pt x="2996765" y="3015134"/>
                  <a:pt x="3002520" y="3029425"/>
                </a:cubicBezTo>
                <a:cubicBezTo>
                  <a:pt x="3014028" y="3058008"/>
                  <a:pt x="3024405" y="3086661"/>
                  <a:pt x="3032659" y="3117320"/>
                </a:cubicBezTo>
                <a:cubicBezTo>
                  <a:pt x="3036760" y="3132672"/>
                  <a:pt x="3040394" y="3148426"/>
                  <a:pt x="3042986" y="3165382"/>
                </a:cubicBezTo>
                <a:cubicBezTo>
                  <a:pt x="3045581" y="3182315"/>
                  <a:pt x="3047255" y="3200427"/>
                  <a:pt x="3046642" y="3220803"/>
                </a:cubicBezTo>
                <a:cubicBezTo>
                  <a:pt x="3046335" y="3230967"/>
                  <a:pt x="3045368" y="3241768"/>
                  <a:pt x="3043529" y="3253041"/>
                </a:cubicBezTo>
                <a:cubicBezTo>
                  <a:pt x="3041713" y="3264290"/>
                  <a:pt x="3038956" y="3276035"/>
                  <a:pt x="3035347" y="3287685"/>
                </a:cubicBezTo>
                <a:cubicBezTo>
                  <a:pt x="3031737" y="3299335"/>
                  <a:pt x="3027280" y="3310844"/>
                  <a:pt x="3022258" y="3321880"/>
                </a:cubicBezTo>
                <a:cubicBezTo>
                  <a:pt x="3017236" y="3332941"/>
                  <a:pt x="3011644" y="3343483"/>
                  <a:pt x="3005703" y="3353624"/>
                </a:cubicBezTo>
                <a:cubicBezTo>
                  <a:pt x="2993794" y="3373882"/>
                  <a:pt x="2980468" y="3392324"/>
                  <a:pt x="2966105" y="3409587"/>
                </a:cubicBezTo>
                <a:cubicBezTo>
                  <a:pt x="2962520" y="3413902"/>
                  <a:pt x="2958867" y="3418124"/>
                  <a:pt x="2955139" y="3422298"/>
                </a:cubicBezTo>
                <a:cubicBezTo>
                  <a:pt x="2953278" y="3424373"/>
                  <a:pt x="2951390" y="3426449"/>
                  <a:pt x="2949505" y="3428500"/>
                </a:cubicBezTo>
                <a:cubicBezTo>
                  <a:pt x="2947617" y="3430552"/>
                  <a:pt x="2945683" y="3432486"/>
                  <a:pt x="2943750" y="3434467"/>
                </a:cubicBezTo>
                <a:cubicBezTo>
                  <a:pt x="2941816" y="3436448"/>
                  <a:pt x="2939858" y="3438405"/>
                  <a:pt x="2937900" y="3440339"/>
                </a:cubicBezTo>
                <a:cubicBezTo>
                  <a:pt x="2935942" y="3442249"/>
                  <a:pt x="2933963" y="3444183"/>
                  <a:pt x="2931959" y="3446070"/>
                </a:cubicBezTo>
                <a:cubicBezTo>
                  <a:pt x="2927973" y="3449867"/>
                  <a:pt x="2923915" y="3453640"/>
                  <a:pt x="2919788" y="3457343"/>
                </a:cubicBezTo>
                <a:cubicBezTo>
                  <a:pt x="2853471" y="3516418"/>
                  <a:pt x="2770861" y="3564835"/>
                  <a:pt x="2655114" y="3593418"/>
                </a:cubicBezTo>
                <a:cubicBezTo>
                  <a:pt x="2538141" y="3620845"/>
                  <a:pt x="2390510" y="3631434"/>
                  <a:pt x="2167672" y="3588088"/>
                </a:cubicBezTo>
                <a:cubicBezTo>
                  <a:pt x="1943538" y="3541087"/>
                  <a:pt x="1645021" y="3446707"/>
                  <a:pt x="1188167" y="3172434"/>
                </a:cubicBezTo>
                <a:cubicBezTo>
                  <a:pt x="1645281" y="3446777"/>
                  <a:pt x="1943868" y="3541039"/>
                  <a:pt x="2168003" y="3587923"/>
                </a:cubicBezTo>
                <a:cubicBezTo>
                  <a:pt x="2390840" y="3631127"/>
                  <a:pt x="2538424" y="3620444"/>
                  <a:pt x="2655350" y="3592875"/>
                </a:cubicBezTo>
                <a:cubicBezTo>
                  <a:pt x="2771049" y="3564174"/>
                  <a:pt x="2853591" y="3515640"/>
                  <a:pt x="2919813" y="3456470"/>
                </a:cubicBezTo>
                <a:cubicBezTo>
                  <a:pt x="2923938" y="3452744"/>
                  <a:pt x="2927995" y="3448994"/>
                  <a:pt x="2931980" y="3445174"/>
                </a:cubicBezTo>
                <a:cubicBezTo>
                  <a:pt x="2933963" y="3443263"/>
                  <a:pt x="2935942" y="3441353"/>
                  <a:pt x="2937900" y="3439419"/>
                </a:cubicBezTo>
                <a:cubicBezTo>
                  <a:pt x="2939858" y="3437485"/>
                  <a:pt x="2941791" y="3435528"/>
                  <a:pt x="2943725" y="3433547"/>
                </a:cubicBezTo>
                <a:cubicBezTo>
                  <a:pt x="2945658" y="3431566"/>
                  <a:pt x="2947547" y="3429632"/>
                  <a:pt x="2949456" y="3427581"/>
                </a:cubicBezTo>
                <a:cubicBezTo>
                  <a:pt x="2951342" y="3425529"/>
                  <a:pt x="2953229" y="3423454"/>
                  <a:pt x="2955068" y="3421378"/>
                </a:cubicBezTo>
                <a:cubicBezTo>
                  <a:pt x="2958772" y="3417228"/>
                  <a:pt x="2962426" y="3412982"/>
                  <a:pt x="2966011" y="3408667"/>
                </a:cubicBezTo>
                <a:cubicBezTo>
                  <a:pt x="2980304" y="3391427"/>
                  <a:pt x="2993557" y="3373009"/>
                  <a:pt x="3005397" y="3352869"/>
                </a:cubicBezTo>
                <a:cubicBezTo>
                  <a:pt x="3011291" y="3342799"/>
                  <a:pt x="3016834" y="3332304"/>
                  <a:pt x="3021787" y="3321385"/>
                </a:cubicBezTo>
                <a:cubicBezTo>
                  <a:pt x="3026740" y="3310466"/>
                  <a:pt x="3031148" y="3299099"/>
                  <a:pt x="3034687" y="3287638"/>
                </a:cubicBezTo>
                <a:cubicBezTo>
                  <a:pt x="3041878" y="3264621"/>
                  <a:pt x="3045228" y="3241792"/>
                  <a:pt x="3045793" y="3221793"/>
                </a:cubicBezTo>
                <a:cubicBezTo>
                  <a:pt x="3046408" y="3201653"/>
                  <a:pt x="3044757" y="3183706"/>
                  <a:pt x="3042163" y="3166868"/>
                </a:cubicBezTo>
                <a:cubicBezTo>
                  <a:pt x="3039567" y="3150006"/>
                  <a:pt x="3035958" y="3134323"/>
                  <a:pt x="3031881" y="3119041"/>
                </a:cubicBezTo>
                <a:cubicBezTo>
                  <a:pt x="3023650" y="3088501"/>
                  <a:pt x="3013295" y="3059942"/>
                  <a:pt x="3001812" y="3031430"/>
                </a:cubicBezTo>
                <a:cubicBezTo>
                  <a:pt x="2996056" y="3017162"/>
                  <a:pt x="2990018" y="3002941"/>
                  <a:pt x="2983700" y="2988720"/>
                </a:cubicBezTo>
                <a:cubicBezTo>
                  <a:pt x="2977354" y="2974571"/>
                  <a:pt x="2970727" y="2960421"/>
                  <a:pt x="2963843" y="2946271"/>
                </a:cubicBezTo>
                <a:cubicBezTo>
                  <a:pt x="2950071" y="2917994"/>
                  <a:pt x="2935212" y="2889742"/>
                  <a:pt x="2919457" y="2861394"/>
                </a:cubicBezTo>
                <a:cubicBezTo>
                  <a:pt x="2856610" y="2748054"/>
                  <a:pt x="2778502" y="2633392"/>
                  <a:pt x="2701219" y="2509651"/>
                </a:cubicBezTo>
                <a:cubicBezTo>
                  <a:pt x="2624149" y="2386051"/>
                  <a:pt x="2548329" y="2252830"/>
                  <a:pt x="2495574" y="2106401"/>
                </a:cubicBezTo>
                <a:cubicBezTo>
                  <a:pt x="2482391" y="2069824"/>
                  <a:pt x="2470670" y="2032492"/>
                  <a:pt x="2460718" y="1994357"/>
                </a:cubicBezTo>
                <a:cubicBezTo>
                  <a:pt x="2450836" y="1956129"/>
                  <a:pt x="2442747" y="1917146"/>
                  <a:pt x="2436781" y="1877432"/>
                </a:cubicBezTo>
                <a:cubicBezTo>
                  <a:pt x="2431050" y="1837437"/>
                  <a:pt x="2427418" y="1796402"/>
                  <a:pt x="2429116" y="1751688"/>
                </a:cubicBezTo>
                <a:cubicBezTo>
                  <a:pt x="2430060" y="1729261"/>
                  <a:pt x="2432347" y="1705866"/>
                  <a:pt x="2437865" y="1680278"/>
                </a:cubicBezTo>
                <a:cubicBezTo>
                  <a:pt x="2440648" y="1667496"/>
                  <a:pt x="2444233" y="1654195"/>
                  <a:pt x="2449162" y="1640187"/>
                </a:cubicBezTo>
                <a:cubicBezTo>
                  <a:pt x="2454114" y="1626178"/>
                  <a:pt x="2460435" y="1611510"/>
                  <a:pt x="2468453" y="1596511"/>
                </a:cubicBezTo>
                <a:cubicBezTo>
                  <a:pt x="2476471" y="1581512"/>
                  <a:pt x="2486187" y="1566253"/>
                  <a:pt x="2497248" y="1551561"/>
                </a:cubicBezTo>
                <a:cubicBezTo>
                  <a:pt x="2508285" y="1536845"/>
                  <a:pt x="2520548" y="1522671"/>
                  <a:pt x="2533472" y="1509276"/>
                </a:cubicBezTo>
                <a:cubicBezTo>
                  <a:pt x="2546395" y="1495857"/>
                  <a:pt x="2560144" y="1483099"/>
                  <a:pt x="2574247" y="1471001"/>
                </a:cubicBezTo>
                <a:cubicBezTo>
                  <a:pt x="2588421" y="1458808"/>
                  <a:pt x="2603090" y="1447252"/>
                  <a:pt x="2618230" y="1436027"/>
                </a:cubicBezTo>
                <a:cubicBezTo>
                  <a:pt x="2648511" y="1413623"/>
                  <a:pt x="2680631" y="1392799"/>
                  <a:pt x="2714756" y="1372846"/>
                </a:cubicBezTo>
                <a:cubicBezTo>
                  <a:pt x="2748881" y="1352918"/>
                  <a:pt x="2785033" y="1333959"/>
                  <a:pt x="2823452" y="1315704"/>
                </a:cubicBezTo>
                <a:cubicBezTo>
                  <a:pt x="2977024" y="1243351"/>
                  <a:pt x="3167364" y="1180195"/>
                  <a:pt x="3417323" y="1131519"/>
                </a:cubicBezTo>
                <a:cubicBezTo>
                  <a:pt x="3668390" y="1083150"/>
                  <a:pt x="3977023" y="1048624"/>
                  <a:pt x="4385391" y="1041148"/>
                </a:cubicBezTo>
                <a:cubicBezTo>
                  <a:pt x="4436617" y="1040455"/>
                  <a:pt x="4489326" y="1040105"/>
                  <a:pt x="4543669" y="1040212"/>
                </a:cubicBezTo>
                <a:close/>
                <a:moveTo>
                  <a:pt x="4511264" y="993921"/>
                </a:moveTo>
                <a:cubicBezTo>
                  <a:pt x="4889154" y="991953"/>
                  <a:pt x="5346861" y="1013331"/>
                  <a:pt x="5935256" y="1088010"/>
                </a:cubicBezTo>
                <a:cubicBezTo>
                  <a:pt x="5926720" y="1088599"/>
                  <a:pt x="5918253" y="1089190"/>
                  <a:pt x="5909810" y="1089779"/>
                </a:cubicBezTo>
                <a:cubicBezTo>
                  <a:pt x="5242476" y="1005916"/>
                  <a:pt x="4744304" y="990870"/>
                  <a:pt x="4340158" y="1000492"/>
                </a:cubicBezTo>
                <a:cubicBezTo>
                  <a:pt x="3937781" y="1011507"/>
                  <a:pt x="3629431" y="1047188"/>
                  <a:pt x="3383009" y="1096736"/>
                </a:cubicBezTo>
                <a:cubicBezTo>
                  <a:pt x="3135527" y="1146568"/>
                  <a:pt x="2946720" y="1210360"/>
                  <a:pt x="2793948" y="1282784"/>
                </a:cubicBezTo>
                <a:cubicBezTo>
                  <a:pt x="2755746" y="1301038"/>
                  <a:pt x="2719829" y="1319952"/>
                  <a:pt x="2685869" y="1339785"/>
                </a:cubicBezTo>
                <a:cubicBezTo>
                  <a:pt x="2651933" y="1359619"/>
                  <a:pt x="2619954" y="1380325"/>
                  <a:pt x="2589909" y="1402422"/>
                </a:cubicBezTo>
                <a:cubicBezTo>
                  <a:pt x="2574886" y="1413506"/>
                  <a:pt x="2560335" y="1424898"/>
                  <a:pt x="2546303" y="1436830"/>
                </a:cubicBezTo>
                <a:cubicBezTo>
                  <a:pt x="2532248" y="1448787"/>
                  <a:pt x="2518829" y="1461097"/>
                  <a:pt x="2506070" y="1474162"/>
                </a:cubicBezTo>
                <a:cubicBezTo>
                  <a:pt x="2493312" y="1487157"/>
                  <a:pt x="2481332" y="1500788"/>
                  <a:pt x="2470507" y="1514867"/>
                </a:cubicBezTo>
                <a:cubicBezTo>
                  <a:pt x="2459659" y="1528946"/>
                  <a:pt x="2450131" y="1543450"/>
                  <a:pt x="2442136" y="1557837"/>
                </a:cubicBezTo>
                <a:cubicBezTo>
                  <a:pt x="2434142" y="1572222"/>
                  <a:pt x="2427680" y="1586442"/>
                  <a:pt x="2422515" y="1600121"/>
                </a:cubicBezTo>
                <a:cubicBezTo>
                  <a:pt x="2417374" y="1613776"/>
                  <a:pt x="2413459" y="1626959"/>
                  <a:pt x="2410346" y="1639717"/>
                </a:cubicBezTo>
                <a:cubicBezTo>
                  <a:pt x="2404191" y="1665164"/>
                  <a:pt x="2401172" y="1688841"/>
                  <a:pt x="2399569" y="1711599"/>
                </a:cubicBezTo>
                <a:cubicBezTo>
                  <a:pt x="2396526" y="1756997"/>
                  <a:pt x="2398932" y="1799046"/>
                  <a:pt x="2403578" y="1840057"/>
                </a:cubicBezTo>
                <a:cubicBezTo>
                  <a:pt x="2408436" y="1880828"/>
                  <a:pt x="2415558" y="1920849"/>
                  <a:pt x="2424567" y="1960115"/>
                </a:cubicBezTo>
                <a:cubicBezTo>
                  <a:pt x="2433623" y="1999287"/>
                  <a:pt x="2444589" y="2037680"/>
                  <a:pt x="2457112" y="2075272"/>
                </a:cubicBezTo>
                <a:cubicBezTo>
                  <a:pt x="2507226" y="2225780"/>
                  <a:pt x="2582126" y="2362657"/>
                  <a:pt x="2659621" y="2488827"/>
                </a:cubicBezTo>
                <a:cubicBezTo>
                  <a:pt x="2737304" y="2615163"/>
                  <a:pt x="2817107" y="2731263"/>
                  <a:pt x="2882292" y="2844887"/>
                </a:cubicBezTo>
                <a:cubicBezTo>
                  <a:pt x="2898634" y="2873304"/>
                  <a:pt x="2914107" y="2901533"/>
                  <a:pt x="2928540" y="2929763"/>
                </a:cubicBezTo>
                <a:cubicBezTo>
                  <a:pt x="2935754" y="2943866"/>
                  <a:pt x="2942715" y="2957968"/>
                  <a:pt x="2949388" y="2972071"/>
                </a:cubicBezTo>
                <a:cubicBezTo>
                  <a:pt x="2956061" y="2986221"/>
                  <a:pt x="2962426" y="3000371"/>
                  <a:pt x="2968534" y="3014544"/>
                </a:cubicBezTo>
                <a:cubicBezTo>
                  <a:pt x="2980727" y="3042844"/>
                  <a:pt x="2991787" y="3071191"/>
                  <a:pt x="3000777" y="3101449"/>
                </a:cubicBezTo>
                <a:cubicBezTo>
                  <a:pt x="3005253" y="3116589"/>
                  <a:pt x="3009239" y="3132130"/>
                  <a:pt x="3012210" y="3148827"/>
                </a:cubicBezTo>
                <a:cubicBezTo>
                  <a:pt x="3015183" y="3165501"/>
                  <a:pt x="3017236" y="3183329"/>
                  <a:pt x="3016998" y="3203352"/>
                </a:cubicBezTo>
                <a:cubicBezTo>
                  <a:pt x="3016880" y="3213351"/>
                  <a:pt x="3016102" y="3223964"/>
                  <a:pt x="3014430" y="3235048"/>
                </a:cubicBezTo>
                <a:cubicBezTo>
                  <a:pt x="3012779" y="3246108"/>
                  <a:pt x="3010162" y="3257617"/>
                  <a:pt x="3006692" y="3269055"/>
                </a:cubicBezTo>
                <a:cubicBezTo>
                  <a:pt x="3003202" y="3280492"/>
                  <a:pt x="2998843" y="3291765"/>
                  <a:pt x="2993890" y="3302566"/>
                </a:cubicBezTo>
                <a:cubicBezTo>
                  <a:pt x="2988937" y="3313391"/>
                  <a:pt x="2983393" y="3323720"/>
                  <a:pt x="2977473" y="3333602"/>
                </a:cubicBezTo>
                <a:cubicBezTo>
                  <a:pt x="2965610" y="3353388"/>
                  <a:pt x="2952238" y="3371359"/>
                  <a:pt x="2937805" y="3388126"/>
                </a:cubicBezTo>
                <a:cubicBezTo>
                  <a:pt x="2934197" y="3392324"/>
                  <a:pt x="2930499" y="3396427"/>
                  <a:pt x="2926745" y="3400460"/>
                </a:cubicBezTo>
                <a:cubicBezTo>
                  <a:pt x="2924861" y="3402465"/>
                  <a:pt x="2922972" y="3404469"/>
                  <a:pt x="2921063" y="3406474"/>
                </a:cubicBezTo>
                <a:cubicBezTo>
                  <a:pt x="2919155" y="3408455"/>
                  <a:pt x="2917196" y="3410342"/>
                  <a:pt x="2915262" y="3412252"/>
                </a:cubicBezTo>
                <a:cubicBezTo>
                  <a:pt x="2913304" y="3414162"/>
                  <a:pt x="2911345" y="3416049"/>
                  <a:pt x="2909343" y="3417936"/>
                </a:cubicBezTo>
                <a:cubicBezTo>
                  <a:pt x="2907360" y="3419798"/>
                  <a:pt x="2905356" y="3421638"/>
                  <a:pt x="2903328" y="3423478"/>
                </a:cubicBezTo>
                <a:cubicBezTo>
                  <a:pt x="2899294" y="3427156"/>
                  <a:pt x="2895167" y="3430765"/>
                  <a:pt x="2890993" y="3434349"/>
                </a:cubicBezTo>
                <a:cubicBezTo>
                  <a:pt x="2823804" y="3491256"/>
                  <a:pt x="2739521" y="3537031"/>
                  <a:pt x="2620614" y="3561722"/>
                </a:cubicBezTo>
                <a:cubicBezTo>
                  <a:pt x="2500481" y="3585211"/>
                  <a:pt x="2348134" y="3590683"/>
                  <a:pt x="2118291" y="3538375"/>
                </a:cubicBezTo>
                <a:cubicBezTo>
                  <a:pt x="1887459" y="3482506"/>
                  <a:pt x="1578990" y="3374401"/>
                  <a:pt x="1115014" y="3080342"/>
                </a:cubicBezTo>
                <a:cubicBezTo>
                  <a:pt x="1579273" y="3374495"/>
                  <a:pt x="1887789" y="3482483"/>
                  <a:pt x="2118622" y="3538233"/>
                </a:cubicBezTo>
                <a:cubicBezTo>
                  <a:pt x="2348440" y="3590447"/>
                  <a:pt x="2500764" y="3584834"/>
                  <a:pt x="2620826" y="3561227"/>
                </a:cubicBezTo>
                <a:cubicBezTo>
                  <a:pt x="2739662" y="3536418"/>
                  <a:pt x="2823879" y="3490524"/>
                  <a:pt x="2890993" y="3433500"/>
                </a:cubicBezTo>
                <a:cubicBezTo>
                  <a:pt x="2895167" y="3429916"/>
                  <a:pt x="2899274" y="3426284"/>
                  <a:pt x="2903303" y="3422605"/>
                </a:cubicBezTo>
                <a:cubicBezTo>
                  <a:pt x="2905308" y="3420765"/>
                  <a:pt x="2907315" y="3418926"/>
                  <a:pt x="2909293" y="3417063"/>
                </a:cubicBezTo>
                <a:cubicBezTo>
                  <a:pt x="2911276" y="3415176"/>
                  <a:pt x="2913235" y="3413289"/>
                  <a:pt x="2915169" y="3411379"/>
                </a:cubicBezTo>
                <a:cubicBezTo>
                  <a:pt x="2917102" y="3409469"/>
                  <a:pt x="2919035" y="3407606"/>
                  <a:pt x="2920943" y="3405601"/>
                </a:cubicBezTo>
                <a:cubicBezTo>
                  <a:pt x="2922854" y="3403620"/>
                  <a:pt x="2924741" y="3401616"/>
                  <a:pt x="2926606" y="3399588"/>
                </a:cubicBezTo>
                <a:cubicBezTo>
                  <a:pt x="2930353" y="3395555"/>
                  <a:pt x="2934008" y="3391451"/>
                  <a:pt x="2937617" y="3387254"/>
                </a:cubicBezTo>
                <a:cubicBezTo>
                  <a:pt x="2952006" y="3370486"/>
                  <a:pt x="2965303" y="3352563"/>
                  <a:pt x="2977071" y="3332894"/>
                </a:cubicBezTo>
                <a:cubicBezTo>
                  <a:pt x="2982948" y="3323060"/>
                  <a:pt x="2988441" y="3312801"/>
                  <a:pt x="2993320" y="3302094"/>
                </a:cubicBezTo>
                <a:cubicBezTo>
                  <a:pt x="2998228" y="3291411"/>
                  <a:pt x="3002496" y="3280280"/>
                  <a:pt x="3005937" y="3269031"/>
                </a:cubicBezTo>
                <a:cubicBezTo>
                  <a:pt x="3012873" y="3246462"/>
                  <a:pt x="3015893" y="3224010"/>
                  <a:pt x="3016102" y="3204366"/>
                </a:cubicBezTo>
                <a:cubicBezTo>
                  <a:pt x="3016338" y="3184579"/>
                  <a:pt x="3014311" y="3166892"/>
                  <a:pt x="3011362" y="3150313"/>
                </a:cubicBezTo>
                <a:cubicBezTo>
                  <a:pt x="3008391" y="3133711"/>
                  <a:pt x="3004430" y="3118263"/>
                  <a:pt x="2999973" y="3103170"/>
                </a:cubicBezTo>
                <a:cubicBezTo>
                  <a:pt x="2991033" y="3073054"/>
                  <a:pt x="2979972" y="3044802"/>
                  <a:pt x="2967807" y="3016573"/>
                </a:cubicBezTo>
                <a:cubicBezTo>
                  <a:pt x="2961719" y="3002446"/>
                  <a:pt x="2955351" y="2988343"/>
                  <a:pt x="2948703" y="2974217"/>
                </a:cubicBezTo>
                <a:cubicBezTo>
                  <a:pt x="2942031" y="2960161"/>
                  <a:pt x="2935093" y="2946106"/>
                  <a:pt x="2927881" y="2932050"/>
                </a:cubicBezTo>
                <a:cubicBezTo>
                  <a:pt x="2913468" y="2903915"/>
                  <a:pt x="2898024" y="2875757"/>
                  <a:pt x="2881702" y="2847434"/>
                </a:cubicBezTo>
                <a:cubicBezTo>
                  <a:pt x="2816591" y="2734140"/>
                  <a:pt x="2736832" y="2618394"/>
                  <a:pt x="2658984" y="2492412"/>
                </a:cubicBezTo>
                <a:cubicBezTo>
                  <a:pt x="2581325" y="2366595"/>
                  <a:pt x="2506023" y="2230096"/>
                  <a:pt x="2455178" y="2079918"/>
                </a:cubicBezTo>
                <a:cubicBezTo>
                  <a:pt x="2442467" y="2042397"/>
                  <a:pt x="2431288" y="2004074"/>
                  <a:pt x="2421996" y="1964973"/>
                </a:cubicBezTo>
                <a:cubicBezTo>
                  <a:pt x="2412752" y="1925754"/>
                  <a:pt x="2405394" y="1885781"/>
                  <a:pt x="2400253" y="1845056"/>
                </a:cubicBezTo>
                <a:cubicBezTo>
                  <a:pt x="2395324" y="1804045"/>
                  <a:pt x="2392611" y="1761996"/>
                  <a:pt x="2395324" y="1716292"/>
                </a:cubicBezTo>
                <a:cubicBezTo>
                  <a:pt x="2396786" y="1693369"/>
                  <a:pt x="2399616" y="1669503"/>
                  <a:pt x="2405724" y="1643467"/>
                </a:cubicBezTo>
                <a:cubicBezTo>
                  <a:pt x="2408813" y="1630449"/>
                  <a:pt x="2412704" y="1616960"/>
                  <a:pt x="2417964" y="1602739"/>
                </a:cubicBezTo>
                <a:cubicBezTo>
                  <a:pt x="2423246" y="1588541"/>
                  <a:pt x="2429873" y="1573707"/>
                  <a:pt x="2438221" y="1558544"/>
                </a:cubicBezTo>
                <a:cubicBezTo>
                  <a:pt x="2446546" y="1543403"/>
                  <a:pt x="2456616" y="1528026"/>
                  <a:pt x="2467960" y="1513264"/>
                </a:cubicBezTo>
                <a:cubicBezTo>
                  <a:pt x="2479280" y="1498477"/>
                  <a:pt x="2491826" y="1484257"/>
                  <a:pt x="2505009" y="1470838"/>
                </a:cubicBezTo>
                <a:cubicBezTo>
                  <a:pt x="2518192" y="1457395"/>
                  <a:pt x="2532130" y="1444636"/>
                  <a:pt x="2546421" y="1432538"/>
                </a:cubicBezTo>
                <a:cubicBezTo>
                  <a:pt x="2560783" y="1420345"/>
                  <a:pt x="2575617" y="1408790"/>
                  <a:pt x="2590923" y="1397564"/>
                </a:cubicBezTo>
                <a:cubicBezTo>
                  <a:pt x="2621510" y="1375183"/>
                  <a:pt x="2653866" y="1354383"/>
                  <a:pt x="2688180" y="1334455"/>
                </a:cubicBezTo>
                <a:cubicBezTo>
                  <a:pt x="2722494" y="1314527"/>
                  <a:pt x="2758788" y="1295566"/>
                  <a:pt x="2797300" y="1277289"/>
                </a:cubicBezTo>
                <a:cubicBezTo>
                  <a:pt x="2951227" y="1204818"/>
                  <a:pt x="3141281" y="1141144"/>
                  <a:pt x="3390367" y="1091476"/>
                </a:cubicBezTo>
                <a:cubicBezTo>
                  <a:pt x="3638392" y="1042117"/>
                  <a:pt x="3948842" y="1006671"/>
                  <a:pt x="4354049" y="996106"/>
                </a:cubicBezTo>
                <a:cubicBezTo>
                  <a:pt x="4404924" y="994960"/>
                  <a:pt x="4457279" y="994202"/>
                  <a:pt x="4511264" y="993921"/>
                </a:cubicBezTo>
                <a:close/>
                <a:moveTo>
                  <a:pt x="1800392" y="976840"/>
                </a:moveTo>
                <a:cubicBezTo>
                  <a:pt x="1733345" y="1207886"/>
                  <a:pt x="1714455" y="1440936"/>
                  <a:pt x="1738911" y="1655402"/>
                </a:cubicBezTo>
                <a:cubicBezTo>
                  <a:pt x="1762400" y="1870404"/>
                  <a:pt x="1826145" y="2067513"/>
                  <a:pt x="1901493" y="2240897"/>
                </a:cubicBezTo>
                <a:cubicBezTo>
                  <a:pt x="1920313" y="2284313"/>
                  <a:pt x="1939840" y="2326291"/>
                  <a:pt x="1959650" y="2366855"/>
                </a:cubicBezTo>
                <a:cubicBezTo>
                  <a:pt x="1969555" y="2387136"/>
                  <a:pt x="1979530" y="2407088"/>
                  <a:pt x="1989506" y="2426662"/>
                </a:cubicBezTo>
                <a:cubicBezTo>
                  <a:pt x="1999458" y="2446259"/>
                  <a:pt x="2009434" y="2465527"/>
                  <a:pt x="2019362" y="2484440"/>
                </a:cubicBezTo>
                <a:cubicBezTo>
                  <a:pt x="2039243" y="2522244"/>
                  <a:pt x="2059053" y="2558704"/>
                  <a:pt x="2077000" y="2594551"/>
                </a:cubicBezTo>
                <a:cubicBezTo>
                  <a:pt x="2085938" y="2612450"/>
                  <a:pt x="2094499" y="2630185"/>
                  <a:pt x="2101809" y="2647919"/>
                </a:cubicBezTo>
                <a:cubicBezTo>
                  <a:pt x="2109073" y="2665607"/>
                  <a:pt x="2115299" y="2683365"/>
                  <a:pt x="2118058" y="2700840"/>
                </a:cubicBezTo>
                <a:lnTo>
                  <a:pt x="2116572" y="2700840"/>
                </a:lnTo>
                <a:cubicBezTo>
                  <a:pt x="2113837" y="2683577"/>
                  <a:pt x="2107658" y="2665937"/>
                  <a:pt x="2100418" y="2648344"/>
                </a:cubicBezTo>
                <a:cubicBezTo>
                  <a:pt x="2093131" y="2630704"/>
                  <a:pt x="2084594" y="2613040"/>
                  <a:pt x="2075656" y="2595187"/>
                </a:cubicBezTo>
                <a:cubicBezTo>
                  <a:pt x="2057709" y="2559482"/>
                  <a:pt x="2037875" y="2523070"/>
                  <a:pt x="2017995" y="2485313"/>
                </a:cubicBezTo>
                <a:cubicBezTo>
                  <a:pt x="2008066" y="2466423"/>
                  <a:pt x="1998090" y="2447179"/>
                  <a:pt x="1988115" y="2427605"/>
                </a:cubicBezTo>
                <a:cubicBezTo>
                  <a:pt x="1978115" y="2408055"/>
                  <a:pt x="1968140" y="2388150"/>
                  <a:pt x="1958211" y="2367892"/>
                </a:cubicBezTo>
                <a:cubicBezTo>
                  <a:pt x="1938378" y="2327376"/>
                  <a:pt x="1918804" y="2285445"/>
                  <a:pt x="1899937" y="2242099"/>
                </a:cubicBezTo>
                <a:cubicBezTo>
                  <a:pt x="1824376" y="2068928"/>
                  <a:pt x="1760301" y="1872031"/>
                  <a:pt x="1736222" y="1657147"/>
                </a:cubicBezTo>
                <a:cubicBezTo>
                  <a:pt x="1711224" y="1442823"/>
                  <a:pt x="1729336" y="1209820"/>
                  <a:pt x="1795628" y="978609"/>
                </a:cubicBezTo>
                <a:close/>
                <a:moveTo>
                  <a:pt x="4644526" y="947338"/>
                </a:moveTo>
                <a:cubicBezTo>
                  <a:pt x="4986614" y="949617"/>
                  <a:pt x="5392165" y="971067"/>
                  <a:pt x="5892099" y="1028533"/>
                </a:cubicBezTo>
                <a:cubicBezTo>
                  <a:pt x="5883845" y="1029193"/>
                  <a:pt x="5875520" y="1029877"/>
                  <a:pt x="5867219" y="1030561"/>
                </a:cubicBezTo>
                <a:cubicBezTo>
                  <a:pt x="5205592" y="955283"/>
                  <a:pt x="4710297" y="943327"/>
                  <a:pt x="4308769" y="955283"/>
                </a:cubicBezTo>
                <a:cubicBezTo>
                  <a:pt x="3908868" y="968419"/>
                  <a:pt x="3602758" y="1005469"/>
                  <a:pt x="3357044" y="1055772"/>
                </a:cubicBezTo>
                <a:cubicBezTo>
                  <a:pt x="3110623" y="1106406"/>
                  <a:pt x="2922149" y="1170529"/>
                  <a:pt x="2769024" y="1242882"/>
                </a:cubicBezTo>
                <a:cubicBezTo>
                  <a:pt x="2730725" y="1261112"/>
                  <a:pt x="2694666" y="1280002"/>
                  <a:pt x="2660518" y="1299765"/>
                </a:cubicBezTo>
                <a:cubicBezTo>
                  <a:pt x="2626393" y="1319551"/>
                  <a:pt x="2594178" y="1340163"/>
                  <a:pt x="2563803" y="1362189"/>
                </a:cubicBezTo>
                <a:cubicBezTo>
                  <a:pt x="2548615" y="1373226"/>
                  <a:pt x="2533876" y="1384593"/>
                  <a:pt x="2519679" y="1396503"/>
                </a:cubicBezTo>
                <a:cubicBezTo>
                  <a:pt x="2505411" y="1408412"/>
                  <a:pt x="2491780" y="1420723"/>
                  <a:pt x="2478762" y="1433765"/>
                </a:cubicBezTo>
                <a:cubicBezTo>
                  <a:pt x="2465768" y="1446759"/>
                  <a:pt x="2453504" y="1460391"/>
                  <a:pt x="2442373" y="1474541"/>
                </a:cubicBezTo>
                <a:cubicBezTo>
                  <a:pt x="2431242" y="1488667"/>
                  <a:pt x="2421384" y="1503265"/>
                  <a:pt x="2413059" y="1517745"/>
                </a:cubicBezTo>
                <a:cubicBezTo>
                  <a:pt x="2404734" y="1532248"/>
                  <a:pt x="2397942" y="1546611"/>
                  <a:pt x="2392424" y="1560478"/>
                </a:cubicBezTo>
                <a:cubicBezTo>
                  <a:pt x="2386953" y="1574321"/>
                  <a:pt x="2382731" y="1587717"/>
                  <a:pt x="2379288" y="1600664"/>
                </a:cubicBezTo>
                <a:cubicBezTo>
                  <a:pt x="2372496" y="1626535"/>
                  <a:pt x="2368911" y="1650684"/>
                  <a:pt x="2366742" y="1673937"/>
                </a:cubicBezTo>
                <a:cubicBezTo>
                  <a:pt x="2362591" y="1720325"/>
                  <a:pt x="2364030" y="1763388"/>
                  <a:pt x="2367756" y="1805437"/>
                </a:cubicBezTo>
                <a:cubicBezTo>
                  <a:pt x="2371741" y="1847226"/>
                  <a:pt x="2378015" y="1888303"/>
                  <a:pt x="2386316" y="1928584"/>
                </a:cubicBezTo>
                <a:cubicBezTo>
                  <a:pt x="2394664" y="1968769"/>
                  <a:pt x="2404970" y="2008177"/>
                  <a:pt x="2416950" y="2046759"/>
                </a:cubicBezTo>
                <a:cubicBezTo>
                  <a:pt x="2464848" y="2201182"/>
                  <a:pt x="2538970" y="2341596"/>
                  <a:pt x="2616842" y="2470219"/>
                </a:cubicBezTo>
                <a:cubicBezTo>
                  <a:pt x="2694902" y="2599054"/>
                  <a:pt x="2776217" y="2716570"/>
                  <a:pt x="2843521" y="2830406"/>
                </a:cubicBezTo>
                <a:cubicBezTo>
                  <a:pt x="2860383" y="2858871"/>
                  <a:pt x="2876418" y="2887100"/>
                  <a:pt x="2891464" y="2915235"/>
                </a:cubicBezTo>
                <a:cubicBezTo>
                  <a:pt x="2898991" y="2929290"/>
                  <a:pt x="2906254" y="2943346"/>
                  <a:pt x="2913255" y="2957354"/>
                </a:cubicBezTo>
                <a:cubicBezTo>
                  <a:pt x="2920236" y="2971433"/>
                  <a:pt x="2926957" y="2985489"/>
                  <a:pt x="2933373" y="2999568"/>
                </a:cubicBezTo>
                <a:cubicBezTo>
                  <a:pt x="2946205" y="3027656"/>
                  <a:pt x="2957969" y="3055720"/>
                  <a:pt x="2967638" y="3085624"/>
                </a:cubicBezTo>
                <a:cubicBezTo>
                  <a:pt x="2972452" y="3100575"/>
                  <a:pt x="2976789" y="3115928"/>
                  <a:pt x="2980137" y="3132389"/>
                </a:cubicBezTo>
                <a:cubicBezTo>
                  <a:pt x="2983463" y="3148826"/>
                  <a:pt x="2985892" y="3166396"/>
                  <a:pt x="2985986" y="3186088"/>
                </a:cubicBezTo>
                <a:cubicBezTo>
                  <a:pt x="2986037" y="3195922"/>
                  <a:pt x="2985421" y="3206370"/>
                  <a:pt x="2983915" y="3217241"/>
                </a:cubicBezTo>
                <a:cubicBezTo>
                  <a:pt x="2982427" y="3228090"/>
                  <a:pt x="2979949" y="3239410"/>
                  <a:pt x="2976576" y="3250612"/>
                </a:cubicBezTo>
                <a:cubicBezTo>
                  <a:pt x="2973205" y="3261814"/>
                  <a:pt x="2968936" y="3272874"/>
                  <a:pt x="2964034" y="3283440"/>
                </a:cubicBezTo>
                <a:cubicBezTo>
                  <a:pt x="2959125" y="3294028"/>
                  <a:pt x="2953606" y="3304122"/>
                  <a:pt x="2947711" y="3313768"/>
                </a:cubicBezTo>
                <a:cubicBezTo>
                  <a:pt x="2935872" y="3333058"/>
                  <a:pt x="2922457" y="3350534"/>
                  <a:pt x="2907880" y="3366783"/>
                </a:cubicBezTo>
                <a:cubicBezTo>
                  <a:pt x="2904227" y="3370839"/>
                  <a:pt x="2900522" y="3374825"/>
                  <a:pt x="2896724" y="3378716"/>
                </a:cubicBezTo>
                <a:cubicBezTo>
                  <a:pt x="2894837" y="3380673"/>
                  <a:pt x="2892903" y="3382607"/>
                  <a:pt x="2890969" y="3384517"/>
                </a:cubicBezTo>
                <a:cubicBezTo>
                  <a:pt x="2889035" y="3386427"/>
                  <a:pt x="2887078" y="3388243"/>
                  <a:pt x="2885098" y="3390106"/>
                </a:cubicBezTo>
                <a:cubicBezTo>
                  <a:pt x="2883116" y="3391946"/>
                  <a:pt x="2881137" y="3393762"/>
                  <a:pt x="2879110" y="3395601"/>
                </a:cubicBezTo>
                <a:cubicBezTo>
                  <a:pt x="2877102" y="3397394"/>
                  <a:pt x="2875074" y="3399162"/>
                  <a:pt x="2873022" y="3400931"/>
                </a:cubicBezTo>
                <a:cubicBezTo>
                  <a:pt x="2868921" y="3404469"/>
                  <a:pt x="2864772" y="3407959"/>
                  <a:pt x="2860523" y="3411379"/>
                </a:cubicBezTo>
                <a:cubicBezTo>
                  <a:pt x="2792321" y="3465974"/>
                  <a:pt x="2706246" y="3508966"/>
                  <a:pt x="2584061" y="3529530"/>
                </a:cubicBezTo>
                <a:cubicBezTo>
                  <a:pt x="2460650" y="3548822"/>
                  <a:pt x="2303421" y="3548869"/>
                  <a:pt x="2066716" y="3487151"/>
                </a:cubicBezTo>
                <a:cubicBezTo>
                  <a:pt x="1829327" y="3422062"/>
                  <a:pt x="1511308" y="3299641"/>
                  <a:pt x="1041860" y="2986480"/>
                </a:cubicBezTo>
                <a:cubicBezTo>
                  <a:pt x="1511567" y="3299735"/>
                  <a:pt x="1829658" y="3422038"/>
                  <a:pt x="2067046" y="3487033"/>
                </a:cubicBezTo>
                <a:cubicBezTo>
                  <a:pt x="2303751" y="3548633"/>
                  <a:pt x="2460933" y="3548468"/>
                  <a:pt x="2584274" y="3529059"/>
                </a:cubicBezTo>
                <a:cubicBezTo>
                  <a:pt x="2706411" y="3508376"/>
                  <a:pt x="2792415" y="3465266"/>
                  <a:pt x="2860523" y="3410553"/>
                </a:cubicBezTo>
                <a:cubicBezTo>
                  <a:pt x="2864772" y="3407110"/>
                  <a:pt x="2868921" y="3403620"/>
                  <a:pt x="2873002" y="3400082"/>
                </a:cubicBezTo>
                <a:cubicBezTo>
                  <a:pt x="2875055" y="3398313"/>
                  <a:pt x="2877082" y="3396545"/>
                  <a:pt x="2879084" y="3394729"/>
                </a:cubicBezTo>
                <a:cubicBezTo>
                  <a:pt x="2881088" y="3392913"/>
                  <a:pt x="2883071" y="3391097"/>
                  <a:pt x="2885030" y="3389257"/>
                </a:cubicBezTo>
                <a:cubicBezTo>
                  <a:pt x="2886984" y="3387418"/>
                  <a:pt x="2888941" y="3385602"/>
                  <a:pt x="2890875" y="3383692"/>
                </a:cubicBezTo>
                <a:cubicBezTo>
                  <a:pt x="2892809" y="3381758"/>
                  <a:pt x="2894722" y="3379824"/>
                  <a:pt x="2896606" y="3377890"/>
                </a:cubicBezTo>
                <a:cubicBezTo>
                  <a:pt x="2900379" y="3373999"/>
                  <a:pt x="2904107" y="3370013"/>
                  <a:pt x="2907717" y="3365957"/>
                </a:cubicBezTo>
                <a:cubicBezTo>
                  <a:pt x="2922218" y="3349732"/>
                  <a:pt x="2935565" y="3332280"/>
                  <a:pt x="2947310" y="3313107"/>
                </a:cubicBezTo>
                <a:cubicBezTo>
                  <a:pt x="2953160" y="3303509"/>
                  <a:pt x="2958630" y="3293486"/>
                  <a:pt x="2963464" y="3283039"/>
                </a:cubicBezTo>
                <a:cubicBezTo>
                  <a:pt x="2968303" y="3272591"/>
                  <a:pt x="2972497" y="3261696"/>
                  <a:pt x="2975822" y="3250659"/>
                </a:cubicBezTo>
                <a:cubicBezTo>
                  <a:pt x="2982547" y="3228538"/>
                  <a:pt x="2985233" y="3206488"/>
                  <a:pt x="2985090" y="3187149"/>
                </a:cubicBezTo>
                <a:cubicBezTo>
                  <a:pt x="2984995" y="3167669"/>
                  <a:pt x="2982590" y="3150265"/>
                  <a:pt x="2979289" y="3133922"/>
                </a:cubicBezTo>
                <a:cubicBezTo>
                  <a:pt x="2975963" y="3117555"/>
                  <a:pt x="2971647" y="3102297"/>
                  <a:pt x="2966840" y="3087392"/>
                </a:cubicBezTo>
                <a:cubicBezTo>
                  <a:pt x="2957191" y="3057630"/>
                  <a:pt x="2945470" y="3029637"/>
                  <a:pt x="2932641" y="3001620"/>
                </a:cubicBezTo>
                <a:cubicBezTo>
                  <a:pt x="2926230" y="2987611"/>
                  <a:pt x="2919531" y="2973580"/>
                  <a:pt x="2912571" y="2959547"/>
                </a:cubicBezTo>
                <a:cubicBezTo>
                  <a:pt x="2905596" y="2945563"/>
                  <a:pt x="2898327" y="2931554"/>
                  <a:pt x="2890830" y="2917546"/>
                </a:cubicBezTo>
                <a:cubicBezTo>
                  <a:pt x="2875808" y="2889505"/>
                  <a:pt x="2859793" y="2861347"/>
                  <a:pt x="2842957" y="2832953"/>
                </a:cubicBezTo>
                <a:cubicBezTo>
                  <a:pt x="2775722" y="2719447"/>
                  <a:pt x="2694431" y="2602285"/>
                  <a:pt x="2616181" y="2473804"/>
                </a:cubicBezTo>
                <a:cubicBezTo>
                  <a:pt x="2538121" y="2345511"/>
                  <a:pt x="2463575" y="2205498"/>
                  <a:pt x="2414922" y="2051381"/>
                </a:cubicBezTo>
                <a:cubicBezTo>
                  <a:pt x="2402753" y="2012894"/>
                  <a:pt x="2392235" y="1973557"/>
                  <a:pt x="2383651" y="1933442"/>
                </a:cubicBezTo>
                <a:cubicBezTo>
                  <a:pt x="2375114" y="1893209"/>
                  <a:pt x="2368581" y="1852203"/>
                  <a:pt x="2364313" y="1810437"/>
                </a:cubicBezTo>
                <a:cubicBezTo>
                  <a:pt x="2360280" y="1768388"/>
                  <a:pt x="2358535" y="1725325"/>
                  <a:pt x="2362355" y="1678630"/>
                </a:cubicBezTo>
                <a:cubicBezTo>
                  <a:pt x="2364360" y="1655212"/>
                  <a:pt x="2367803" y="1630874"/>
                  <a:pt x="2374548" y="1604390"/>
                </a:cubicBezTo>
                <a:cubicBezTo>
                  <a:pt x="2377967" y="1591160"/>
                  <a:pt x="2382189" y="1577458"/>
                  <a:pt x="2387778" y="1563049"/>
                </a:cubicBezTo>
                <a:cubicBezTo>
                  <a:pt x="2393391" y="1548663"/>
                  <a:pt x="2400395" y="1533664"/>
                  <a:pt x="2409097" y="1518382"/>
                </a:cubicBezTo>
                <a:cubicBezTo>
                  <a:pt x="2417776" y="1503123"/>
                  <a:pt x="2428200" y="1487652"/>
                  <a:pt x="2439850" y="1472843"/>
                </a:cubicBezTo>
                <a:cubicBezTo>
                  <a:pt x="2451500" y="1458008"/>
                  <a:pt x="2464305" y="1443764"/>
                  <a:pt x="2477748" y="1430369"/>
                </a:cubicBezTo>
                <a:cubicBezTo>
                  <a:pt x="2491167" y="1416926"/>
                  <a:pt x="2505364" y="1404191"/>
                  <a:pt x="2519844" y="1392116"/>
                </a:cubicBezTo>
                <a:cubicBezTo>
                  <a:pt x="2534419" y="1379948"/>
                  <a:pt x="2549418" y="1368439"/>
                  <a:pt x="2564864" y="1357260"/>
                </a:cubicBezTo>
                <a:cubicBezTo>
                  <a:pt x="2595782" y="1334951"/>
                  <a:pt x="2628374" y="1314245"/>
                  <a:pt x="2662876" y="1294364"/>
                </a:cubicBezTo>
                <a:cubicBezTo>
                  <a:pt x="2697379" y="1274507"/>
                  <a:pt x="2733791" y="1255570"/>
                  <a:pt x="2772397" y="1237316"/>
                </a:cubicBezTo>
                <a:cubicBezTo>
                  <a:pt x="2926675" y="1164939"/>
                  <a:pt x="3116354" y="1100910"/>
                  <a:pt x="3364355" y="1050465"/>
                </a:cubicBezTo>
                <a:cubicBezTo>
                  <a:pt x="3611625" y="1000351"/>
                  <a:pt x="3919787" y="963538"/>
                  <a:pt x="4322447" y="950826"/>
                </a:cubicBezTo>
                <a:cubicBezTo>
                  <a:pt x="4423519" y="947949"/>
                  <a:pt x="4530497" y="946578"/>
                  <a:pt x="4644526" y="947338"/>
                </a:cubicBezTo>
                <a:close/>
                <a:moveTo>
                  <a:pt x="4610841" y="899708"/>
                </a:moveTo>
                <a:cubicBezTo>
                  <a:pt x="4950255" y="899928"/>
                  <a:pt x="5352498" y="918292"/>
                  <a:pt x="5847268" y="969833"/>
                </a:cubicBezTo>
                <a:cubicBezTo>
                  <a:pt x="5839037" y="970658"/>
                  <a:pt x="5830854" y="971437"/>
                  <a:pt x="5822718" y="972215"/>
                </a:cubicBezTo>
                <a:cubicBezTo>
                  <a:pt x="5167788" y="904720"/>
                  <a:pt x="4675984" y="895593"/>
                  <a:pt x="4277592" y="909625"/>
                </a:cubicBezTo>
                <a:cubicBezTo>
                  <a:pt x="3880640" y="924695"/>
                  <a:pt x="3577076" y="962923"/>
                  <a:pt x="3332306" y="1013792"/>
                </a:cubicBezTo>
                <a:cubicBezTo>
                  <a:pt x="3087159" y="1065039"/>
                  <a:pt x="2899129" y="1129303"/>
                  <a:pt x="2745674" y="1201350"/>
                </a:cubicBezTo>
                <a:cubicBezTo>
                  <a:pt x="2707304" y="1219509"/>
                  <a:pt x="2671104" y="1238281"/>
                  <a:pt x="2636767" y="1257949"/>
                </a:cubicBezTo>
                <a:cubicBezTo>
                  <a:pt x="2602454" y="1277618"/>
                  <a:pt x="2569979" y="1298088"/>
                  <a:pt x="2539298" y="1319973"/>
                </a:cubicBezTo>
                <a:cubicBezTo>
                  <a:pt x="2523945" y="1330963"/>
                  <a:pt x="2509040" y="1342236"/>
                  <a:pt x="2494631" y="1354098"/>
                </a:cubicBezTo>
                <a:cubicBezTo>
                  <a:pt x="2480175" y="1365960"/>
                  <a:pt x="2466308" y="1378200"/>
                  <a:pt x="2453030" y="1391242"/>
                </a:cubicBezTo>
                <a:cubicBezTo>
                  <a:pt x="2439777" y="1404212"/>
                  <a:pt x="2427230" y="1417820"/>
                  <a:pt x="2415792" y="1431994"/>
                </a:cubicBezTo>
                <a:cubicBezTo>
                  <a:pt x="2404331" y="1446143"/>
                  <a:pt x="2394143" y="1460790"/>
                  <a:pt x="2385464" y="1475387"/>
                </a:cubicBezTo>
                <a:cubicBezTo>
                  <a:pt x="2376786" y="1489985"/>
                  <a:pt x="2369640" y="1504489"/>
                  <a:pt x="2363768" y="1518520"/>
                </a:cubicBezTo>
                <a:cubicBezTo>
                  <a:pt x="2357943" y="1532529"/>
                  <a:pt x="2353368" y="1546113"/>
                  <a:pt x="2349594" y="1559272"/>
                </a:cubicBezTo>
                <a:cubicBezTo>
                  <a:pt x="2342142" y="1585545"/>
                  <a:pt x="2337920" y="1610189"/>
                  <a:pt x="2335161" y="1633890"/>
                </a:cubicBezTo>
                <a:cubicBezTo>
                  <a:pt x="2329831" y="1681246"/>
                  <a:pt x="2330185" y="1725346"/>
                  <a:pt x="2332944" y="1768456"/>
                </a:cubicBezTo>
                <a:cubicBezTo>
                  <a:pt x="2335940" y="1811307"/>
                  <a:pt x="2341340" y="1853427"/>
                  <a:pt x="2348816" y="1894742"/>
                </a:cubicBezTo>
                <a:cubicBezTo>
                  <a:pt x="2356339" y="1935989"/>
                  <a:pt x="2365961" y="1976411"/>
                  <a:pt x="2377304" y="2016007"/>
                </a:cubicBezTo>
                <a:cubicBezTo>
                  <a:pt x="2422655" y="2174510"/>
                  <a:pt x="2495763" y="2318651"/>
                  <a:pt x="2573823" y="2450033"/>
                </a:cubicBezTo>
                <a:cubicBezTo>
                  <a:pt x="2652073" y="2581627"/>
                  <a:pt x="2734732" y="2700888"/>
                  <a:pt x="2804042" y="2815219"/>
                </a:cubicBezTo>
                <a:cubicBezTo>
                  <a:pt x="2821399" y="2843802"/>
                  <a:pt x="2838004" y="2872102"/>
                  <a:pt x="2853616" y="2900213"/>
                </a:cubicBezTo>
                <a:cubicBezTo>
                  <a:pt x="2861420" y="2914269"/>
                  <a:pt x="2868990" y="2928277"/>
                  <a:pt x="2876278" y="2942262"/>
                </a:cubicBezTo>
                <a:cubicBezTo>
                  <a:pt x="2883566" y="2956294"/>
                  <a:pt x="2890592" y="2970302"/>
                  <a:pt x="2897314" y="2984287"/>
                </a:cubicBezTo>
                <a:cubicBezTo>
                  <a:pt x="2910780" y="3012233"/>
                  <a:pt x="2923184" y="3040085"/>
                  <a:pt x="2933537" y="3069682"/>
                </a:cubicBezTo>
                <a:cubicBezTo>
                  <a:pt x="2938703" y="3084492"/>
                  <a:pt x="2943373" y="3099656"/>
                  <a:pt x="2947052" y="3115929"/>
                </a:cubicBezTo>
                <a:cubicBezTo>
                  <a:pt x="2950706" y="3132178"/>
                  <a:pt x="2953489" y="3149488"/>
                  <a:pt x="2953939" y="3168873"/>
                </a:cubicBezTo>
                <a:cubicBezTo>
                  <a:pt x="2954151" y="3178542"/>
                  <a:pt x="2953701" y="3188825"/>
                  <a:pt x="2952333" y="3199507"/>
                </a:cubicBezTo>
                <a:cubicBezTo>
                  <a:pt x="2950989" y="3210167"/>
                  <a:pt x="2948633" y="3221275"/>
                  <a:pt x="2945376" y="3232241"/>
                </a:cubicBezTo>
                <a:cubicBezTo>
                  <a:pt x="2942099" y="3243231"/>
                  <a:pt x="2937900" y="3254032"/>
                  <a:pt x="2933042" y="3264338"/>
                </a:cubicBezTo>
                <a:cubicBezTo>
                  <a:pt x="2928184" y="3274667"/>
                  <a:pt x="2922689" y="3284501"/>
                  <a:pt x="2916794" y="3293911"/>
                </a:cubicBezTo>
                <a:cubicBezTo>
                  <a:pt x="2904931" y="3312707"/>
                  <a:pt x="2891420" y="3329640"/>
                  <a:pt x="2876725" y="3345323"/>
                </a:cubicBezTo>
                <a:cubicBezTo>
                  <a:pt x="2873046" y="3349238"/>
                  <a:pt x="2869273" y="3353082"/>
                  <a:pt x="2865455" y="3356855"/>
                </a:cubicBezTo>
                <a:cubicBezTo>
                  <a:pt x="2863542" y="3358718"/>
                  <a:pt x="2861587" y="3360605"/>
                  <a:pt x="2859629" y="3362444"/>
                </a:cubicBezTo>
                <a:cubicBezTo>
                  <a:pt x="2857671" y="3364284"/>
                  <a:pt x="2855668" y="3366029"/>
                  <a:pt x="2853661" y="3367821"/>
                </a:cubicBezTo>
                <a:cubicBezTo>
                  <a:pt x="2851657" y="3369590"/>
                  <a:pt x="2849630" y="3371335"/>
                  <a:pt x="2847577" y="3373080"/>
                </a:cubicBezTo>
                <a:cubicBezTo>
                  <a:pt x="2845525" y="3374802"/>
                  <a:pt x="2843473" y="3376500"/>
                  <a:pt x="2841400" y="3378198"/>
                </a:cubicBezTo>
                <a:cubicBezTo>
                  <a:pt x="2837249" y="3381594"/>
                  <a:pt x="2833002" y="3384919"/>
                  <a:pt x="2828687" y="3388197"/>
                </a:cubicBezTo>
                <a:cubicBezTo>
                  <a:pt x="2759376" y="3440340"/>
                  <a:pt x="2671340" y="3480384"/>
                  <a:pt x="2545736" y="3496586"/>
                </a:cubicBezTo>
                <a:cubicBezTo>
                  <a:pt x="2418952" y="3511443"/>
                  <a:pt x="2256676" y="3505712"/>
                  <a:pt x="2013297" y="3434184"/>
                </a:cubicBezTo>
                <a:cubicBezTo>
                  <a:pt x="1769541" y="3359543"/>
                  <a:pt x="1442466" y="3222265"/>
                  <a:pt x="969339" y="2890945"/>
                </a:cubicBezTo>
                <a:cubicBezTo>
                  <a:pt x="1442749" y="3222360"/>
                  <a:pt x="1769895" y="3359543"/>
                  <a:pt x="2013628" y="3434066"/>
                </a:cubicBezTo>
                <a:cubicBezTo>
                  <a:pt x="2257030" y="3505476"/>
                  <a:pt x="2419212" y="3511066"/>
                  <a:pt x="2545948" y="3496090"/>
                </a:cubicBezTo>
                <a:cubicBezTo>
                  <a:pt x="2671482" y="3479771"/>
                  <a:pt x="2759447" y="3439608"/>
                  <a:pt x="2828663" y="3387348"/>
                </a:cubicBezTo>
                <a:cubicBezTo>
                  <a:pt x="2832981" y="3384046"/>
                  <a:pt x="2837200" y="3380721"/>
                  <a:pt x="2841350" y="3377325"/>
                </a:cubicBezTo>
                <a:cubicBezTo>
                  <a:pt x="2843427" y="3375627"/>
                  <a:pt x="2845479" y="3373929"/>
                  <a:pt x="2847531" y="3372208"/>
                </a:cubicBezTo>
                <a:cubicBezTo>
                  <a:pt x="2849560" y="3370462"/>
                  <a:pt x="2851588" y="3368717"/>
                  <a:pt x="2853567" y="3366948"/>
                </a:cubicBezTo>
                <a:cubicBezTo>
                  <a:pt x="2855573" y="3365180"/>
                  <a:pt x="2857529" y="3363434"/>
                  <a:pt x="2859486" y="3361595"/>
                </a:cubicBezTo>
                <a:cubicBezTo>
                  <a:pt x="2861444" y="3359756"/>
                  <a:pt x="2863377" y="3357869"/>
                  <a:pt x="2865287" y="3356006"/>
                </a:cubicBezTo>
                <a:cubicBezTo>
                  <a:pt x="2869109" y="3352232"/>
                  <a:pt x="2872858" y="3348412"/>
                  <a:pt x="2876537" y="3344497"/>
                </a:cubicBezTo>
                <a:cubicBezTo>
                  <a:pt x="2891182" y="3328814"/>
                  <a:pt x="2904648" y="3311905"/>
                  <a:pt x="2916392" y="3293227"/>
                </a:cubicBezTo>
                <a:cubicBezTo>
                  <a:pt x="2922243" y="3283888"/>
                  <a:pt x="2927691" y="3274125"/>
                  <a:pt x="2932501" y="3263890"/>
                </a:cubicBezTo>
                <a:cubicBezTo>
                  <a:pt x="2937289" y="3253678"/>
                  <a:pt x="2941440" y="3243019"/>
                  <a:pt x="2944647" y="3232218"/>
                </a:cubicBezTo>
                <a:cubicBezTo>
                  <a:pt x="2951178" y="3210545"/>
                  <a:pt x="2953562" y="3188872"/>
                  <a:pt x="2953090" y="3169864"/>
                </a:cubicBezTo>
                <a:cubicBezTo>
                  <a:pt x="2952664" y="3150690"/>
                  <a:pt x="2949904" y="3133522"/>
                  <a:pt x="2946274" y="3117391"/>
                </a:cubicBezTo>
                <a:cubicBezTo>
                  <a:pt x="2942619" y="3101236"/>
                  <a:pt x="2937949" y="3086143"/>
                  <a:pt x="2932808" y="3071380"/>
                </a:cubicBezTo>
                <a:cubicBezTo>
                  <a:pt x="2922477" y="3041925"/>
                  <a:pt x="2910096" y="3014143"/>
                  <a:pt x="2896655" y="2986268"/>
                </a:cubicBezTo>
                <a:cubicBezTo>
                  <a:pt x="2889932" y="2972330"/>
                  <a:pt x="2882928" y="2958369"/>
                  <a:pt x="2875640" y="2944361"/>
                </a:cubicBezTo>
                <a:cubicBezTo>
                  <a:pt x="2868355" y="2930423"/>
                  <a:pt x="2860809" y="2916438"/>
                  <a:pt x="2853001" y="2902430"/>
                </a:cubicBezTo>
                <a:cubicBezTo>
                  <a:pt x="2837413" y="2874389"/>
                  <a:pt x="2820834" y="2846184"/>
                  <a:pt x="2803502" y="2817672"/>
                </a:cubicBezTo>
                <a:cubicBezTo>
                  <a:pt x="2734237" y="2703670"/>
                  <a:pt x="2651601" y="2584764"/>
                  <a:pt x="2573163" y="2453547"/>
                </a:cubicBezTo>
                <a:cubicBezTo>
                  <a:pt x="2494914" y="2322518"/>
                  <a:pt x="2421382" y="2178755"/>
                  <a:pt x="2375229" y="2020559"/>
                </a:cubicBezTo>
                <a:cubicBezTo>
                  <a:pt x="2363697" y="1981057"/>
                  <a:pt x="2353863" y="1940682"/>
                  <a:pt x="2346104" y="1899506"/>
                </a:cubicBezTo>
                <a:cubicBezTo>
                  <a:pt x="2338392" y="1858238"/>
                  <a:pt x="2332709" y="1816165"/>
                  <a:pt x="2329431" y="1773338"/>
                </a:cubicBezTo>
                <a:cubicBezTo>
                  <a:pt x="2326388" y="1730251"/>
                  <a:pt x="2325704" y="1686127"/>
                  <a:pt x="2330728" y="1638442"/>
                </a:cubicBezTo>
                <a:cubicBezTo>
                  <a:pt x="2333345" y="1614552"/>
                  <a:pt x="2337402" y="1589719"/>
                  <a:pt x="2344830" y="1562834"/>
                </a:cubicBezTo>
                <a:cubicBezTo>
                  <a:pt x="2348580" y="1549392"/>
                  <a:pt x="2353155" y="1535477"/>
                  <a:pt x="2359122" y="1520926"/>
                </a:cubicBezTo>
                <a:cubicBezTo>
                  <a:pt x="2365112" y="1506375"/>
                  <a:pt x="2372494" y="1491235"/>
                  <a:pt x="2381549" y="1475858"/>
                </a:cubicBezTo>
                <a:cubicBezTo>
                  <a:pt x="2390605" y="1460483"/>
                  <a:pt x="2401383" y="1444965"/>
                  <a:pt x="2413387" y="1430130"/>
                </a:cubicBezTo>
                <a:cubicBezTo>
                  <a:pt x="2425367" y="1415273"/>
                  <a:pt x="2438479" y="1401052"/>
                  <a:pt x="2452205" y="1387681"/>
                </a:cubicBezTo>
                <a:cubicBezTo>
                  <a:pt x="2465907" y="1374262"/>
                  <a:pt x="2480316" y="1361574"/>
                  <a:pt x="2495032" y="1349570"/>
                </a:cubicBezTo>
                <a:cubicBezTo>
                  <a:pt x="2509819" y="1337472"/>
                  <a:pt x="2525006" y="1326010"/>
                  <a:pt x="2540618" y="1314903"/>
                </a:cubicBezTo>
                <a:cubicBezTo>
                  <a:pt x="2571866" y="1292734"/>
                  <a:pt x="2604694" y="1272146"/>
                  <a:pt x="2639385" y="1252384"/>
                </a:cubicBezTo>
                <a:cubicBezTo>
                  <a:pt x="2674099" y="1232644"/>
                  <a:pt x="2710630" y="1213801"/>
                  <a:pt x="2749306" y="1195619"/>
                </a:cubicBezTo>
                <a:cubicBezTo>
                  <a:pt x="2903870" y="1123549"/>
                  <a:pt x="3093101" y="1059402"/>
                  <a:pt x="3339782" y="1008321"/>
                </a:cubicBezTo>
                <a:cubicBezTo>
                  <a:pt x="3586085" y="957641"/>
                  <a:pt x="3891629" y="919624"/>
                  <a:pt x="4291271" y="904979"/>
                </a:cubicBezTo>
                <a:cubicBezTo>
                  <a:pt x="4391547" y="901577"/>
                  <a:pt x="4497704" y="899635"/>
                  <a:pt x="4610841" y="899708"/>
                </a:cubicBezTo>
                <a:close/>
                <a:moveTo>
                  <a:pt x="4576613" y="851995"/>
                </a:moveTo>
                <a:cubicBezTo>
                  <a:pt x="4912921" y="850355"/>
                  <a:pt x="5311321" y="865925"/>
                  <a:pt x="5800219" y="912124"/>
                </a:cubicBezTo>
                <a:cubicBezTo>
                  <a:pt x="5792248" y="912902"/>
                  <a:pt x="5784229" y="913775"/>
                  <a:pt x="5776259" y="914624"/>
                </a:cubicBezTo>
                <a:cubicBezTo>
                  <a:pt x="5128946" y="854180"/>
                  <a:pt x="4641292" y="847601"/>
                  <a:pt x="4246486" y="863519"/>
                </a:cubicBezTo>
                <a:cubicBezTo>
                  <a:pt x="3852952" y="880287"/>
                  <a:pt x="3552290" y="919553"/>
                  <a:pt x="3308675" y="970799"/>
                </a:cubicBezTo>
                <a:cubicBezTo>
                  <a:pt x="3065015" y="1022494"/>
                  <a:pt x="2877552" y="1086664"/>
                  <a:pt x="2723836" y="1158168"/>
                </a:cubicBezTo>
                <a:cubicBezTo>
                  <a:pt x="2685395" y="1176185"/>
                  <a:pt x="2649077" y="1194816"/>
                  <a:pt x="2614551" y="1214296"/>
                </a:cubicBezTo>
                <a:cubicBezTo>
                  <a:pt x="2580049" y="1233776"/>
                  <a:pt x="2547339" y="1254081"/>
                  <a:pt x="2516327" y="1275777"/>
                </a:cubicBezTo>
                <a:cubicBezTo>
                  <a:pt x="2500809" y="1286673"/>
                  <a:pt x="2485716" y="1297851"/>
                  <a:pt x="2471094" y="1309619"/>
                </a:cubicBezTo>
                <a:cubicBezTo>
                  <a:pt x="2456426" y="1321387"/>
                  <a:pt x="2442323" y="1333556"/>
                  <a:pt x="2428763" y="1346527"/>
                </a:cubicBezTo>
                <a:cubicBezTo>
                  <a:pt x="2415249" y="1359428"/>
                  <a:pt x="2402397" y="1373012"/>
                  <a:pt x="2390629" y="1387185"/>
                </a:cubicBezTo>
                <a:cubicBezTo>
                  <a:pt x="2378837" y="1401312"/>
                  <a:pt x="2368272" y="1416004"/>
                  <a:pt x="2359239" y="1430697"/>
                </a:cubicBezTo>
                <a:cubicBezTo>
                  <a:pt x="2350183" y="1445389"/>
                  <a:pt x="2342660" y="1460010"/>
                  <a:pt x="2336434" y="1474183"/>
                </a:cubicBezTo>
                <a:cubicBezTo>
                  <a:pt x="2330232" y="1488334"/>
                  <a:pt x="2325303" y="1502107"/>
                  <a:pt x="2321176" y="1515477"/>
                </a:cubicBezTo>
                <a:cubicBezTo>
                  <a:pt x="2313016" y="1542151"/>
                  <a:pt x="2308111" y="1567243"/>
                  <a:pt x="2304715" y="1591440"/>
                </a:cubicBezTo>
                <a:cubicBezTo>
                  <a:pt x="2298111" y="1639762"/>
                  <a:pt x="2297310" y="1684900"/>
                  <a:pt x="2299008" y="1729071"/>
                </a:cubicBezTo>
                <a:cubicBezTo>
                  <a:pt x="2300941" y="1772983"/>
                  <a:pt x="2305375" y="1816164"/>
                  <a:pt x="2311955" y="1858567"/>
                </a:cubicBezTo>
                <a:cubicBezTo>
                  <a:pt x="2318605" y="1900873"/>
                  <a:pt x="2327402" y="1942380"/>
                  <a:pt x="2338014" y="1983014"/>
                </a:cubicBezTo>
                <a:cubicBezTo>
                  <a:pt x="2380511" y="2145714"/>
                  <a:pt x="2452299" y="2293817"/>
                  <a:pt x="2530312" y="2428218"/>
                </a:cubicBezTo>
                <a:cubicBezTo>
                  <a:pt x="2608514" y="2562831"/>
                  <a:pt x="2692376" y="2684119"/>
                  <a:pt x="2763597" y="2799252"/>
                </a:cubicBezTo>
                <a:cubicBezTo>
                  <a:pt x="2781450" y="2828048"/>
                  <a:pt x="2798548" y="2856465"/>
                  <a:pt x="2814701" y="2884647"/>
                </a:cubicBezTo>
                <a:cubicBezTo>
                  <a:pt x="2822767" y="2898726"/>
                  <a:pt x="2830621" y="2912758"/>
                  <a:pt x="2838215" y="2926743"/>
                </a:cubicBezTo>
                <a:cubicBezTo>
                  <a:pt x="2845784" y="2940775"/>
                  <a:pt x="2853095" y="2954760"/>
                  <a:pt x="2860146" y="2968698"/>
                </a:cubicBezTo>
                <a:cubicBezTo>
                  <a:pt x="2874225" y="2996550"/>
                  <a:pt x="2887269" y="3024284"/>
                  <a:pt x="2898281" y="3053621"/>
                </a:cubicBezTo>
                <a:cubicBezTo>
                  <a:pt x="2903751" y="3068314"/>
                  <a:pt x="2908777" y="3083336"/>
                  <a:pt x="2912784" y="3099420"/>
                </a:cubicBezTo>
                <a:cubicBezTo>
                  <a:pt x="2916769" y="3115480"/>
                  <a:pt x="2919882" y="3132554"/>
                  <a:pt x="2920637" y="3151657"/>
                </a:cubicBezTo>
                <a:cubicBezTo>
                  <a:pt x="2921014" y="3161184"/>
                  <a:pt x="2920707" y="3171278"/>
                  <a:pt x="2919457" y="3181772"/>
                </a:cubicBezTo>
                <a:cubicBezTo>
                  <a:pt x="2918257" y="3192243"/>
                  <a:pt x="2916015" y="3203115"/>
                  <a:pt x="2912833" y="3213869"/>
                </a:cubicBezTo>
                <a:cubicBezTo>
                  <a:pt x="2909649" y="3224623"/>
                  <a:pt x="2905496" y="3235165"/>
                  <a:pt x="2900662" y="3245235"/>
                </a:cubicBezTo>
                <a:cubicBezTo>
                  <a:pt x="2895827" y="3255305"/>
                  <a:pt x="2890334" y="3264880"/>
                  <a:pt x="2884414" y="3274030"/>
                </a:cubicBezTo>
                <a:cubicBezTo>
                  <a:pt x="2872529" y="3292283"/>
                  <a:pt x="2858896" y="3308674"/>
                  <a:pt x="2843992" y="3323767"/>
                </a:cubicBezTo>
                <a:cubicBezTo>
                  <a:pt x="2840265" y="3327540"/>
                  <a:pt x="2836446" y="3331243"/>
                  <a:pt x="2832554" y="3334851"/>
                </a:cubicBezTo>
                <a:cubicBezTo>
                  <a:pt x="2830596" y="3336643"/>
                  <a:pt x="2828639" y="3338436"/>
                  <a:pt x="2826660" y="3340204"/>
                </a:cubicBezTo>
                <a:cubicBezTo>
                  <a:pt x="2824677" y="3341973"/>
                  <a:pt x="2822649" y="3343648"/>
                  <a:pt x="2820620" y="3345346"/>
                </a:cubicBezTo>
                <a:cubicBezTo>
                  <a:pt x="2818593" y="3347043"/>
                  <a:pt x="2816517" y="3348718"/>
                  <a:pt x="2814443" y="3350392"/>
                </a:cubicBezTo>
                <a:cubicBezTo>
                  <a:pt x="2812366" y="3352043"/>
                  <a:pt x="2810269" y="3353671"/>
                  <a:pt x="2808168" y="3355274"/>
                </a:cubicBezTo>
                <a:cubicBezTo>
                  <a:pt x="2803947" y="3358505"/>
                  <a:pt x="2799633" y="3361689"/>
                  <a:pt x="2795246" y="3364802"/>
                </a:cubicBezTo>
                <a:cubicBezTo>
                  <a:pt x="2724685" y="3414350"/>
                  <a:pt x="2634550" y="3451305"/>
                  <a:pt x="2505408" y="3462861"/>
                </a:cubicBezTo>
                <a:cubicBezTo>
                  <a:pt x="2375111" y="3473049"/>
                  <a:pt x="2207741" y="3461139"/>
                  <a:pt x="1957876" y="3379494"/>
                </a:cubicBezTo>
                <a:cubicBezTo>
                  <a:pt x="1708012" y="3295019"/>
                  <a:pt x="1372494" y="3142435"/>
                  <a:pt x="897504" y="2794159"/>
                </a:cubicBezTo>
                <a:cubicBezTo>
                  <a:pt x="1372777" y="3142577"/>
                  <a:pt x="1708366" y="3295019"/>
                  <a:pt x="1958230" y="3379400"/>
                </a:cubicBezTo>
                <a:cubicBezTo>
                  <a:pt x="2208094" y="3460951"/>
                  <a:pt x="2375417" y="3472719"/>
                  <a:pt x="2505620" y="3462413"/>
                </a:cubicBezTo>
                <a:cubicBezTo>
                  <a:pt x="2634691" y="3450715"/>
                  <a:pt x="2724756" y="3413666"/>
                  <a:pt x="2795198" y="3364000"/>
                </a:cubicBezTo>
                <a:cubicBezTo>
                  <a:pt x="2799584" y="3360863"/>
                  <a:pt x="2803878" y="3357680"/>
                  <a:pt x="2808098" y="3354449"/>
                </a:cubicBezTo>
                <a:cubicBezTo>
                  <a:pt x="2810199" y="3352821"/>
                  <a:pt x="2812296" y="3351194"/>
                  <a:pt x="2814373" y="3349567"/>
                </a:cubicBezTo>
                <a:cubicBezTo>
                  <a:pt x="2816446" y="3347916"/>
                  <a:pt x="2818474" y="3346242"/>
                  <a:pt x="2820502" y="3344544"/>
                </a:cubicBezTo>
                <a:cubicBezTo>
                  <a:pt x="2822531" y="3342846"/>
                  <a:pt x="2824537" y="3341195"/>
                  <a:pt x="2826516" y="3339403"/>
                </a:cubicBezTo>
                <a:cubicBezTo>
                  <a:pt x="2828499" y="3337634"/>
                  <a:pt x="2830456" y="3335841"/>
                  <a:pt x="2832390" y="3334049"/>
                </a:cubicBezTo>
                <a:cubicBezTo>
                  <a:pt x="2836282" y="3330441"/>
                  <a:pt x="2840077" y="3326738"/>
                  <a:pt x="2843779" y="3322965"/>
                </a:cubicBezTo>
                <a:cubicBezTo>
                  <a:pt x="2858613" y="3307872"/>
                  <a:pt x="2872173" y="3291505"/>
                  <a:pt x="2883967" y="3273370"/>
                </a:cubicBezTo>
                <a:cubicBezTo>
                  <a:pt x="2889837" y="3264290"/>
                  <a:pt x="2895287" y="3254786"/>
                  <a:pt x="2900051" y="3244810"/>
                </a:cubicBezTo>
                <a:cubicBezTo>
                  <a:pt x="2904812" y="3234858"/>
                  <a:pt x="2908892" y="3224434"/>
                  <a:pt x="2912029" y="3213869"/>
                </a:cubicBezTo>
                <a:cubicBezTo>
                  <a:pt x="2918396" y="3192668"/>
                  <a:pt x="2920497" y="3171372"/>
                  <a:pt x="2919719" y="3152647"/>
                </a:cubicBezTo>
                <a:cubicBezTo>
                  <a:pt x="2918986" y="3133780"/>
                  <a:pt x="2915897" y="3116824"/>
                  <a:pt x="2911935" y="3100882"/>
                </a:cubicBezTo>
                <a:cubicBezTo>
                  <a:pt x="2907949" y="3084916"/>
                  <a:pt x="2902951" y="3069964"/>
                  <a:pt x="2897478" y="3055343"/>
                </a:cubicBezTo>
                <a:cubicBezTo>
                  <a:pt x="2886512" y="3026123"/>
                  <a:pt x="2873496" y="2998483"/>
                  <a:pt x="2859440" y="2970703"/>
                </a:cubicBezTo>
                <a:cubicBezTo>
                  <a:pt x="2852411" y="2956788"/>
                  <a:pt x="2845102" y="2942851"/>
                  <a:pt x="2837553" y="2928866"/>
                </a:cubicBezTo>
                <a:cubicBezTo>
                  <a:pt x="2829985" y="2914928"/>
                  <a:pt x="2822132" y="2900943"/>
                  <a:pt x="2814066" y="2886888"/>
                </a:cubicBezTo>
                <a:cubicBezTo>
                  <a:pt x="2797933" y="2858800"/>
                  <a:pt x="2780837" y="2830453"/>
                  <a:pt x="2763007" y="2801752"/>
                </a:cubicBezTo>
                <a:cubicBezTo>
                  <a:pt x="2691857" y="2686973"/>
                  <a:pt x="2607995" y="2566038"/>
                  <a:pt x="2529581" y="2431779"/>
                </a:cubicBezTo>
                <a:cubicBezTo>
                  <a:pt x="2451332" y="2297732"/>
                  <a:pt x="2379096" y="2150006"/>
                  <a:pt x="2335798" y="1987589"/>
                </a:cubicBezTo>
                <a:cubicBezTo>
                  <a:pt x="2324973" y="1947026"/>
                  <a:pt x="2315940" y="1905590"/>
                  <a:pt x="2309054" y="1863352"/>
                </a:cubicBezTo>
                <a:cubicBezTo>
                  <a:pt x="2302215" y="1820999"/>
                  <a:pt x="2297545" y="1777865"/>
                  <a:pt x="2295305" y="1733977"/>
                </a:cubicBezTo>
                <a:cubicBezTo>
                  <a:pt x="2293324" y="1689829"/>
                  <a:pt x="2293796" y="1644644"/>
                  <a:pt x="2300092" y="1595991"/>
                </a:cubicBezTo>
                <a:cubicBezTo>
                  <a:pt x="2303347" y="1571606"/>
                  <a:pt x="2308087" y="1546325"/>
                  <a:pt x="2316247" y="1519016"/>
                </a:cubicBezTo>
                <a:cubicBezTo>
                  <a:pt x="2320374" y="1505384"/>
                  <a:pt x="2325327" y="1491282"/>
                  <a:pt x="2331670" y="1476566"/>
                </a:cubicBezTo>
                <a:cubicBezTo>
                  <a:pt x="2338038" y="1461849"/>
                  <a:pt x="2345820" y="1446591"/>
                  <a:pt x="2355277" y="1431121"/>
                </a:cubicBezTo>
                <a:cubicBezTo>
                  <a:pt x="2364734" y="1415673"/>
                  <a:pt x="2375889" y="1400108"/>
                  <a:pt x="2388223" y="1385274"/>
                </a:cubicBezTo>
                <a:cubicBezTo>
                  <a:pt x="2400533" y="1370417"/>
                  <a:pt x="2413976" y="1356243"/>
                  <a:pt x="2427961" y="1342919"/>
                </a:cubicBezTo>
                <a:cubicBezTo>
                  <a:pt x="2441922" y="1329571"/>
                  <a:pt x="2456591" y="1316977"/>
                  <a:pt x="2471519" y="1305044"/>
                </a:cubicBezTo>
                <a:cubicBezTo>
                  <a:pt x="2486518" y="1293017"/>
                  <a:pt x="2501894" y="1281673"/>
                  <a:pt x="2517671" y="1270660"/>
                </a:cubicBezTo>
                <a:cubicBezTo>
                  <a:pt x="2549249" y="1248680"/>
                  <a:pt x="2582336" y="1228304"/>
                  <a:pt x="2617216" y="1208730"/>
                </a:cubicBezTo>
                <a:cubicBezTo>
                  <a:pt x="2652096" y="1189156"/>
                  <a:pt x="2688768" y="1170478"/>
                  <a:pt x="2727515" y="1152437"/>
                </a:cubicBezTo>
                <a:cubicBezTo>
                  <a:pt x="2882338" y="1080909"/>
                  <a:pt x="3070956" y="1016834"/>
                  <a:pt x="3316104" y="965328"/>
                </a:cubicBezTo>
                <a:cubicBezTo>
                  <a:pt x="3561204" y="914247"/>
                  <a:pt x="3863801" y="875240"/>
                  <a:pt x="4259951" y="858873"/>
                </a:cubicBezTo>
                <a:cubicBezTo>
                  <a:pt x="4359307" y="854999"/>
                  <a:pt x="4464511" y="852541"/>
                  <a:pt x="4576613" y="851995"/>
                </a:cubicBezTo>
                <a:close/>
                <a:moveTo>
                  <a:pt x="4542048" y="803702"/>
                </a:moveTo>
                <a:cubicBezTo>
                  <a:pt x="4874803" y="800391"/>
                  <a:pt x="5268812" y="813427"/>
                  <a:pt x="5751236" y="854799"/>
                </a:cubicBezTo>
                <a:cubicBezTo>
                  <a:pt x="5743430" y="855813"/>
                  <a:pt x="5735625" y="856756"/>
                  <a:pt x="5727818" y="857698"/>
                </a:cubicBezTo>
                <a:cubicBezTo>
                  <a:pt x="5088949" y="803599"/>
                  <a:pt x="4606106" y="799377"/>
                  <a:pt x="4215403" y="816924"/>
                </a:cubicBezTo>
                <a:cubicBezTo>
                  <a:pt x="3825808" y="835224"/>
                  <a:pt x="3528377" y="875316"/>
                  <a:pt x="3286153" y="926751"/>
                </a:cubicBezTo>
                <a:cubicBezTo>
                  <a:pt x="3044239" y="978658"/>
                  <a:pt x="2857461" y="1042568"/>
                  <a:pt x="2703560" y="1113295"/>
                </a:cubicBezTo>
                <a:cubicBezTo>
                  <a:pt x="2665072" y="1131123"/>
                  <a:pt x="2628636" y="1149543"/>
                  <a:pt x="2593922" y="1168787"/>
                </a:cubicBezTo>
                <a:cubicBezTo>
                  <a:pt x="2559231" y="1188054"/>
                  <a:pt x="2526285" y="1208076"/>
                  <a:pt x="2494943" y="1229513"/>
                </a:cubicBezTo>
                <a:cubicBezTo>
                  <a:pt x="2479260" y="1240267"/>
                  <a:pt x="2463978" y="1251328"/>
                  <a:pt x="2449144" y="1262978"/>
                </a:cubicBezTo>
                <a:cubicBezTo>
                  <a:pt x="2434263" y="1274628"/>
                  <a:pt x="2419925" y="1286679"/>
                  <a:pt x="2406081" y="1299556"/>
                </a:cubicBezTo>
                <a:cubicBezTo>
                  <a:pt x="2392285" y="1312362"/>
                  <a:pt x="2379126" y="1325876"/>
                  <a:pt x="2367004" y="1340026"/>
                </a:cubicBezTo>
                <a:cubicBezTo>
                  <a:pt x="2354882" y="1354128"/>
                  <a:pt x="2343940" y="1368821"/>
                  <a:pt x="2334506" y="1383559"/>
                </a:cubicBezTo>
                <a:cubicBezTo>
                  <a:pt x="2325073" y="1398300"/>
                  <a:pt x="2317126" y="1413039"/>
                  <a:pt x="2310522" y="1427331"/>
                </a:cubicBezTo>
                <a:cubicBezTo>
                  <a:pt x="2303919" y="1441622"/>
                  <a:pt x="2298613" y="1455560"/>
                  <a:pt x="2294108" y="1469096"/>
                </a:cubicBezTo>
                <a:cubicBezTo>
                  <a:pt x="2285194" y="1496146"/>
                  <a:pt x="2279581" y="1521687"/>
                  <a:pt x="2275501" y="1546355"/>
                </a:cubicBezTo>
                <a:cubicBezTo>
                  <a:pt x="2267530" y="1595621"/>
                  <a:pt x="2265478" y="1641821"/>
                  <a:pt x="2266021" y="1687030"/>
                </a:cubicBezTo>
                <a:cubicBezTo>
                  <a:pt x="2266823" y="1732003"/>
                  <a:pt x="2270148" y="1776292"/>
                  <a:pt x="2275737" y="1819780"/>
                </a:cubicBezTo>
                <a:cubicBezTo>
                  <a:pt x="2281397" y="1863164"/>
                  <a:pt x="2289297" y="1905755"/>
                  <a:pt x="2299132" y="1947474"/>
                </a:cubicBezTo>
                <a:cubicBezTo>
                  <a:pt x="2338421" y="2114514"/>
                  <a:pt x="2408581" y="2266791"/>
                  <a:pt x="2486335" y="2404446"/>
                </a:cubicBezTo>
                <a:cubicBezTo>
                  <a:pt x="2564254" y="2542337"/>
                  <a:pt x="2649177" y="2665984"/>
                  <a:pt x="2722144" y="2782178"/>
                </a:cubicBezTo>
                <a:cubicBezTo>
                  <a:pt x="2740421" y="2811257"/>
                  <a:pt x="2758014" y="2839863"/>
                  <a:pt x="2774687" y="2868163"/>
                </a:cubicBezTo>
                <a:cubicBezTo>
                  <a:pt x="2783036" y="2882313"/>
                  <a:pt x="2791149" y="2896392"/>
                  <a:pt x="2799002" y="2910377"/>
                </a:cubicBezTo>
                <a:cubicBezTo>
                  <a:pt x="2806855" y="2924433"/>
                  <a:pt x="2814446" y="2938417"/>
                  <a:pt x="2821784" y="2952355"/>
                </a:cubicBezTo>
                <a:cubicBezTo>
                  <a:pt x="2836449" y="2980207"/>
                  <a:pt x="2850102" y="3007823"/>
                  <a:pt x="2861730" y="3036995"/>
                </a:cubicBezTo>
                <a:cubicBezTo>
                  <a:pt x="2867535" y="3051593"/>
                  <a:pt x="2872865" y="3066498"/>
                  <a:pt x="2877202" y="3082417"/>
                </a:cubicBezTo>
                <a:cubicBezTo>
                  <a:pt x="2881516" y="3098312"/>
                  <a:pt x="2884936" y="3115197"/>
                  <a:pt x="2885972" y="3134017"/>
                </a:cubicBezTo>
                <a:cubicBezTo>
                  <a:pt x="2886492" y="3143403"/>
                  <a:pt x="2886330" y="3153331"/>
                  <a:pt x="2885194" y="3163637"/>
                </a:cubicBezTo>
                <a:cubicBezTo>
                  <a:pt x="2884110" y="3173919"/>
                  <a:pt x="2881967" y="3184579"/>
                  <a:pt x="2878853" y="3195097"/>
                </a:cubicBezTo>
                <a:cubicBezTo>
                  <a:pt x="2875715" y="3205615"/>
                  <a:pt x="2871611" y="3215921"/>
                  <a:pt x="2866800" y="3225732"/>
                </a:cubicBezTo>
                <a:cubicBezTo>
                  <a:pt x="2861991" y="3235542"/>
                  <a:pt x="2856474" y="3244858"/>
                  <a:pt x="2850504" y="3253702"/>
                </a:cubicBezTo>
                <a:cubicBezTo>
                  <a:pt x="2838551" y="3271389"/>
                  <a:pt x="2824752" y="3287190"/>
                  <a:pt x="2809661" y="3301693"/>
                </a:cubicBezTo>
                <a:cubicBezTo>
                  <a:pt x="2805889" y="3305325"/>
                  <a:pt x="2802017" y="3308863"/>
                  <a:pt x="2798055" y="3312306"/>
                </a:cubicBezTo>
                <a:cubicBezTo>
                  <a:pt x="2796076" y="3314027"/>
                  <a:pt x="2794074" y="3315725"/>
                  <a:pt x="2792065" y="3317423"/>
                </a:cubicBezTo>
                <a:cubicBezTo>
                  <a:pt x="2790037" y="3319121"/>
                  <a:pt x="2787985" y="3320701"/>
                  <a:pt x="2785913" y="3322329"/>
                </a:cubicBezTo>
                <a:cubicBezTo>
                  <a:pt x="2783838" y="3323932"/>
                  <a:pt x="2781739" y="3325536"/>
                  <a:pt x="2779640" y="3327116"/>
                </a:cubicBezTo>
                <a:cubicBezTo>
                  <a:pt x="2777517" y="3328672"/>
                  <a:pt x="2775395" y="3330229"/>
                  <a:pt x="2773248" y="3331762"/>
                </a:cubicBezTo>
                <a:cubicBezTo>
                  <a:pt x="2768933" y="3334828"/>
                  <a:pt x="2764546" y="3337846"/>
                  <a:pt x="2760065" y="3340794"/>
                </a:cubicBezTo>
                <a:cubicBezTo>
                  <a:pt x="2688137" y="3387630"/>
                  <a:pt x="2595738" y="3421284"/>
                  <a:pt x="2462941" y="3427981"/>
                </a:cubicBezTo>
                <a:cubicBezTo>
                  <a:pt x="2329059" y="3433241"/>
                  <a:pt x="2156500" y="3414822"/>
                  <a:pt x="1900457" y="3322706"/>
                </a:cubicBezTo>
                <a:cubicBezTo>
                  <a:pt x="1644768" y="3228137"/>
                  <a:pt x="1301561" y="3059989"/>
                  <a:pt x="826549" y="2696100"/>
                </a:cubicBezTo>
                <a:cubicBezTo>
                  <a:pt x="1301868" y="3060107"/>
                  <a:pt x="1645145" y="3228161"/>
                  <a:pt x="1900811" y="3322612"/>
                </a:cubicBezTo>
                <a:cubicBezTo>
                  <a:pt x="2156854" y="3414610"/>
                  <a:pt x="2329365" y="3432910"/>
                  <a:pt x="2463153" y="3427533"/>
                </a:cubicBezTo>
                <a:cubicBezTo>
                  <a:pt x="2595855" y="3420718"/>
                  <a:pt x="2688160" y="3386947"/>
                  <a:pt x="2759995" y="3339992"/>
                </a:cubicBezTo>
                <a:cubicBezTo>
                  <a:pt x="2764452" y="3337021"/>
                  <a:pt x="2768838" y="3334002"/>
                  <a:pt x="2773154" y="3330937"/>
                </a:cubicBezTo>
                <a:cubicBezTo>
                  <a:pt x="2775300" y="3329404"/>
                  <a:pt x="2777423" y="3327847"/>
                  <a:pt x="2779545" y="3326290"/>
                </a:cubicBezTo>
                <a:cubicBezTo>
                  <a:pt x="2781644" y="3324711"/>
                  <a:pt x="2783720" y="3323107"/>
                  <a:pt x="2785793" y="3321503"/>
                </a:cubicBezTo>
                <a:cubicBezTo>
                  <a:pt x="2787846" y="3319876"/>
                  <a:pt x="2789895" y="3318296"/>
                  <a:pt x="2791902" y="3316598"/>
                </a:cubicBezTo>
                <a:cubicBezTo>
                  <a:pt x="2793904" y="3314900"/>
                  <a:pt x="2795909" y="3313202"/>
                  <a:pt x="2797890" y="3311480"/>
                </a:cubicBezTo>
                <a:cubicBezTo>
                  <a:pt x="2801829" y="3308013"/>
                  <a:pt x="2805701" y="3304476"/>
                  <a:pt x="2809448" y="3300868"/>
                </a:cubicBezTo>
                <a:cubicBezTo>
                  <a:pt x="2824495" y="3286364"/>
                  <a:pt x="2838218" y="3270587"/>
                  <a:pt x="2850083" y="3252994"/>
                </a:cubicBezTo>
                <a:cubicBezTo>
                  <a:pt x="2856003" y="3244197"/>
                  <a:pt x="2861447" y="3234953"/>
                  <a:pt x="2866187" y="3225236"/>
                </a:cubicBezTo>
                <a:cubicBezTo>
                  <a:pt x="2870926" y="3215544"/>
                  <a:pt x="2874986" y="3205356"/>
                  <a:pt x="2878049" y="3195027"/>
                </a:cubicBezTo>
                <a:cubicBezTo>
                  <a:pt x="2884277" y="3174273"/>
                  <a:pt x="2886116" y="3153355"/>
                  <a:pt x="2885055" y="3134913"/>
                </a:cubicBezTo>
                <a:cubicBezTo>
                  <a:pt x="2884040" y="3116329"/>
                  <a:pt x="2880642" y="3099562"/>
                  <a:pt x="2876355" y="3083784"/>
                </a:cubicBezTo>
                <a:cubicBezTo>
                  <a:pt x="2872035" y="3067960"/>
                  <a:pt x="2866731" y="3053126"/>
                  <a:pt x="2860952" y="3038599"/>
                </a:cubicBezTo>
                <a:cubicBezTo>
                  <a:pt x="2849349" y="3009568"/>
                  <a:pt x="2835719" y="2982023"/>
                  <a:pt x="2821099" y="2954242"/>
                </a:cubicBezTo>
                <a:cubicBezTo>
                  <a:pt x="2813785" y="2940351"/>
                  <a:pt x="2806191" y="2926390"/>
                  <a:pt x="2798338" y="2912381"/>
                </a:cubicBezTo>
                <a:cubicBezTo>
                  <a:pt x="2790485" y="2898420"/>
                  <a:pt x="2782375" y="2884388"/>
                  <a:pt x="2774050" y="2870285"/>
                </a:cubicBezTo>
                <a:cubicBezTo>
                  <a:pt x="2757377" y="2842056"/>
                  <a:pt x="2739808" y="2813521"/>
                  <a:pt x="2721554" y="2784537"/>
                </a:cubicBezTo>
                <a:cubicBezTo>
                  <a:pt x="2648635" y="2668649"/>
                  <a:pt x="2563712" y="2545379"/>
                  <a:pt x="2485557" y="2407842"/>
                </a:cubicBezTo>
                <a:cubicBezTo>
                  <a:pt x="2407567" y="2270541"/>
                  <a:pt x="2336912" y="2118641"/>
                  <a:pt x="2296797" y="1951884"/>
                </a:cubicBezTo>
                <a:cubicBezTo>
                  <a:pt x="2286774" y="1910236"/>
                  <a:pt x="2278638" y="1867692"/>
                  <a:pt x="2272718" y="1824379"/>
                </a:cubicBezTo>
                <a:cubicBezTo>
                  <a:pt x="2266870" y="1780938"/>
                  <a:pt x="2263261" y="1736696"/>
                  <a:pt x="2262177" y="1691747"/>
                </a:cubicBezTo>
                <a:cubicBezTo>
                  <a:pt x="2261351" y="1646514"/>
                  <a:pt x="2263073" y="1600291"/>
                  <a:pt x="2270761" y="1550694"/>
                </a:cubicBezTo>
                <a:cubicBezTo>
                  <a:pt x="2274699" y="1525838"/>
                  <a:pt x="2280171" y="1500086"/>
                  <a:pt x="2289109" y="1472398"/>
                </a:cubicBezTo>
                <a:cubicBezTo>
                  <a:pt x="2293613" y="1458578"/>
                  <a:pt x="2298966" y="1444310"/>
                  <a:pt x="2305735" y="1429429"/>
                </a:cubicBezTo>
                <a:cubicBezTo>
                  <a:pt x="2312527" y="1414572"/>
                  <a:pt x="2320710" y="1399196"/>
                  <a:pt x="2330591" y="1383678"/>
                </a:cubicBezTo>
                <a:cubicBezTo>
                  <a:pt x="2340449" y="1368183"/>
                  <a:pt x="2352005" y="1352619"/>
                  <a:pt x="2364716" y="1337808"/>
                </a:cubicBezTo>
                <a:cubicBezTo>
                  <a:pt x="2377404" y="1322998"/>
                  <a:pt x="2391153" y="1308896"/>
                  <a:pt x="2405421" y="1295665"/>
                </a:cubicBezTo>
                <a:cubicBezTo>
                  <a:pt x="2419689" y="1282411"/>
                  <a:pt x="2434593" y="1269935"/>
                  <a:pt x="2449734" y="1258120"/>
                </a:cubicBezTo>
                <a:cubicBezTo>
                  <a:pt x="2464945" y="1246234"/>
                  <a:pt x="2480510" y="1235008"/>
                  <a:pt x="2496476" y="1224113"/>
                </a:cubicBezTo>
                <a:cubicBezTo>
                  <a:pt x="2528384" y="1202416"/>
                  <a:pt x="2561707" y="1182276"/>
                  <a:pt x="2596752" y="1162938"/>
                </a:cubicBezTo>
                <a:cubicBezTo>
                  <a:pt x="2631820" y="1143600"/>
                  <a:pt x="2668586" y="1125157"/>
                  <a:pt x="2707381" y="1107304"/>
                </a:cubicBezTo>
                <a:cubicBezTo>
                  <a:pt x="2862368" y="1036555"/>
                  <a:pt x="3050278" y="972786"/>
                  <a:pt x="3293629" y="921044"/>
                </a:cubicBezTo>
                <a:cubicBezTo>
                  <a:pt x="3537291" y="869774"/>
                  <a:pt x="3836585" y="829918"/>
                  <a:pt x="4228704" y="812019"/>
                </a:cubicBezTo>
                <a:cubicBezTo>
                  <a:pt x="4327017" y="807726"/>
                  <a:pt x="4431129" y="804806"/>
                  <a:pt x="4542048" y="803702"/>
                </a:cubicBezTo>
                <a:close/>
                <a:moveTo>
                  <a:pt x="4676576" y="754239"/>
                </a:moveTo>
                <a:cubicBezTo>
                  <a:pt x="4967896" y="754791"/>
                  <a:pt x="5304117" y="767378"/>
                  <a:pt x="5700227" y="798242"/>
                </a:cubicBezTo>
                <a:cubicBezTo>
                  <a:pt x="5692562" y="799256"/>
                  <a:pt x="5684945" y="800270"/>
                  <a:pt x="5677351" y="801284"/>
                </a:cubicBezTo>
                <a:cubicBezTo>
                  <a:pt x="5047726" y="752868"/>
                  <a:pt x="4570378" y="750816"/>
                  <a:pt x="4184273" y="769848"/>
                </a:cubicBezTo>
                <a:cubicBezTo>
                  <a:pt x="3799136" y="789493"/>
                  <a:pt x="3505265" y="830222"/>
                  <a:pt x="3264763" y="881680"/>
                </a:cubicBezTo>
                <a:cubicBezTo>
                  <a:pt x="3024828" y="933634"/>
                  <a:pt x="2838902" y="996979"/>
                  <a:pt x="2684902" y="1066714"/>
                </a:cubicBezTo>
                <a:cubicBezTo>
                  <a:pt x="2646367" y="1084307"/>
                  <a:pt x="2609860" y="1102419"/>
                  <a:pt x="2574981" y="1121380"/>
                </a:cubicBezTo>
                <a:cubicBezTo>
                  <a:pt x="2540125" y="1140341"/>
                  <a:pt x="2506943" y="1160033"/>
                  <a:pt x="2475271" y="1181164"/>
                </a:cubicBezTo>
                <a:cubicBezTo>
                  <a:pt x="2459423" y="1191753"/>
                  <a:pt x="2443953" y="1202672"/>
                  <a:pt x="2428906" y="1214157"/>
                </a:cubicBezTo>
                <a:cubicBezTo>
                  <a:pt x="2413790" y="1225665"/>
                  <a:pt x="2399215" y="1237575"/>
                  <a:pt x="2385112" y="1250310"/>
                </a:cubicBezTo>
                <a:cubicBezTo>
                  <a:pt x="2371033" y="1262998"/>
                  <a:pt x="2357543" y="1276417"/>
                  <a:pt x="2345092" y="1290472"/>
                </a:cubicBezTo>
                <a:cubicBezTo>
                  <a:pt x="2332616" y="1304504"/>
                  <a:pt x="2321296" y="1319196"/>
                  <a:pt x="2311462" y="1333960"/>
                </a:cubicBezTo>
                <a:cubicBezTo>
                  <a:pt x="2301628" y="1348723"/>
                  <a:pt x="2293279" y="1363534"/>
                  <a:pt x="2286251" y="1377967"/>
                </a:cubicBezTo>
                <a:cubicBezTo>
                  <a:pt x="2279247" y="1392376"/>
                  <a:pt x="2273516" y="1406455"/>
                  <a:pt x="2268611" y="1420181"/>
                </a:cubicBezTo>
                <a:cubicBezTo>
                  <a:pt x="2258895" y="1447584"/>
                  <a:pt x="2252527" y="1473549"/>
                  <a:pt x="2247716" y="1498666"/>
                </a:cubicBezTo>
                <a:cubicBezTo>
                  <a:pt x="2238283" y="1548851"/>
                  <a:pt x="2234911" y="1596088"/>
                  <a:pt x="2234203" y="1642382"/>
                </a:cubicBezTo>
                <a:cubicBezTo>
                  <a:pt x="2233755" y="1688441"/>
                  <a:pt x="2235925" y="1733815"/>
                  <a:pt x="2240429" y="1778386"/>
                </a:cubicBezTo>
                <a:cubicBezTo>
                  <a:pt x="2245004" y="1822889"/>
                  <a:pt x="2251914" y="1866583"/>
                  <a:pt x="2260852" y="1909434"/>
                </a:cubicBezTo>
                <a:cubicBezTo>
                  <a:pt x="2296557" y="2080908"/>
                  <a:pt x="2364760" y="2237547"/>
                  <a:pt x="2442019" y="2378717"/>
                </a:cubicBezTo>
                <a:cubicBezTo>
                  <a:pt x="2519419" y="2520145"/>
                  <a:pt x="2605191" y="2646433"/>
                  <a:pt x="2679808" y="2764019"/>
                </a:cubicBezTo>
                <a:cubicBezTo>
                  <a:pt x="2698510" y="2793427"/>
                  <a:pt x="2716551" y="2822341"/>
                  <a:pt x="2733720" y="2850829"/>
                </a:cubicBezTo>
                <a:cubicBezTo>
                  <a:pt x="2742304" y="2865073"/>
                  <a:pt x="2750676" y="2879223"/>
                  <a:pt x="2758812" y="2893302"/>
                </a:cubicBezTo>
                <a:cubicBezTo>
                  <a:pt x="2766925" y="2907429"/>
                  <a:pt x="2774801" y="2921461"/>
                  <a:pt x="2782419" y="2935422"/>
                </a:cubicBezTo>
                <a:cubicBezTo>
                  <a:pt x="2797627" y="2963321"/>
                  <a:pt x="2811871" y="2990937"/>
                  <a:pt x="2824111" y="3019991"/>
                </a:cubicBezTo>
                <a:cubicBezTo>
                  <a:pt x="2830219" y="3034519"/>
                  <a:pt x="2835856" y="3049353"/>
                  <a:pt x="2840478" y="3065130"/>
                </a:cubicBezTo>
                <a:cubicBezTo>
                  <a:pt x="2845104" y="3080883"/>
                  <a:pt x="2848826" y="3097604"/>
                  <a:pt x="2850152" y="3116164"/>
                </a:cubicBezTo>
                <a:cubicBezTo>
                  <a:pt x="2850810" y="3125432"/>
                  <a:pt x="2850760" y="3135196"/>
                  <a:pt x="2849749" y="3145313"/>
                </a:cubicBezTo>
                <a:cubicBezTo>
                  <a:pt x="2848757" y="3155406"/>
                  <a:pt x="2846704" y="3165877"/>
                  <a:pt x="2843662" y="3176136"/>
                </a:cubicBezTo>
                <a:cubicBezTo>
                  <a:pt x="2840596" y="3186418"/>
                  <a:pt x="2836516" y="3196465"/>
                  <a:pt x="2831707" y="3205992"/>
                </a:cubicBezTo>
                <a:cubicBezTo>
                  <a:pt x="2826894" y="3215544"/>
                  <a:pt x="2821356" y="3224576"/>
                  <a:pt x="2815342" y="3233137"/>
                </a:cubicBezTo>
                <a:cubicBezTo>
                  <a:pt x="2803263" y="3250258"/>
                  <a:pt x="2789302" y="3265446"/>
                  <a:pt x="2773952" y="3279313"/>
                </a:cubicBezTo>
                <a:cubicBezTo>
                  <a:pt x="2770108" y="3282779"/>
                  <a:pt x="2766170" y="3286152"/>
                  <a:pt x="2762137" y="3289453"/>
                </a:cubicBezTo>
                <a:cubicBezTo>
                  <a:pt x="2760133" y="3291104"/>
                  <a:pt x="2758081" y="3292731"/>
                  <a:pt x="2756029" y="3294335"/>
                </a:cubicBezTo>
                <a:cubicBezTo>
                  <a:pt x="2753977" y="3295939"/>
                  <a:pt x="2751879" y="3297448"/>
                  <a:pt x="2749756" y="3298981"/>
                </a:cubicBezTo>
                <a:cubicBezTo>
                  <a:pt x="2747633" y="3300514"/>
                  <a:pt x="2745511" y="3302023"/>
                  <a:pt x="2743341" y="3303533"/>
                </a:cubicBezTo>
                <a:cubicBezTo>
                  <a:pt x="2741195" y="3304995"/>
                  <a:pt x="2739002" y="3306481"/>
                  <a:pt x="2736809" y="3307919"/>
                </a:cubicBezTo>
                <a:cubicBezTo>
                  <a:pt x="2732422" y="3310820"/>
                  <a:pt x="2727942" y="3313650"/>
                  <a:pt x="2723366" y="3316433"/>
                </a:cubicBezTo>
                <a:cubicBezTo>
                  <a:pt x="2649928" y="3360415"/>
                  <a:pt x="2555124" y="3390578"/>
                  <a:pt x="2418601" y="3392135"/>
                </a:cubicBezTo>
                <a:cubicBezTo>
                  <a:pt x="2281063" y="3392229"/>
                  <a:pt x="2103246" y="3366877"/>
                  <a:pt x="1841401" y="3264054"/>
                </a:cubicBezTo>
                <a:cubicBezTo>
                  <a:pt x="1580264" y="3159156"/>
                  <a:pt x="1230195" y="2975254"/>
                  <a:pt x="757021" y="2597404"/>
                </a:cubicBezTo>
                <a:cubicBezTo>
                  <a:pt x="1230478" y="2975396"/>
                  <a:pt x="1580618" y="3159180"/>
                  <a:pt x="1841755" y="3263936"/>
                </a:cubicBezTo>
                <a:cubicBezTo>
                  <a:pt x="2103599" y="3366641"/>
                  <a:pt x="2281346" y="3391852"/>
                  <a:pt x="2418813" y="3391640"/>
                </a:cubicBezTo>
                <a:cubicBezTo>
                  <a:pt x="2555242" y="3389965"/>
                  <a:pt x="2649952" y="3359661"/>
                  <a:pt x="2723296" y="3315584"/>
                </a:cubicBezTo>
                <a:cubicBezTo>
                  <a:pt x="2727847" y="3312801"/>
                  <a:pt x="2732328" y="3309947"/>
                  <a:pt x="2736714" y="3307047"/>
                </a:cubicBezTo>
                <a:cubicBezTo>
                  <a:pt x="2738908" y="3305608"/>
                  <a:pt x="2741078" y="3304122"/>
                  <a:pt x="2743223" y="3302660"/>
                </a:cubicBezTo>
                <a:cubicBezTo>
                  <a:pt x="2745370" y="3301174"/>
                  <a:pt x="2747492" y="3299641"/>
                  <a:pt x="2749591" y="3298132"/>
                </a:cubicBezTo>
                <a:cubicBezTo>
                  <a:pt x="2751690" y="3296599"/>
                  <a:pt x="2753765" y="3295090"/>
                  <a:pt x="2755817" y="3293486"/>
                </a:cubicBezTo>
                <a:cubicBezTo>
                  <a:pt x="2757869" y="3291882"/>
                  <a:pt x="2759897" y="3290255"/>
                  <a:pt x="2761901" y="3288604"/>
                </a:cubicBezTo>
                <a:cubicBezTo>
                  <a:pt x="2765910" y="3285303"/>
                  <a:pt x="2769825" y="3281930"/>
                  <a:pt x="2773669" y="3278464"/>
                </a:cubicBezTo>
                <a:cubicBezTo>
                  <a:pt x="2788950" y="3264597"/>
                  <a:pt x="2802862" y="3249433"/>
                  <a:pt x="2814846" y="3232406"/>
                </a:cubicBezTo>
                <a:cubicBezTo>
                  <a:pt x="2820809" y="3223892"/>
                  <a:pt x="2826304" y="3214930"/>
                  <a:pt x="2831044" y="3205497"/>
                </a:cubicBezTo>
                <a:cubicBezTo>
                  <a:pt x="2835808" y="3196064"/>
                  <a:pt x="2839817" y="3186135"/>
                  <a:pt x="2842837" y="3176042"/>
                </a:cubicBezTo>
                <a:cubicBezTo>
                  <a:pt x="2848945" y="3155760"/>
                  <a:pt x="2850571" y="3135196"/>
                  <a:pt x="2849228" y="3117013"/>
                </a:cubicBezTo>
                <a:cubicBezTo>
                  <a:pt x="2847930" y="3098689"/>
                  <a:pt x="2844232" y="3082110"/>
                  <a:pt x="2839655" y="3066427"/>
                </a:cubicBezTo>
                <a:cubicBezTo>
                  <a:pt x="2835054" y="3050744"/>
                  <a:pt x="2829441" y="3036004"/>
                  <a:pt x="2823358" y="3021524"/>
                </a:cubicBezTo>
                <a:cubicBezTo>
                  <a:pt x="2811167" y="2992611"/>
                  <a:pt x="2796943" y="2965066"/>
                  <a:pt x="2781735" y="2937262"/>
                </a:cubicBezTo>
                <a:cubicBezTo>
                  <a:pt x="2774141" y="2923347"/>
                  <a:pt x="2766264" y="2909339"/>
                  <a:pt x="2758175" y="2895260"/>
                </a:cubicBezTo>
                <a:cubicBezTo>
                  <a:pt x="2750063" y="2881228"/>
                  <a:pt x="2741691" y="2867125"/>
                  <a:pt x="2733106" y="2852904"/>
                </a:cubicBezTo>
                <a:cubicBezTo>
                  <a:pt x="2715938" y="2824487"/>
                  <a:pt x="2697920" y="2795668"/>
                  <a:pt x="2679242" y="2766330"/>
                </a:cubicBezTo>
                <a:cubicBezTo>
                  <a:pt x="2604672" y="2649075"/>
                  <a:pt x="2518876" y="2523140"/>
                  <a:pt x="2441217" y="2382065"/>
                </a:cubicBezTo>
                <a:cubicBezTo>
                  <a:pt x="2363699" y="2241226"/>
                  <a:pt x="2294977" y="2084964"/>
                  <a:pt x="2258447" y="1913750"/>
                </a:cubicBezTo>
                <a:cubicBezTo>
                  <a:pt x="2249297" y="1870993"/>
                  <a:pt x="2242151" y="1827346"/>
                  <a:pt x="2237316" y="1782891"/>
                </a:cubicBezTo>
                <a:cubicBezTo>
                  <a:pt x="2232552" y="1738342"/>
                  <a:pt x="2230100" y="1692991"/>
                  <a:pt x="2230265" y="1646980"/>
                </a:cubicBezTo>
                <a:cubicBezTo>
                  <a:pt x="2230689" y="1600687"/>
                  <a:pt x="2233755" y="1553402"/>
                  <a:pt x="2242905" y="1502863"/>
                </a:cubicBezTo>
                <a:cubicBezTo>
                  <a:pt x="2247598" y="1477535"/>
                  <a:pt x="2253801" y="1451358"/>
                  <a:pt x="2263588" y="1423317"/>
                </a:cubicBezTo>
                <a:cubicBezTo>
                  <a:pt x="2268493" y="1409309"/>
                  <a:pt x="2274271" y="1394876"/>
                  <a:pt x="2281464" y="1379900"/>
                </a:cubicBezTo>
                <a:cubicBezTo>
                  <a:pt x="2288680" y="1364925"/>
                  <a:pt x="2297312" y="1349478"/>
                  <a:pt x="2307618" y="1333912"/>
                </a:cubicBezTo>
                <a:cubicBezTo>
                  <a:pt x="2317900" y="1318371"/>
                  <a:pt x="2329857" y="1302830"/>
                  <a:pt x="2342945" y="1288114"/>
                </a:cubicBezTo>
                <a:cubicBezTo>
                  <a:pt x="2355987" y="1273351"/>
                  <a:pt x="2370090" y="1259366"/>
                  <a:pt x="2384641" y="1246278"/>
                </a:cubicBezTo>
                <a:cubicBezTo>
                  <a:pt x="2399191" y="1233165"/>
                  <a:pt x="2414355" y="1220831"/>
                  <a:pt x="2429708" y="1209181"/>
                </a:cubicBezTo>
                <a:cubicBezTo>
                  <a:pt x="2445155" y="1197436"/>
                  <a:pt x="2460909" y="1186399"/>
                  <a:pt x="2477016" y="1175669"/>
                </a:cubicBezTo>
                <a:cubicBezTo>
                  <a:pt x="2509254" y="1154279"/>
                  <a:pt x="2542813" y="1134492"/>
                  <a:pt x="2578023" y="1115461"/>
                </a:cubicBezTo>
                <a:cubicBezTo>
                  <a:pt x="2613233" y="1096429"/>
                  <a:pt x="2650093" y="1078270"/>
                  <a:pt x="2688911" y="1060677"/>
                </a:cubicBezTo>
                <a:cubicBezTo>
                  <a:pt x="2843968" y="990965"/>
                  <a:pt x="3030984" y="927714"/>
                  <a:pt x="3272310" y="875950"/>
                </a:cubicBezTo>
                <a:cubicBezTo>
                  <a:pt x="3514227" y="824680"/>
                  <a:pt x="3809890" y="784163"/>
                  <a:pt x="4197456" y="764895"/>
                </a:cubicBezTo>
                <a:cubicBezTo>
                  <a:pt x="4343156" y="757909"/>
                  <a:pt x="4501784" y="753907"/>
                  <a:pt x="4676576" y="754239"/>
                </a:cubicBezTo>
                <a:close/>
                <a:moveTo>
                  <a:pt x="4638580" y="704642"/>
                </a:moveTo>
                <a:cubicBezTo>
                  <a:pt x="4925869" y="703831"/>
                  <a:pt x="5257233" y="714414"/>
                  <a:pt x="5646975" y="742022"/>
                </a:cubicBezTo>
                <a:cubicBezTo>
                  <a:pt x="5639476" y="743177"/>
                  <a:pt x="5632094" y="744262"/>
                  <a:pt x="5624689" y="745323"/>
                </a:cubicBezTo>
                <a:cubicBezTo>
                  <a:pt x="5005064" y="702025"/>
                  <a:pt x="4533918" y="701978"/>
                  <a:pt x="4152978" y="722283"/>
                </a:cubicBezTo>
                <a:cubicBezTo>
                  <a:pt x="3772840" y="743107"/>
                  <a:pt x="3482932" y="784283"/>
                  <a:pt x="3244387" y="835529"/>
                </a:cubicBezTo>
                <a:cubicBezTo>
                  <a:pt x="3006741" y="887295"/>
                  <a:pt x="2821826" y="949885"/>
                  <a:pt x="2667853" y="1018324"/>
                </a:cubicBezTo>
                <a:cubicBezTo>
                  <a:pt x="2629319" y="1035587"/>
                  <a:pt x="2592741" y="1053369"/>
                  <a:pt x="2557720" y="1071952"/>
                </a:cubicBezTo>
                <a:cubicBezTo>
                  <a:pt x="2522722" y="1090536"/>
                  <a:pt x="2489329" y="1109850"/>
                  <a:pt x="2457326" y="1130580"/>
                </a:cubicBezTo>
                <a:cubicBezTo>
                  <a:pt x="2441313" y="1140980"/>
                  <a:pt x="2425678" y="1151687"/>
                  <a:pt x="2410396" y="1163007"/>
                </a:cubicBezTo>
                <a:cubicBezTo>
                  <a:pt x="2395066" y="1174327"/>
                  <a:pt x="2380256" y="1186048"/>
                  <a:pt x="2365870" y="1198641"/>
                </a:cubicBezTo>
                <a:cubicBezTo>
                  <a:pt x="2351508" y="1211165"/>
                  <a:pt x="2337712" y="1224442"/>
                  <a:pt x="2324906" y="1238403"/>
                </a:cubicBezTo>
                <a:cubicBezTo>
                  <a:pt x="2312077" y="1252341"/>
                  <a:pt x="2300356" y="1266963"/>
                  <a:pt x="2290121" y="1281749"/>
                </a:cubicBezTo>
                <a:cubicBezTo>
                  <a:pt x="2279862" y="1296512"/>
                  <a:pt x="2271089" y="1311394"/>
                  <a:pt x="2263637" y="1325897"/>
                </a:cubicBezTo>
                <a:cubicBezTo>
                  <a:pt x="2256208" y="1340401"/>
                  <a:pt x="2250053" y="1354622"/>
                  <a:pt x="2244747" y="1368512"/>
                </a:cubicBezTo>
                <a:cubicBezTo>
                  <a:pt x="2234205" y="1396222"/>
                  <a:pt x="2227036" y="1422612"/>
                  <a:pt x="2221447" y="1448176"/>
                </a:cubicBezTo>
                <a:cubicBezTo>
                  <a:pt x="2210481" y="1499258"/>
                  <a:pt x="2205670" y="1547533"/>
                  <a:pt x="2203618" y="1594865"/>
                </a:cubicBezTo>
                <a:cubicBezTo>
                  <a:pt x="2201826" y="1641984"/>
                  <a:pt x="2202722" y="1688443"/>
                  <a:pt x="2206047" y="1734147"/>
                </a:cubicBezTo>
                <a:cubicBezTo>
                  <a:pt x="2209443" y="1779757"/>
                  <a:pt x="2215268" y="1824613"/>
                  <a:pt x="2223216" y="1868565"/>
                </a:cubicBezTo>
                <a:cubicBezTo>
                  <a:pt x="2254911" y="2044566"/>
                  <a:pt x="2320850" y="2205734"/>
                  <a:pt x="2397330" y="2350700"/>
                </a:cubicBezTo>
                <a:cubicBezTo>
                  <a:pt x="2473929" y="2495925"/>
                  <a:pt x="2560385" y="2625162"/>
                  <a:pt x="2636488" y="2744445"/>
                </a:cubicBezTo>
                <a:cubicBezTo>
                  <a:pt x="2655543" y="2774278"/>
                  <a:pt x="2674032" y="2803545"/>
                  <a:pt x="2691672" y="2832317"/>
                </a:cubicBezTo>
                <a:cubicBezTo>
                  <a:pt x="2700493" y="2846702"/>
                  <a:pt x="2709102" y="2860970"/>
                  <a:pt x="2717496" y="2875144"/>
                </a:cubicBezTo>
                <a:cubicBezTo>
                  <a:pt x="2725868" y="2889364"/>
                  <a:pt x="2734005" y="2903491"/>
                  <a:pt x="2741881" y="2917499"/>
                </a:cubicBezTo>
                <a:cubicBezTo>
                  <a:pt x="2757635" y="2945540"/>
                  <a:pt x="2772446" y="2973203"/>
                  <a:pt x="2785271" y="3002187"/>
                </a:cubicBezTo>
                <a:cubicBezTo>
                  <a:pt x="2791662" y="3016690"/>
                  <a:pt x="2797582" y="3031453"/>
                  <a:pt x="2802511" y="3047136"/>
                </a:cubicBezTo>
                <a:cubicBezTo>
                  <a:pt x="2807420" y="3062795"/>
                  <a:pt x="2811425" y="3079374"/>
                  <a:pt x="2813006" y="3097675"/>
                </a:cubicBezTo>
                <a:cubicBezTo>
                  <a:pt x="2813785" y="3106825"/>
                  <a:pt x="2813879" y="3116447"/>
                  <a:pt x="2812938" y="3126376"/>
                </a:cubicBezTo>
                <a:cubicBezTo>
                  <a:pt x="2812040" y="3136304"/>
                  <a:pt x="2810057" y="3146539"/>
                  <a:pt x="2807039" y="3156562"/>
                </a:cubicBezTo>
                <a:cubicBezTo>
                  <a:pt x="2803998" y="3166609"/>
                  <a:pt x="2799943" y="3176396"/>
                  <a:pt x="2795110" y="3185664"/>
                </a:cubicBezTo>
                <a:cubicBezTo>
                  <a:pt x="2790271" y="3194932"/>
                  <a:pt x="2784685" y="3203681"/>
                  <a:pt x="2778600" y="3211936"/>
                </a:cubicBezTo>
                <a:cubicBezTo>
                  <a:pt x="2766384" y="3228467"/>
                  <a:pt x="2752187" y="3243018"/>
                  <a:pt x="2736551" y="3256225"/>
                </a:cubicBezTo>
                <a:cubicBezTo>
                  <a:pt x="2732637" y="3259527"/>
                  <a:pt x="2728628" y="3262734"/>
                  <a:pt x="2724524" y="3265847"/>
                </a:cubicBezTo>
                <a:cubicBezTo>
                  <a:pt x="2722472" y="3267403"/>
                  <a:pt x="2720397" y="3268936"/>
                  <a:pt x="2718298" y="3270469"/>
                </a:cubicBezTo>
                <a:cubicBezTo>
                  <a:pt x="2716199" y="3272002"/>
                  <a:pt x="2714053" y="3273417"/>
                  <a:pt x="2711908" y="3274856"/>
                </a:cubicBezTo>
                <a:cubicBezTo>
                  <a:pt x="2709761" y="3276294"/>
                  <a:pt x="2707568" y="3277709"/>
                  <a:pt x="2705374" y="3279124"/>
                </a:cubicBezTo>
                <a:cubicBezTo>
                  <a:pt x="2703181" y="3280516"/>
                  <a:pt x="2700941" y="3281883"/>
                  <a:pt x="2698700" y="3283228"/>
                </a:cubicBezTo>
                <a:cubicBezTo>
                  <a:pt x="2694220" y="3285940"/>
                  <a:pt x="2689621" y="3288605"/>
                  <a:pt x="2684951" y="3291175"/>
                </a:cubicBezTo>
                <a:cubicBezTo>
                  <a:pt x="2609862" y="3332139"/>
                  <a:pt x="2512511" y="3358647"/>
                  <a:pt x="2372191" y="3354779"/>
                </a:cubicBezTo>
                <a:cubicBezTo>
                  <a:pt x="2230927" y="3349449"/>
                  <a:pt x="2047851" y="3316787"/>
                  <a:pt x="1780629" y="3203068"/>
                </a:cubicBezTo>
                <a:cubicBezTo>
                  <a:pt x="1514470" y="3087746"/>
                  <a:pt x="1158481" y="2888138"/>
                  <a:pt x="689010" y="2498119"/>
                </a:cubicBezTo>
                <a:cubicBezTo>
                  <a:pt x="1158788" y="2888303"/>
                  <a:pt x="1514824" y="3087817"/>
                  <a:pt x="1781007" y="3203021"/>
                </a:cubicBezTo>
                <a:cubicBezTo>
                  <a:pt x="2048228" y="3316621"/>
                  <a:pt x="2231234" y="3349143"/>
                  <a:pt x="2372426" y="3354355"/>
                </a:cubicBezTo>
                <a:cubicBezTo>
                  <a:pt x="2512652" y="3358081"/>
                  <a:pt x="2609910" y="3331455"/>
                  <a:pt x="2684881" y="3290373"/>
                </a:cubicBezTo>
                <a:cubicBezTo>
                  <a:pt x="2689550" y="3287779"/>
                  <a:pt x="2694125" y="3285114"/>
                  <a:pt x="2698606" y="3282402"/>
                </a:cubicBezTo>
                <a:cubicBezTo>
                  <a:pt x="2700846" y="3281034"/>
                  <a:pt x="2703063" y="3279667"/>
                  <a:pt x="2705256" y="3278275"/>
                </a:cubicBezTo>
                <a:cubicBezTo>
                  <a:pt x="2707451" y="3276860"/>
                  <a:pt x="2709619" y="3275445"/>
                  <a:pt x="2711765" y="3274007"/>
                </a:cubicBezTo>
                <a:cubicBezTo>
                  <a:pt x="2713912" y="3272568"/>
                  <a:pt x="2716034" y="3271153"/>
                  <a:pt x="2718133" y="3269620"/>
                </a:cubicBezTo>
                <a:cubicBezTo>
                  <a:pt x="2720232" y="3268087"/>
                  <a:pt x="2722283" y="3266554"/>
                  <a:pt x="2724335" y="3264998"/>
                </a:cubicBezTo>
                <a:cubicBezTo>
                  <a:pt x="2728439" y="3261885"/>
                  <a:pt x="2732424" y="3258678"/>
                  <a:pt x="2736316" y="3255376"/>
                </a:cubicBezTo>
                <a:cubicBezTo>
                  <a:pt x="2751905" y="3242193"/>
                  <a:pt x="2766030" y="3227642"/>
                  <a:pt x="2778129" y="3211205"/>
                </a:cubicBezTo>
                <a:cubicBezTo>
                  <a:pt x="2784166" y="3202998"/>
                  <a:pt x="2789705" y="3194319"/>
                  <a:pt x="2794469" y="3185145"/>
                </a:cubicBezTo>
                <a:cubicBezTo>
                  <a:pt x="2799233" y="3175971"/>
                  <a:pt x="2803245" y="3166326"/>
                  <a:pt x="2806239" y="3156444"/>
                </a:cubicBezTo>
                <a:cubicBezTo>
                  <a:pt x="2812274" y="3136634"/>
                  <a:pt x="2813691" y="3116423"/>
                  <a:pt x="2812109" y="3098453"/>
                </a:cubicBezTo>
                <a:cubicBezTo>
                  <a:pt x="2810553" y="3080365"/>
                  <a:pt x="2806591" y="3063927"/>
                  <a:pt x="2801709" y="3048362"/>
                </a:cubicBezTo>
                <a:cubicBezTo>
                  <a:pt x="2796804" y="3032774"/>
                  <a:pt x="2790909" y="3018082"/>
                  <a:pt x="2784543" y="3003649"/>
                </a:cubicBezTo>
                <a:cubicBezTo>
                  <a:pt x="2771762" y="2974783"/>
                  <a:pt x="2756975" y="2947190"/>
                  <a:pt x="2741245" y="2919244"/>
                </a:cubicBezTo>
                <a:cubicBezTo>
                  <a:pt x="2733368" y="2905260"/>
                  <a:pt x="2725255" y="2891180"/>
                  <a:pt x="2716884" y="2877007"/>
                </a:cubicBezTo>
                <a:cubicBezTo>
                  <a:pt x="2708511" y="2862880"/>
                  <a:pt x="2699903" y="2848636"/>
                  <a:pt x="2691083" y="2834297"/>
                </a:cubicBezTo>
                <a:cubicBezTo>
                  <a:pt x="2673466" y="2805597"/>
                  <a:pt x="2655001" y="2776424"/>
                  <a:pt x="2635945" y="2746662"/>
                </a:cubicBezTo>
                <a:cubicBezTo>
                  <a:pt x="2559866" y="2627708"/>
                  <a:pt x="2473386" y="2498826"/>
                  <a:pt x="2396505" y="2353955"/>
                </a:cubicBezTo>
                <a:cubicBezTo>
                  <a:pt x="2319742" y="2209366"/>
                  <a:pt x="2253308" y="2048528"/>
                  <a:pt x="2220739" y="1872786"/>
                </a:cubicBezTo>
                <a:cubicBezTo>
                  <a:pt x="2212579" y="1828881"/>
                  <a:pt x="2206519" y="1784120"/>
                  <a:pt x="2202863" y="1738534"/>
                </a:cubicBezTo>
                <a:cubicBezTo>
                  <a:pt x="2199278" y="1692877"/>
                  <a:pt x="2198099" y="1646418"/>
                  <a:pt x="2199609" y="1599322"/>
                </a:cubicBezTo>
                <a:cubicBezTo>
                  <a:pt x="2201377" y="1551967"/>
                  <a:pt x="2205882" y="1503645"/>
                  <a:pt x="2216589" y="1452210"/>
                </a:cubicBezTo>
                <a:cubicBezTo>
                  <a:pt x="2222060" y="1426432"/>
                  <a:pt x="2229088" y="1399831"/>
                  <a:pt x="2239700" y="1371460"/>
                </a:cubicBezTo>
                <a:cubicBezTo>
                  <a:pt x="2245053" y="1357287"/>
                  <a:pt x="2251256" y="1342736"/>
                  <a:pt x="2258897" y="1327642"/>
                </a:cubicBezTo>
                <a:cubicBezTo>
                  <a:pt x="2266561" y="1312573"/>
                  <a:pt x="2275641" y="1297055"/>
                  <a:pt x="2286371" y="1281513"/>
                </a:cubicBezTo>
                <a:cubicBezTo>
                  <a:pt x="2297102" y="1265972"/>
                  <a:pt x="2309459" y="1250478"/>
                  <a:pt x="2322925" y="1235856"/>
                </a:cubicBezTo>
                <a:cubicBezTo>
                  <a:pt x="2336344" y="1221211"/>
                  <a:pt x="2350777" y="1207368"/>
                  <a:pt x="2365611" y="1194443"/>
                </a:cubicBezTo>
                <a:cubicBezTo>
                  <a:pt x="2380445" y="1181496"/>
                  <a:pt x="2395845" y="1169351"/>
                  <a:pt x="2411433" y="1157889"/>
                </a:cubicBezTo>
                <a:cubicBezTo>
                  <a:pt x="2427092" y="1146357"/>
                  <a:pt x="2443011" y="1135485"/>
                  <a:pt x="2459284" y="1124967"/>
                </a:cubicBezTo>
                <a:cubicBezTo>
                  <a:pt x="2491828" y="1104002"/>
                  <a:pt x="2525600" y="1084593"/>
                  <a:pt x="2560951" y="1065915"/>
                </a:cubicBezTo>
                <a:cubicBezTo>
                  <a:pt x="2596302" y="1047260"/>
                  <a:pt x="2633233" y="1029455"/>
                  <a:pt x="2672028" y="1012169"/>
                </a:cubicBezTo>
                <a:cubicBezTo>
                  <a:pt x="2827037" y="943730"/>
                  <a:pt x="3012993" y="881257"/>
                  <a:pt x="3251981" y="829681"/>
                </a:cubicBezTo>
                <a:cubicBezTo>
                  <a:pt x="3491870" y="778623"/>
                  <a:pt x="3783500" y="737659"/>
                  <a:pt x="4165973" y="717189"/>
                </a:cubicBezTo>
                <a:cubicBezTo>
                  <a:pt x="4309701" y="709716"/>
                  <a:pt x="4466207" y="705128"/>
                  <a:pt x="4638580" y="704642"/>
                </a:cubicBezTo>
                <a:close/>
                <a:moveTo>
                  <a:pt x="4599573" y="654875"/>
                </a:moveTo>
                <a:cubicBezTo>
                  <a:pt x="4882418" y="652831"/>
                  <a:pt x="5208463" y="661582"/>
                  <a:pt x="5591366" y="686271"/>
                </a:cubicBezTo>
                <a:cubicBezTo>
                  <a:pt x="5584079" y="687427"/>
                  <a:pt x="5576910" y="688583"/>
                  <a:pt x="5569764" y="689714"/>
                </a:cubicBezTo>
                <a:cubicBezTo>
                  <a:pt x="4960893" y="651038"/>
                  <a:pt x="4496657" y="652830"/>
                  <a:pt x="4121424" y="674220"/>
                </a:cubicBezTo>
                <a:cubicBezTo>
                  <a:pt x="3746852" y="696058"/>
                  <a:pt x="3461259" y="737494"/>
                  <a:pt x="3225003" y="788340"/>
                </a:cubicBezTo>
                <a:cubicBezTo>
                  <a:pt x="2989929" y="839704"/>
                  <a:pt x="2806265" y="901303"/>
                  <a:pt x="2652430" y="968186"/>
                </a:cubicBezTo>
                <a:cubicBezTo>
                  <a:pt x="2613943" y="985071"/>
                  <a:pt x="2577318" y="1002429"/>
                  <a:pt x="2542179" y="1020564"/>
                </a:cubicBezTo>
                <a:cubicBezTo>
                  <a:pt x="2507063" y="1038700"/>
                  <a:pt x="2473481" y="1057567"/>
                  <a:pt x="2441196" y="1077825"/>
                </a:cubicBezTo>
                <a:cubicBezTo>
                  <a:pt x="2425041" y="1087989"/>
                  <a:pt x="2409217" y="1098460"/>
                  <a:pt x="2393746" y="1109544"/>
                </a:cubicBezTo>
                <a:cubicBezTo>
                  <a:pt x="2378228" y="1120628"/>
                  <a:pt x="2363159" y="1132137"/>
                  <a:pt x="2348490" y="1144518"/>
                </a:cubicBezTo>
                <a:cubicBezTo>
                  <a:pt x="2333868" y="1156852"/>
                  <a:pt x="2319742" y="1169941"/>
                  <a:pt x="2306559" y="1183784"/>
                </a:cubicBezTo>
                <a:cubicBezTo>
                  <a:pt x="2293376" y="1197580"/>
                  <a:pt x="2281254" y="1212132"/>
                  <a:pt x="2270594" y="1226870"/>
                </a:cubicBezTo>
                <a:cubicBezTo>
                  <a:pt x="2259911" y="1241610"/>
                  <a:pt x="2250714" y="1256516"/>
                  <a:pt x="2242814" y="1271089"/>
                </a:cubicBezTo>
                <a:cubicBezTo>
                  <a:pt x="2234937" y="1285664"/>
                  <a:pt x="2228357" y="1300003"/>
                  <a:pt x="2222603" y="1314035"/>
                </a:cubicBezTo>
                <a:cubicBezTo>
                  <a:pt x="2211188" y="1342028"/>
                  <a:pt x="2203170" y="1368795"/>
                  <a:pt x="2196779" y="1394784"/>
                </a:cubicBezTo>
                <a:cubicBezTo>
                  <a:pt x="2184186" y="1446714"/>
                  <a:pt x="2177865" y="1496004"/>
                  <a:pt x="2174351" y="1544373"/>
                </a:cubicBezTo>
                <a:cubicBezTo>
                  <a:pt x="2171120" y="1592554"/>
                  <a:pt x="2170625" y="1640121"/>
                  <a:pt x="2172677" y="1686934"/>
                </a:cubicBezTo>
                <a:cubicBezTo>
                  <a:pt x="2174799" y="1733676"/>
                  <a:pt x="2179422" y="1779663"/>
                  <a:pt x="2186261" y="1824754"/>
                </a:cubicBezTo>
                <a:cubicBezTo>
                  <a:pt x="2213547" y="2005348"/>
                  <a:pt x="2276797" y="2171232"/>
                  <a:pt x="2352193" y="2320184"/>
                </a:cubicBezTo>
                <a:cubicBezTo>
                  <a:pt x="2427706" y="2469418"/>
                  <a:pt x="2514610" y="2601909"/>
                  <a:pt x="2592081" y="2723197"/>
                </a:cubicBezTo>
                <a:cubicBezTo>
                  <a:pt x="2611490" y="2753549"/>
                  <a:pt x="2630356" y="2783217"/>
                  <a:pt x="2648421" y="2812365"/>
                </a:cubicBezTo>
                <a:cubicBezTo>
                  <a:pt x="2657454" y="2826940"/>
                  <a:pt x="2666297" y="2841373"/>
                  <a:pt x="2674929" y="2855664"/>
                </a:cubicBezTo>
                <a:cubicBezTo>
                  <a:pt x="2683537" y="2870026"/>
                  <a:pt x="2691909" y="2884247"/>
                  <a:pt x="2700045" y="2898397"/>
                </a:cubicBezTo>
                <a:cubicBezTo>
                  <a:pt x="2716317" y="2926626"/>
                  <a:pt x="2731670" y="2954431"/>
                  <a:pt x="2745042" y="2983415"/>
                </a:cubicBezTo>
                <a:cubicBezTo>
                  <a:pt x="2751717" y="2997918"/>
                  <a:pt x="2757919" y="3012658"/>
                  <a:pt x="2763107" y="3028270"/>
                </a:cubicBezTo>
                <a:cubicBezTo>
                  <a:pt x="2768271" y="3043858"/>
                  <a:pt x="2772563" y="3060296"/>
                  <a:pt x="2774379" y="3078408"/>
                </a:cubicBezTo>
                <a:cubicBezTo>
                  <a:pt x="2775276" y="3087440"/>
                  <a:pt x="2775464" y="3096920"/>
                  <a:pt x="2774615" y="3106707"/>
                </a:cubicBezTo>
                <a:cubicBezTo>
                  <a:pt x="2773813" y="3116447"/>
                  <a:pt x="2771879" y="3126494"/>
                  <a:pt x="2768884" y="3136281"/>
                </a:cubicBezTo>
                <a:cubicBezTo>
                  <a:pt x="2765867" y="3146092"/>
                  <a:pt x="2761786" y="3155619"/>
                  <a:pt x="2756928" y="3164581"/>
                </a:cubicBezTo>
                <a:cubicBezTo>
                  <a:pt x="2752046" y="3173566"/>
                  <a:pt x="2746387" y="3182009"/>
                  <a:pt x="2740231" y="3189956"/>
                </a:cubicBezTo>
                <a:cubicBezTo>
                  <a:pt x="2727849" y="3205851"/>
                  <a:pt x="2713393" y="3219766"/>
                  <a:pt x="2697427" y="3232264"/>
                </a:cubicBezTo>
                <a:cubicBezTo>
                  <a:pt x="2693442" y="3235378"/>
                  <a:pt x="2689338" y="3238420"/>
                  <a:pt x="2685140" y="3241344"/>
                </a:cubicBezTo>
                <a:cubicBezTo>
                  <a:pt x="2683041" y="3242806"/>
                  <a:pt x="2680919" y="3244269"/>
                  <a:pt x="2678773" y="3245683"/>
                </a:cubicBezTo>
                <a:cubicBezTo>
                  <a:pt x="2676627" y="3247122"/>
                  <a:pt x="2674434" y="3248443"/>
                  <a:pt x="2672240" y="3249787"/>
                </a:cubicBezTo>
                <a:cubicBezTo>
                  <a:pt x="2670024" y="3251131"/>
                  <a:pt x="2667807" y="3252475"/>
                  <a:pt x="2665543" y="3253772"/>
                </a:cubicBezTo>
                <a:cubicBezTo>
                  <a:pt x="2663302" y="3255070"/>
                  <a:pt x="2661015" y="3256343"/>
                  <a:pt x="2658727" y="3257593"/>
                </a:cubicBezTo>
                <a:cubicBezTo>
                  <a:pt x="2654129" y="3260116"/>
                  <a:pt x="2649435" y="3262569"/>
                  <a:pt x="2644648" y="3264974"/>
                </a:cubicBezTo>
                <a:cubicBezTo>
                  <a:pt x="2567767" y="3302778"/>
                  <a:pt x="2467727" y="3325418"/>
                  <a:pt x="2323562" y="3315891"/>
                </a:cubicBezTo>
                <a:cubicBezTo>
                  <a:pt x="2178549" y="3304877"/>
                  <a:pt x="1990237" y="3264526"/>
                  <a:pt x="1718110" y="3139795"/>
                </a:cubicBezTo>
                <a:cubicBezTo>
                  <a:pt x="1447375" y="3013955"/>
                  <a:pt x="1086576" y="2798781"/>
                  <a:pt x="622596" y="2398574"/>
                </a:cubicBezTo>
                <a:cubicBezTo>
                  <a:pt x="1086859" y="2798946"/>
                  <a:pt x="1447752" y="3014026"/>
                  <a:pt x="1718488" y="3139771"/>
                </a:cubicBezTo>
                <a:cubicBezTo>
                  <a:pt x="1990615" y="3264385"/>
                  <a:pt x="2178832" y="3304594"/>
                  <a:pt x="2323775" y="3315490"/>
                </a:cubicBezTo>
                <a:cubicBezTo>
                  <a:pt x="2467844" y="3324899"/>
                  <a:pt x="2567790" y="3302142"/>
                  <a:pt x="2644554" y="3264220"/>
                </a:cubicBezTo>
                <a:cubicBezTo>
                  <a:pt x="2649341" y="3261814"/>
                  <a:pt x="2654011" y="3259362"/>
                  <a:pt x="2658609" y="3256815"/>
                </a:cubicBezTo>
                <a:cubicBezTo>
                  <a:pt x="2660897" y="3255541"/>
                  <a:pt x="2663184" y="3254268"/>
                  <a:pt x="2665425" y="3252971"/>
                </a:cubicBezTo>
                <a:cubicBezTo>
                  <a:pt x="2667665" y="3251650"/>
                  <a:pt x="2669882" y="3250329"/>
                  <a:pt x="2672075" y="3248985"/>
                </a:cubicBezTo>
                <a:cubicBezTo>
                  <a:pt x="2674268" y="3247617"/>
                  <a:pt x="2676438" y="3246320"/>
                  <a:pt x="2678584" y="3244882"/>
                </a:cubicBezTo>
                <a:cubicBezTo>
                  <a:pt x="2680730" y="3243443"/>
                  <a:pt x="2682829" y="3242004"/>
                  <a:pt x="2684928" y="3240542"/>
                </a:cubicBezTo>
                <a:cubicBezTo>
                  <a:pt x="2689102" y="3237594"/>
                  <a:pt x="2693182" y="3234576"/>
                  <a:pt x="2697168" y="3231463"/>
                </a:cubicBezTo>
                <a:cubicBezTo>
                  <a:pt x="2713063" y="3218964"/>
                  <a:pt x="2727449" y="3205073"/>
                  <a:pt x="2739736" y="3189272"/>
                </a:cubicBezTo>
                <a:cubicBezTo>
                  <a:pt x="2745868" y="3181372"/>
                  <a:pt x="2751457" y="3172976"/>
                  <a:pt x="2756268" y="3164086"/>
                </a:cubicBezTo>
                <a:cubicBezTo>
                  <a:pt x="2761079" y="3155195"/>
                  <a:pt x="2765088" y="3145809"/>
                  <a:pt x="2768060" y="3136163"/>
                </a:cubicBezTo>
                <a:cubicBezTo>
                  <a:pt x="2774049" y="3116825"/>
                  <a:pt x="2775276" y="3096944"/>
                  <a:pt x="2773484" y="3079210"/>
                </a:cubicBezTo>
                <a:cubicBezTo>
                  <a:pt x="2771715" y="3061333"/>
                  <a:pt x="2767447" y="3045014"/>
                  <a:pt x="2762305" y="3029520"/>
                </a:cubicBezTo>
                <a:cubicBezTo>
                  <a:pt x="2757140" y="3014002"/>
                  <a:pt x="2750938" y="2999333"/>
                  <a:pt x="2744311" y="2984877"/>
                </a:cubicBezTo>
                <a:cubicBezTo>
                  <a:pt x="2730986" y="2956011"/>
                  <a:pt x="2715633" y="2928277"/>
                  <a:pt x="2699385" y="2900142"/>
                </a:cubicBezTo>
                <a:cubicBezTo>
                  <a:pt x="2691249" y="2886063"/>
                  <a:pt x="2682876" y="2871866"/>
                  <a:pt x="2674292" y="2857551"/>
                </a:cubicBezTo>
                <a:cubicBezTo>
                  <a:pt x="2665684" y="2843283"/>
                  <a:pt x="2656840" y="2828897"/>
                  <a:pt x="2647808" y="2814370"/>
                </a:cubicBezTo>
                <a:cubicBezTo>
                  <a:pt x="2629743" y="2785316"/>
                  <a:pt x="2610900" y="2755719"/>
                  <a:pt x="2591491" y="2725461"/>
                </a:cubicBezTo>
                <a:cubicBezTo>
                  <a:pt x="2514044" y="2604503"/>
                  <a:pt x="2427069" y="2472342"/>
                  <a:pt x="2351273" y="2323462"/>
                </a:cubicBezTo>
                <a:cubicBezTo>
                  <a:pt x="2275571" y="2174864"/>
                  <a:pt x="2211778" y="2009310"/>
                  <a:pt x="2183620" y="1828929"/>
                </a:cubicBezTo>
                <a:cubicBezTo>
                  <a:pt x="2176545" y="1783885"/>
                  <a:pt x="2171686" y="1737944"/>
                  <a:pt x="2169328" y="1691250"/>
                </a:cubicBezTo>
                <a:cubicBezTo>
                  <a:pt x="2167017" y="1644461"/>
                  <a:pt x="2167229" y="1596917"/>
                  <a:pt x="2170177" y="1548760"/>
                </a:cubicBezTo>
                <a:cubicBezTo>
                  <a:pt x="2173408" y="1500343"/>
                  <a:pt x="2179422" y="1451006"/>
                  <a:pt x="2191779" y="1398699"/>
                </a:cubicBezTo>
                <a:cubicBezTo>
                  <a:pt x="2198076" y="1372498"/>
                  <a:pt x="2205953" y="1345495"/>
                  <a:pt x="2217462" y="1316841"/>
                </a:cubicBezTo>
                <a:cubicBezTo>
                  <a:pt x="2223239" y="1302525"/>
                  <a:pt x="2229913" y="1287834"/>
                  <a:pt x="2238002" y="1272694"/>
                </a:cubicBezTo>
                <a:cubicBezTo>
                  <a:pt x="2246115" y="1257552"/>
                  <a:pt x="2255666" y="1241988"/>
                  <a:pt x="2266845" y="1226493"/>
                </a:cubicBezTo>
                <a:cubicBezTo>
                  <a:pt x="2278000" y="1210975"/>
                  <a:pt x="2290805" y="1195599"/>
                  <a:pt x="2304649" y="1181119"/>
                </a:cubicBezTo>
                <a:cubicBezTo>
                  <a:pt x="2318445" y="1166615"/>
                  <a:pt x="2333208" y="1152961"/>
                  <a:pt x="2348348" y="1140226"/>
                </a:cubicBezTo>
                <a:cubicBezTo>
                  <a:pt x="2363465" y="1127491"/>
                  <a:pt x="2379125" y="1115558"/>
                  <a:pt x="2394902" y="1104356"/>
                </a:cubicBezTo>
                <a:cubicBezTo>
                  <a:pt x="2410773" y="1093036"/>
                  <a:pt x="2426880" y="1082423"/>
                  <a:pt x="2443295" y="1072141"/>
                </a:cubicBezTo>
                <a:cubicBezTo>
                  <a:pt x="2476122" y="1051647"/>
                  <a:pt x="2510082" y="1032710"/>
                  <a:pt x="2545551" y="1014480"/>
                </a:cubicBezTo>
                <a:cubicBezTo>
                  <a:pt x="2581021" y="996274"/>
                  <a:pt x="2617952" y="978869"/>
                  <a:pt x="2656723" y="961983"/>
                </a:cubicBezTo>
                <a:cubicBezTo>
                  <a:pt x="2811544" y="895101"/>
                  <a:pt x="2996226" y="833643"/>
                  <a:pt x="3232573" y="782467"/>
                </a:cubicBezTo>
                <a:cubicBezTo>
                  <a:pt x="3470126" y="731811"/>
                  <a:pt x="3757346" y="690587"/>
                  <a:pt x="4134159" y="669103"/>
                </a:cubicBezTo>
                <a:cubicBezTo>
                  <a:pt x="4275712" y="661214"/>
                  <a:pt x="4429866" y="656102"/>
                  <a:pt x="4599573" y="654875"/>
                </a:cubicBezTo>
                <a:close/>
                <a:moveTo>
                  <a:pt x="4731191" y="604259"/>
                </a:moveTo>
                <a:cubicBezTo>
                  <a:pt x="4967513" y="605155"/>
                  <a:pt x="5232571" y="613209"/>
                  <a:pt x="5533068" y="630849"/>
                </a:cubicBezTo>
                <a:cubicBezTo>
                  <a:pt x="5526182" y="632004"/>
                  <a:pt x="5519248" y="633184"/>
                  <a:pt x="5512338" y="634386"/>
                </a:cubicBezTo>
                <a:cubicBezTo>
                  <a:pt x="4914905" y="599884"/>
                  <a:pt x="4458381" y="603422"/>
                  <a:pt x="4089421" y="625755"/>
                </a:cubicBezTo>
                <a:cubicBezTo>
                  <a:pt x="3720981" y="648466"/>
                  <a:pt x="3440104" y="689948"/>
                  <a:pt x="3206489" y="740157"/>
                </a:cubicBezTo>
                <a:cubicBezTo>
                  <a:pt x="2974291" y="790909"/>
                  <a:pt x="2792089" y="851211"/>
                  <a:pt x="2638584" y="916278"/>
                </a:cubicBezTo>
                <a:cubicBezTo>
                  <a:pt x="2600167" y="932715"/>
                  <a:pt x="2563543" y="949577"/>
                  <a:pt x="2528333" y="967217"/>
                </a:cubicBezTo>
                <a:cubicBezTo>
                  <a:pt x="2493147" y="984858"/>
                  <a:pt x="2459375" y="1003158"/>
                  <a:pt x="2426831" y="1022874"/>
                </a:cubicBezTo>
                <a:cubicBezTo>
                  <a:pt x="2410535" y="1032779"/>
                  <a:pt x="2394569" y="1042967"/>
                  <a:pt x="2378886" y="1053791"/>
                </a:cubicBezTo>
                <a:cubicBezTo>
                  <a:pt x="2363156" y="1064616"/>
                  <a:pt x="2347898" y="1075865"/>
                  <a:pt x="2332946" y="1088011"/>
                </a:cubicBezTo>
                <a:cubicBezTo>
                  <a:pt x="2318041" y="1100109"/>
                  <a:pt x="2303608" y="1112985"/>
                  <a:pt x="2290095" y="1126663"/>
                </a:cubicBezTo>
                <a:cubicBezTo>
                  <a:pt x="2276558" y="1140295"/>
                  <a:pt x="2264036" y="1154728"/>
                  <a:pt x="2252951" y="1169396"/>
                </a:cubicBezTo>
                <a:cubicBezTo>
                  <a:pt x="2241844" y="1184065"/>
                  <a:pt x="2232198" y="1198970"/>
                  <a:pt x="2223850" y="1213591"/>
                </a:cubicBezTo>
                <a:cubicBezTo>
                  <a:pt x="2215525" y="1228214"/>
                  <a:pt x="2208474" y="1242646"/>
                  <a:pt x="2202295" y="1256772"/>
                </a:cubicBezTo>
                <a:cubicBezTo>
                  <a:pt x="2189984" y="1285001"/>
                  <a:pt x="2181093" y="1312123"/>
                  <a:pt x="2173853" y="1338512"/>
                </a:cubicBezTo>
                <a:cubicBezTo>
                  <a:pt x="2159562" y="1391244"/>
                  <a:pt x="2151614" y="1441500"/>
                  <a:pt x="2146568" y="1490907"/>
                </a:cubicBezTo>
                <a:cubicBezTo>
                  <a:pt x="2141804" y="1540125"/>
                  <a:pt x="2139823" y="1588778"/>
                  <a:pt x="2140483" y="1636699"/>
                </a:cubicBezTo>
                <a:cubicBezTo>
                  <a:pt x="2141214" y="1684549"/>
                  <a:pt x="2144516" y="1731692"/>
                  <a:pt x="2150152" y="1777962"/>
                </a:cubicBezTo>
                <a:cubicBezTo>
                  <a:pt x="2172603" y="1963228"/>
                  <a:pt x="2232717" y="2133971"/>
                  <a:pt x="2306745" y="2287144"/>
                </a:cubicBezTo>
                <a:cubicBezTo>
                  <a:pt x="2380843" y="2440623"/>
                  <a:pt x="2468007" y="2576675"/>
                  <a:pt x="2546657" y="2700298"/>
                </a:cubicBezTo>
                <a:cubicBezTo>
                  <a:pt x="2566349" y="2731239"/>
                  <a:pt x="2585569" y="2761426"/>
                  <a:pt x="2604058" y="2790975"/>
                </a:cubicBezTo>
                <a:cubicBezTo>
                  <a:pt x="2613303" y="2805762"/>
                  <a:pt x="2622359" y="2820384"/>
                  <a:pt x="2631203" y="2834864"/>
                </a:cubicBezTo>
                <a:cubicBezTo>
                  <a:pt x="2640023" y="2849391"/>
                  <a:pt x="2648654" y="2863800"/>
                  <a:pt x="2657027" y="2878068"/>
                </a:cubicBezTo>
                <a:cubicBezTo>
                  <a:pt x="2673771" y="2906580"/>
                  <a:pt x="2689666" y="2934574"/>
                  <a:pt x="2703556" y="2963652"/>
                </a:cubicBezTo>
                <a:cubicBezTo>
                  <a:pt x="2710489" y="2978203"/>
                  <a:pt x="2716975" y="2992966"/>
                  <a:pt x="2722423" y="3008531"/>
                </a:cubicBezTo>
                <a:cubicBezTo>
                  <a:pt x="2727847" y="3024072"/>
                  <a:pt x="2732398" y="3040439"/>
                  <a:pt x="2734403" y="3058338"/>
                </a:cubicBezTo>
                <a:cubicBezTo>
                  <a:pt x="2735393" y="3067276"/>
                  <a:pt x="2735676" y="3076639"/>
                  <a:pt x="2734898" y="3086237"/>
                </a:cubicBezTo>
                <a:cubicBezTo>
                  <a:pt x="2734167" y="3095812"/>
                  <a:pt x="2732257" y="3105646"/>
                  <a:pt x="2729286" y="3115197"/>
                </a:cubicBezTo>
                <a:cubicBezTo>
                  <a:pt x="2726290" y="3124772"/>
                  <a:pt x="2722163" y="3134017"/>
                  <a:pt x="2717234" y="3142719"/>
                </a:cubicBezTo>
                <a:cubicBezTo>
                  <a:pt x="2712305" y="3151422"/>
                  <a:pt x="2706551" y="3159558"/>
                  <a:pt x="2700278" y="3167199"/>
                </a:cubicBezTo>
                <a:cubicBezTo>
                  <a:pt x="2687685" y="3182457"/>
                  <a:pt x="2672922" y="3195664"/>
                  <a:pt x="2656602" y="3207432"/>
                </a:cubicBezTo>
                <a:cubicBezTo>
                  <a:pt x="2652522" y="3210356"/>
                  <a:pt x="2648324" y="3213209"/>
                  <a:pt x="2644032" y="3215969"/>
                </a:cubicBezTo>
                <a:cubicBezTo>
                  <a:pt x="2641886" y="3217336"/>
                  <a:pt x="2639716" y="3218704"/>
                  <a:pt x="2637523" y="3220025"/>
                </a:cubicBezTo>
                <a:cubicBezTo>
                  <a:pt x="2635330" y="3221369"/>
                  <a:pt x="2633089" y="3222595"/>
                  <a:pt x="2630826" y="3223845"/>
                </a:cubicBezTo>
                <a:cubicBezTo>
                  <a:pt x="2628561" y="3225095"/>
                  <a:pt x="2626274" y="3226322"/>
                  <a:pt x="2623963" y="3227548"/>
                </a:cubicBezTo>
                <a:cubicBezTo>
                  <a:pt x="2621652" y="3228751"/>
                  <a:pt x="2619317" y="3229930"/>
                  <a:pt x="2616959" y="3231085"/>
                </a:cubicBezTo>
                <a:cubicBezTo>
                  <a:pt x="2612242" y="3233397"/>
                  <a:pt x="2607454" y="3235661"/>
                  <a:pt x="2602526" y="3237854"/>
                </a:cubicBezTo>
                <a:cubicBezTo>
                  <a:pt x="2523710" y="3272332"/>
                  <a:pt x="2420864" y="3290892"/>
                  <a:pt x="2272832" y="3275422"/>
                </a:cubicBezTo>
                <a:cubicBezTo>
                  <a:pt x="2124046" y="3258489"/>
                  <a:pt x="1930592" y="3210097"/>
                  <a:pt x="1654150" y="3074304"/>
                </a:cubicBezTo>
                <a:cubicBezTo>
                  <a:pt x="1379405" y="2937923"/>
                  <a:pt x="1014903" y="2707585"/>
                  <a:pt x="558211" y="2299289"/>
                </a:cubicBezTo>
                <a:cubicBezTo>
                  <a:pt x="1015186" y="2707750"/>
                  <a:pt x="1379783" y="2937993"/>
                  <a:pt x="1654527" y="3074281"/>
                </a:cubicBezTo>
                <a:cubicBezTo>
                  <a:pt x="1930970" y="3209955"/>
                  <a:pt x="2124329" y="3258230"/>
                  <a:pt x="2273044" y="3275021"/>
                </a:cubicBezTo>
                <a:cubicBezTo>
                  <a:pt x="2420982" y="3290374"/>
                  <a:pt x="2523734" y="3271672"/>
                  <a:pt x="2602431" y="3237099"/>
                </a:cubicBezTo>
                <a:cubicBezTo>
                  <a:pt x="2607336" y="3234906"/>
                  <a:pt x="2612124" y="3232642"/>
                  <a:pt x="2616841" y="3230307"/>
                </a:cubicBezTo>
                <a:cubicBezTo>
                  <a:pt x="2619199" y="3229152"/>
                  <a:pt x="2621510" y="3227973"/>
                  <a:pt x="2623821" y="3226770"/>
                </a:cubicBezTo>
                <a:cubicBezTo>
                  <a:pt x="2626109" y="3225543"/>
                  <a:pt x="2628396" y="3224317"/>
                  <a:pt x="2630637" y="3223067"/>
                </a:cubicBezTo>
                <a:cubicBezTo>
                  <a:pt x="2632877" y="3221817"/>
                  <a:pt x="2635118" y="3220591"/>
                  <a:pt x="2637311" y="3219247"/>
                </a:cubicBezTo>
                <a:cubicBezTo>
                  <a:pt x="2639504" y="3217902"/>
                  <a:pt x="2641674" y="3216558"/>
                  <a:pt x="2643796" y="3215190"/>
                </a:cubicBezTo>
                <a:cubicBezTo>
                  <a:pt x="2648065" y="3212431"/>
                  <a:pt x="2652239" y="3209601"/>
                  <a:pt x="2656319" y="3206653"/>
                </a:cubicBezTo>
                <a:cubicBezTo>
                  <a:pt x="2672568" y="3194885"/>
                  <a:pt x="2687260" y="3181702"/>
                  <a:pt x="2699736" y="3166515"/>
                </a:cubicBezTo>
                <a:cubicBezTo>
                  <a:pt x="2705962" y="3158921"/>
                  <a:pt x="2711645" y="3150856"/>
                  <a:pt x="2716503" y="3142248"/>
                </a:cubicBezTo>
                <a:cubicBezTo>
                  <a:pt x="2721385" y="3133640"/>
                  <a:pt x="2725418" y="3124513"/>
                  <a:pt x="2728366" y="3115103"/>
                </a:cubicBezTo>
                <a:cubicBezTo>
                  <a:pt x="2734356" y="3096237"/>
                  <a:pt x="2735417" y="3076686"/>
                  <a:pt x="2733413" y="3059140"/>
                </a:cubicBezTo>
                <a:cubicBezTo>
                  <a:pt x="2731431" y="3041453"/>
                  <a:pt x="2726927" y="3025228"/>
                  <a:pt x="2721527" y="3009781"/>
                </a:cubicBezTo>
                <a:cubicBezTo>
                  <a:pt x="2716102" y="2994310"/>
                  <a:pt x="2709641" y="2979618"/>
                  <a:pt x="2702731" y="2965138"/>
                </a:cubicBezTo>
                <a:cubicBezTo>
                  <a:pt x="2688864" y="2936177"/>
                  <a:pt x="2673016" y="2908255"/>
                  <a:pt x="2656272" y="2879837"/>
                </a:cubicBezTo>
                <a:cubicBezTo>
                  <a:pt x="2647900" y="2865616"/>
                  <a:pt x="2639292" y="2851254"/>
                  <a:pt x="2630472" y="2836774"/>
                </a:cubicBezTo>
                <a:cubicBezTo>
                  <a:pt x="2621628" y="2822318"/>
                  <a:pt x="2612572" y="2807743"/>
                  <a:pt x="2603351" y="2793004"/>
                </a:cubicBezTo>
                <a:cubicBezTo>
                  <a:pt x="2584885" y="2763524"/>
                  <a:pt x="2565665" y="2733409"/>
                  <a:pt x="2545973" y="2702562"/>
                </a:cubicBezTo>
                <a:cubicBezTo>
                  <a:pt x="2467323" y="2579269"/>
                  <a:pt x="2380089" y="2443547"/>
                  <a:pt x="2305660" y="2290422"/>
                </a:cubicBezTo>
                <a:cubicBezTo>
                  <a:pt x="2231302" y="2137579"/>
                  <a:pt x="2170599" y="1967143"/>
                  <a:pt x="2147275" y="1782113"/>
                </a:cubicBezTo>
                <a:cubicBezTo>
                  <a:pt x="2141403" y="1735890"/>
                  <a:pt x="2137865" y="1688818"/>
                  <a:pt x="2136875" y="1640991"/>
                </a:cubicBezTo>
                <a:cubicBezTo>
                  <a:pt x="2135955" y="1593093"/>
                  <a:pt x="2137653" y="1544441"/>
                  <a:pt x="2142134" y="1495247"/>
                </a:cubicBezTo>
                <a:cubicBezTo>
                  <a:pt x="2146898" y="1445793"/>
                  <a:pt x="2154539" y="1395489"/>
                  <a:pt x="2168618" y="1342356"/>
                </a:cubicBezTo>
                <a:cubicBezTo>
                  <a:pt x="2175764" y="1315754"/>
                  <a:pt x="2184537" y="1288397"/>
                  <a:pt x="2196965" y="1259508"/>
                </a:cubicBezTo>
                <a:cubicBezTo>
                  <a:pt x="2203214" y="1245075"/>
                  <a:pt x="2210337" y="1230288"/>
                  <a:pt x="2218921" y="1215077"/>
                </a:cubicBezTo>
                <a:cubicBezTo>
                  <a:pt x="2227505" y="1199889"/>
                  <a:pt x="2237528" y="1184348"/>
                  <a:pt x="2249155" y="1168877"/>
                </a:cubicBezTo>
                <a:cubicBezTo>
                  <a:pt x="2260758" y="1153430"/>
                  <a:pt x="2273988" y="1138172"/>
                  <a:pt x="2288185" y="1123881"/>
                </a:cubicBezTo>
                <a:cubicBezTo>
                  <a:pt x="2302358" y="1109542"/>
                  <a:pt x="2317428" y="1096123"/>
                  <a:pt x="2332851" y="1083648"/>
                </a:cubicBezTo>
                <a:cubicBezTo>
                  <a:pt x="2348251" y="1071149"/>
                  <a:pt x="2364123" y="1059498"/>
                  <a:pt x="2380112" y="1048556"/>
                </a:cubicBezTo>
                <a:cubicBezTo>
                  <a:pt x="2396172" y="1037519"/>
                  <a:pt x="2412445" y="1027189"/>
                  <a:pt x="2428977" y="1017167"/>
                </a:cubicBezTo>
                <a:cubicBezTo>
                  <a:pt x="2462087" y="997215"/>
                  <a:pt x="2496189" y="978819"/>
                  <a:pt x="2531729" y="961109"/>
                </a:cubicBezTo>
                <a:cubicBezTo>
                  <a:pt x="2567269" y="943397"/>
                  <a:pt x="2604200" y="926513"/>
                  <a:pt x="2642877" y="910075"/>
                </a:cubicBezTo>
                <a:cubicBezTo>
                  <a:pt x="2797344" y="845032"/>
                  <a:pt x="2980514" y="784847"/>
                  <a:pt x="3213918" y="734285"/>
                </a:cubicBezTo>
                <a:cubicBezTo>
                  <a:pt x="3448759" y="684265"/>
                  <a:pt x="3731192" y="642994"/>
                  <a:pt x="4101732" y="620614"/>
                </a:cubicBezTo>
                <a:cubicBezTo>
                  <a:pt x="4287285" y="609624"/>
                  <a:pt x="4494870" y="603363"/>
                  <a:pt x="4731191" y="604259"/>
                </a:cubicBezTo>
                <a:close/>
                <a:moveTo>
                  <a:pt x="4686451" y="553241"/>
                </a:moveTo>
                <a:cubicBezTo>
                  <a:pt x="4918201" y="553144"/>
                  <a:pt x="5178011" y="559818"/>
                  <a:pt x="5472318" y="575525"/>
                </a:cubicBezTo>
                <a:cubicBezTo>
                  <a:pt x="5465573" y="576799"/>
                  <a:pt x="5458922" y="578048"/>
                  <a:pt x="5452272" y="579298"/>
                </a:cubicBezTo>
                <a:cubicBezTo>
                  <a:pt x="4867031" y="548617"/>
                  <a:pt x="4418997" y="553804"/>
                  <a:pt x="4056876" y="576868"/>
                </a:cubicBezTo>
                <a:cubicBezTo>
                  <a:pt x="3695180" y="600287"/>
                  <a:pt x="3419422" y="641604"/>
                  <a:pt x="3188802" y="690964"/>
                </a:cubicBezTo>
                <a:cubicBezTo>
                  <a:pt x="2959835" y="740866"/>
                  <a:pt x="2779332" y="799636"/>
                  <a:pt x="2626324" y="862603"/>
                </a:cubicBezTo>
                <a:cubicBezTo>
                  <a:pt x="2588025" y="878499"/>
                  <a:pt x="2551447" y="894818"/>
                  <a:pt x="2516214" y="911869"/>
                </a:cubicBezTo>
                <a:cubicBezTo>
                  <a:pt x="2480981" y="928920"/>
                  <a:pt x="2447092" y="946631"/>
                  <a:pt x="2414334" y="965710"/>
                </a:cubicBezTo>
                <a:cubicBezTo>
                  <a:pt x="2397920" y="975308"/>
                  <a:pt x="2381813" y="985189"/>
                  <a:pt x="2365965" y="995707"/>
                </a:cubicBezTo>
                <a:cubicBezTo>
                  <a:pt x="2350070" y="1006226"/>
                  <a:pt x="2334576" y="1017168"/>
                  <a:pt x="2319388" y="1029054"/>
                </a:cubicBezTo>
                <a:cubicBezTo>
                  <a:pt x="2304224" y="1040870"/>
                  <a:pt x="2289508" y="1053486"/>
                  <a:pt x="2275618" y="1066953"/>
                </a:cubicBezTo>
                <a:cubicBezTo>
                  <a:pt x="2261727" y="1080372"/>
                  <a:pt x="2248827" y="1094640"/>
                  <a:pt x="2237319" y="1109215"/>
                </a:cubicBezTo>
                <a:cubicBezTo>
                  <a:pt x="2225810" y="1123789"/>
                  <a:pt x="2215693" y="1138646"/>
                  <a:pt x="2206873" y="1153292"/>
                </a:cubicBezTo>
                <a:cubicBezTo>
                  <a:pt x="2198100" y="1167937"/>
                  <a:pt x="2190600" y="1182417"/>
                  <a:pt x="2183950" y="1196661"/>
                </a:cubicBezTo>
                <a:cubicBezTo>
                  <a:pt x="2170720" y="1225079"/>
                  <a:pt x="2160933" y="1252530"/>
                  <a:pt x="2152820" y="1279273"/>
                </a:cubicBezTo>
                <a:cubicBezTo>
                  <a:pt x="2136760" y="1332736"/>
                  <a:pt x="2127114" y="1383936"/>
                  <a:pt x="2120417" y="1434357"/>
                </a:cubicBezTo>
                <a:cubicBezTo>
                  <a:pt x="2114002" y="1484566"/>
                  <a:pt x="2110465" y="1534303"/>
                  <a:pt x="2109616" y="1583334"/>
                </a:cubicBezTo>
                <a:cubicBezTo>
                  <a:pt x="2108837" y="1632292"/>
                  <a:pt x="2110724" y="1680567"/>
                  <a:pt x="2115040" y="1728017"/>
                </a:cubicBezTo>
                <a:cubicBezTo>
                  <a:pt x="2132161" y="1917948"/>
                  <a:pt x="2188737" y="2093714"/>
                  <a:pt x="2261044" y="2251320"/>
                </a:cubicBezTo>
                <a:cubicBezTo>
                  <a:pt x="2333397" y="2409257"/>
                  <a:pt x="2420537" y="2549176"/>
                  <a:pt x="2500225" y="2675417"/>
                </a:cubicBezTo>
                <a:cubicBezTo>
                  <a:pt x="2520176" y="2707019"/>
                  <a:pt x="2539727" y="2737795"/>
                  <a:pt x="2558570" y="2767864"/>
                </a:cubicBezTo>
                <a:cubicBezTo>
                  <a:pt x="2568003" y="2782910"/>
                  <a:pt x="2577247" y="2797767"/>
                  <a:pt x="2586303" y="2812459"/>
                </a:cubicBezTo>
                <a:cubicBezTo>
                  <a:pt x="2595336" y="2827199"/>
                  <a:pt x="2604179" y="2841797"/>
                  <a:pt x="2612787" y="2856253"/>
                </a:cubicBezTo>
                <a:cubicBezTo>
                  <a:pt x="2630003" y="2885119"/>
                  <a:pt x="2646370" y="2913396"/>
                  <a:pt x="2660779" y="2942639"/>
                </a:cubicBezTo>
                <a:cubicBezTo>
                  <a:pt x="2667949" y="2957260"/>
                  <a:pt x="2674693" y="2972071"/>
                  <a:pt x="2680400" y="2987636"/>
                </a:cubicBezTo>
                <a:cubicBezTo>
                  <a:pt x="2686084" y="3003177"/>
                  <a:pt x="2690871" y="3019473"/>
                  <a:pt x="2693064" y="3037184"/>
                </a:cubicBezTo>
                <a:cubicBezTo>
                  <a:pt x="2694149" y="3046028"/>
                  <a:pt x="2694503" y="3055272"/>
                  <a:pt x="2693772" y="3064706"/>
                </a:cubicBezTo>
                <a:cubicBezTo>
                  <a:pt x="2693088" y="3074139"/>
                  <a:pt x="2691225" y="3083761"/>
                  <a:pt x="2688206" y="3093076"/>
                </a:cubicBezTo>
                <a:cubicBezTo>
                  <a:pt x="2685188" y="3102415"/>
                  <a:pt x="2681037" y="3111377"/>
                  <a:pt x="2676037" y="3119796"/>
                </a:cubicBezTo>
                <a:cubicBezTo>
                  <a:pt x="2671038" y="3128215"/>
                  <a:pt x="2665189" y="3136021"/>
                  <a:pt x="2658775" y="3143332"/>
                </a:cubicBezTo>
                <a:cubicBezTo>
                  <a:pt x="2645922" y="3157930"/>
                  <a:pt x="2630829" y="3170429"/>
                  <a:pt x="2614131" y="3181443"/>
                </a:cubicBezTo>
                <a:cubicBezTo>
                  <a:pt x="2609957" y="3184178"/>
                  <a:pt x="2605665" y="3186843"/>
                  <a:pt x="2601255" y="3189390"/>
                </a:cubicBezTo>
                <a:cubicBezTo>
                  <a:pt x="2599062" y="3190663"/>
                  <a:pt x="2596821" y="3191913"/>
                  <a:pt x="2594581" y="3193163"/>
                </a:cubicBezTo>
                <a:cubicBezTo>
                  <a:pt x="2592341" y="3194413"/>
                  <a:pt x="2590029" y="3195522"/>
                  <a:pt x="2587718" y="3196677"/>
                </a:cubicBezTo>
                <a:cubicBezTo>
                  <a:pt x="2585407" y="3197833"/>
                  <a:pt x="2583049" y="3198965"/>
                  <a:pt x="2580691" y="3200073"/>
                </a:cubicBezTo>
                <a:cubicBezTo>
                  <a:pt x="2578332" y="3201158"/>
                  <a:pt x="2575927" y="3202243"/>
                  <a:pt x="2573521" y="3203304"/>
                </a:cubicBezTo>
                <a:cubicBezTo>
                  <a:pt x="2568687" y="3205426"/>
                  <a:pt x="2563758" y="3207455"/>
                  <a:pt x="2558711" y="3209436"/>
                </a:cubicBezTo>
                <a:cubicBezTo>
                  <a:pt x="2477844" y="3240448"/>
                  <a:pt x="2372026" y="3254692"/>
                  <a:pt x="2220127" y="3233019"/>
                </a:cubicBezTo>
                <a:cubicBezTo>
                  <a:pt x="2067567" y="3209931"/>
                  <a:pt x="1869138" y="3153119"/>
                  <a:pt x="1588969" y="3006337"/>
                </a:cubicBezTo>
                <a:cubicBezTo>
                  <a:pt x="1310805" y="2859484"/>
                  <a:pt x="943851" y="2614573"/>
                  <a:pt x="496144" y="2200428"/>
                </a:cubicBezTo>
                <a:cubicBezTo>
                  <a:pt x="944133" y="2614738"/>
                  <a:pt x="1311182" y="2859579"/>
                  <a:pt x="1589346" y="3006337"/>
                </a:cubicBezTo>
                <a:cubicBezTo>
                  <a:pt x="1869491" y="3153001"/>
                  <a:pt x="2067850" y="3209672"/>
                  <a:pt x="2220315" y="3232642"/>
                </a:cubicBezTo>
                <a:cubicBezTo>
                  <a:pt x="2372120" y="3254197"/>
                  <a:pt x="2477821" y="3239811"/>
                  <a:pt x="2558546" y="3208681"/>
                </a:cubicBezTo>
                <a:cubicBezTo>
                  <a:pt x="2563569" y="3206700"/>
                  <a:pt x="2568498" y="3204648"/>
                  <a:pt x="2573309" y="3202526"/>
                </a:cubicBezTo>
                <a:cubicBezTo>
                  <a:pt x="2575715" y="3201465"/>
                  <a:pt x="2578120" y="3200380"/>
                  <a:pt x="2580478" y="3199295"/>
                </a:cubicBezTo>
                <a:cubicBezTo>
                  <a:pt x="2582836" y="3198187"/>
                  <a:pt x="2585148" y="3197055"/>
                  <a:pt x="2587459" y="3195899"/>
                </a:cubicBezTo>
                <a:cubicBezTo>
                  <a:pt x="2589746" y="3194743"/>
                  <a:pt x="2592058" y="3193611"/>
                  <a:pt x="2594298" y="3192385"/>
                </a:cubicBezTo>
                <a:cubicBezTo>
                  <a:pt x="2596539" y="3191135"/>
                  <a:pt x="2598755" y="3189885"/>
                  <a:pt x="2600949" y="3188612"/>
                </a:cubicBezTo>
                <a:cubicBezTo>
                  <a:pt x="2605335" y="3186065"/>
                  <a:pt x="2609604" y="3183400"/>
                  <a:pt x="2613778" y="3180664"/>
                </a:cubicBezTo>
                <a:cubicBezTo>
                  <a:pt x="2630428" y="3169675"/>
                  <a:pt x="2645450" y="3157175"/>
                  <a:pt x="2658185" y="3142648"/>
                </a:cubicBezTo>
                <a:cubicBezTo>
                  <a:pt x="2664529" y="3135384"/>
                  <a:pt x="2670330" y="3127625"/>
                  <a:pt x="2675259" y="3119301"/>
                </a:cubicBezTo>
                <a:cubicBezTo>
                  <a:pt x="2680212" y="3110999"/>
                  <a:pt x="2684292" y="3102132"/>
                  <a:pt x="2687263" y="3092958"/>
                </a:cubicBezTo>
                <a:cubicBezTo>
                  <a:pt x="2693277" y="3074563"/>
                  <a:pt x="2694220" y="3055320"/>
                  <a:pt x="2692027" y="3037939"/>
                </a:cubicBezTo>
                <a:cubicBezTo>
                  <a:pt x="2689857" y="3020416"/>
                  <a:pt x="2685117" y="3004262"/>
                  <a:pt x="2679481" y="2988815"/>
                </a:cubicBezTo>
                <a:cubicBezTo>
                  <a:pt x="2673797" y="2973344"/>
                  <a:pt x="2667100" y="2958605"/>
                  <a:pt x="2659930" y="2944054"/>
                </a:cubicBezTo>
                <a:cubicBezTo>
                  <a:pt x="2645568" y="2914929"/>
                  <a:pt x="2629201" y="2886746"/>
                  <a:pt x="2612009" y="2857951"/>
                </a:cubicBezTo>
                <a:cubicBezTo>
                  <a:pt x="2603401" y="2843542"/>
                  <a:pt x="2594581" y="2828991"/>
                  <a:pt x="2585549" y="2814275"/>
                </a:cubicBezTo>
                <a:cubicBezTo>
                  <a:pt x="2576493" y="2799607"/>
                  <a:pt x="2567248" y="2784773"/>
                  <a:pt x="2557838" y="2769774"/>
                </a:cubicBezTo>
                <a:cubicBezTo>
                  <a:pt x="2538995" y="2739776"/>
                  <a:pt x="2519468" y="2709071"/>
                  <a:pt x="2499517" y="2677563"/>
                </a:cubicBezTo>
                <a:cubicBezTo>
                  <a:pt x="2419829" y="2551629"/>
                  <a:pt x="2332595" y="2412063"/>
                  <a:pt x="2259912" y="2254457"/>
                </a:cubicBezTo>
                <a:cubicBezTo>
                  <a:pt x="2187275" y="2097157"/>
                  <a:pt x="2130086" y="1921698"/>
                  <a:pt x="2112068" y="1731979"/>
                </a:cubicBezTo>
                <a:cubicBezTo>
                  <a:pt x="2107517" y="1684576"/>
                  <a:pt x="2105394" y="1636349"/>
                  <a:pt x="2105913" y="1587412"/>
                </a:cubicBezTo>
                <a:cubicBezTo>
                  <a:pt x="2106503" y="1538383"/>
                  <a:pt x="2109781" y="1488669"/>
                  <a:pt x="2115912" y="1438461"/>
                </a:cubicBezTo>
                <a:cubicBezTo>
                  <a:pt x="2122327" y="1388016"/>
                  <a:pt x="2131666" y="1336746"/>
                  <a:pt x="2147537" y="1282858"/>
                </a:cubicBezTo>
                <a:cubicBezTo>
                  <a:pt x="2155579" y="1255879"/>
                  <a:pt x="2165272" y="1228215"/>
                  <a:pt x="2178644" y="1199114"/>
                </a:cubicBezTo>
                <a:cubicBezTo>
                  <a:pt x="2185365" y="1184586"/>
                  <a:pt x="2192959" y="1169729"/>
                  <a:pt x="2202015" y="1154518"/>
                </a:cubicBezTo>
                <a:cubicBezTo>
                  <a:pt x="2211071" y="1139307"/>
                  <a:pt x="2221565" y="1123813"/>
                  <a:pt x="2233640" y="1108460"/>
                </a:cubicBezTo>
                <a:cubicBezTo>
                  <a:pt x="2245691" y="1093131"/>
                  <a:pt x="2259346" y="1078036"/>
                  <a:pt x="2273920" y="1063957"/>
                </a:cubicBezTo>
                <a:cubicBezTo>
                  <a:pt x="2288471" y="1049856"/>
                  <a:pt x="2303847" y="1036696"/>
                  <a:pt x="2319530" y="1024503"/>
                </a:cubicBezTo>
                <a:cubicBezTo>
                  <a:pt x="2335189" y="1012286"/>
                  <a:pt x="2351297" y="1000944"/>
                  <a:pt x="2367427" y="990307"/>
                </a:cubicBezTo>
                <a:cubicBezTo>
                  <a:pt x="2383676" y="979577"/>
                  <a:pt x="2400067" y="969554"/>
                  <a:pt x="2416740" y="959861"/>
                </a:cubicBezTo>
                <a:cubicBezTo>
                  <a:pt x="2450063" y="940546"/>
                  <a:pt x="2484282" y="922765"/>
                  <a:pt x="2519846" y="905643"/>
                </a:cubicBezTo>
                <a:cubicBezTo>
                  <a:pt x="2555409" y="888522"/>
                  <a:pt x="2592293" y="872202"/>
                  <a:pt x="2630829" y="856283"/>
                </a:cubicBezTo>
                <a:cubicBezTo>
                  <a:pt x="2784756" y="793339"/>
                  <a:pt x="2966156" y="734711"/>
                  <a:pt x="3196254" y="684974"/>
                </a:cubicBezTo>
                <a:cubicBezTo>
                  <a:pt x="3428030" y="635779"/>
                  <a:pt x="3705250" y="594674"/>
                  <a:pt x="4068951" y="571587"/>
                </a:cubicBezTo>
                <a:cubicBezTo>
                  <a:pt x="4251014" y="560208"/>
                  <a:pt x="4454702" y="553339"/>
                  <a:pt x="4686451" y="553241"/>
                </a:cubicBezTo>
                <a:close/>
                <a:moveTo>
                  <a:pt x="4640069" y="502472"/>
                </a:moveTo>
                <a:cubicBezTo>
                  <a:pt x="4867078" y="501635"/>
                  <a:pt x="5121335" y="507097"/>
                  <a:pt x="5408525" y="520527"/>
                </a:cubicBezTo>
                <a:cubicBezTo>
                  <a:pt x="5402087" y="521824"/>
                  <a:pt x="5395696" y="523121"/>
                  <a:pt x="5389328" y="524418"/>
                </a:cubicBezTo>
                <a:cubicBezTo>
                  <a:pt x="4246933" y="472040"/>
                  <a:pt x="3628416" y="546233"/>
                  <a:pt x="3171775" y="640896"/>
                </a:cubicBezTo>
                <a:cubicBezTo>
                  <a:pt x="2946414" y="689713"/>
                  <a:pt x="2767869" y="746690"/>
                  <a:pt x="2615615" y="807275"/>
                </a:cubicBezTo>
                <a:cubicBezTo>
                  <a:pt x="2577505" y="822581"/>
                  <a:pt x="2541022" y="838264"/>
                  <a:pt x="2505788" y="854655"/>
                </a:cubicBezTo>
                <a:cubicBezTo>
                  <a:pt x="2470578" y="871044"/>
                  <a:pt x="2436619" y="888072"/>
                  <a:pt x="2403649" y="906466"/>
                </a:cubicBezTo>
                <a:cubicBezTo>
                  <a:pt x="2387141" y="915712"/>
                  <a:pt x="2370916" y="925240"/>
                  <a:pt x="2354903" y="935428"/>
                </a:cubicBezTo>
                <a:cubicBezTo>
                  <a:pt x="2338843" y="945592"/>
                  <a:pt x="2323183" y="956204"/>
                  <a:pt x="2307736" y="967759"/>
                </a:cubicBezTo>
                <a:cubicBezTo>
                  <a:pt x="2292337" y="979245"/>
                  <a:pt x="2277338" y="991579"/>
                  <a:pt x="2263117" y="1004786"/>
                </a:cubicBezTo>
                <a:cubicBezTo>
                  <a:pt x="2248896" y="1017945"/>
                  <a:pt x="2235619" y="1032001"/>
                  <a:pt x="2223686" y="1046457"/>
                </a:cubicBezTo>
                <a:cubicBezTo>
                  <a:pt x="2211753" y="1060914"/>
                  <a:pt x="2201187" y="1075677"/>
                  <a:pt x="2191943" y="1090299"/>
                </a:cubicBezTo>
                <a:cubicBezTo>
                  <a:pt x="2182722" y="1104920"/>
                  <a:pt x="2174751" y="1119447"/>
                  <a:pt x="2167628" y="1133739"/>
                </a:cubicBezTo>
                <a:cubicBezTo>
                  <a:pt x="2153479" y="1162298"/>
                  <a:pt x="2142772" y="1190009"/>
                  <a:pt x="2133739" y="1217082"/>
                </a:cubicBezTo>
                <a:cubicBezTo>
                  <a:pt x="2115863" y="1271207"/>
                  <a:pt x="2104425" y="1323278"/>
                  <a:pt x="2096006" y="1374666"/>
                </a:cubicBezTo>
                <a:cubicBezTo>
                  <a:pt x="2087870" y="1425842"/>
                  <a:pt x="2082634" y="1476616"/>
                  <a:pt x="2080158" y="1526732"/>
                </a:cubicBezTo>
                <a:cubicBezTo>
                  <a:pt x="2077753" y="1576775"/>
                  <a:pt x="2078107" y="1626206"/>
                  <a:pt x="2080984" y="1674811"/>
                </a:cubicBezTo>
                <a:cubicBezTo>
                  <a:pt x="2092304" y="1869413"/>
                  <a:pt x="2144823" y="2050297"/>
                  <a:pt x="2215031" y="2212573"/>
                </a:cubicBezTo>
                <a:cubicBezTo>
                  <a:pt x="2285238" y="2375156"/>
                  <a:pt x="2372095" y="2519225"/>
                  <a:pt x="2452608" y="2648438"/>
                </a:cubicBezTo>
                <a:cubicBezTo>
                  <a:pt x="2472772" y="2680771"/>
                  <a:pt x="2492582" y="2712207"/>
                  <a:pt x="2511755" y="2742889"/>
                </a:cubicBezTo>
                <a:cubicBezTo>
                  <a:pt x="2521354" y="2758218"/>
                  <a:pt x="2530786" y="2773358"/>
                  <a:pt x="2540031" y="2788334"/>
                </a:cubicBezTo>
                <a:cubicBezTo>
                  <a:pt x="2549252" y="2803332"/>
                  <a:pt x="2558308" y="2818166"/>
                  <a:pt x="2567128" y="2832835"/>
                </a:cubicBezTo>
                <a:cubicBezTo>
                  <a:pt x="2584769" y="2862126"/>
                  <a:pt x="2601607" y="2890779"/>
                  <a:pt x="2616511" y="2920235"/>
                </a:cubicBezTo>
                <a:cubicBezTo>
                  <a:pt x="2623940" y="2934974"/>
                  <a:pt x="2630897" y="2949855"/>
                  <a:pt x="2636840" y="2965443"/>
                </a:cubicBezTo>
                <a:cubicBezTo>
                  <a:pt x="2642737" y="2981009"/>
                  <a:pt x="2647737" y="2997281"/>
                  <a:pt x="2650118" y="3014850"/>
                </a:cubicBezTo>
                <a:cubicBezTo>
                  <a:pt x="2651297" y="3023623"/>
                  <a:pt x="2651721" y="3032750"/>
                  <a:pt x="2651014" y="3042042"/>
                </a:cubicBezTo>
                <a:cubicBezTo>
                  <a:pt x="2650353" y="3051310"/>
                  <a:pt x="2648515" y="3060743"/>
                  <a:pt x="2645472" y="3069823"/>
                </a:cubicBezTo>
                <a:cubicBezTo>
                  <a:pt x="2642429" y="3078903"/>
                  <a:pt x="2638208" y="3087628"/>
                  <a:pt x="2633114" y="3095717"/>
                </a:cubicBezTo>
                <a:cubicBezTo>
                  <a:pt x="2628020" y="3103830"/>
                  <a:pt x="2622030" y="3111306"/>
                  <a:pt x="2615498" y="3118263"/>
                </a:cubicBezTo>
                <a:cubicBezTo>
                  <a:pt x="2602362" y="3132177"/>
                  <a:pt x="2586891" y="3143921"/>
                  <a:pt x="2569746" y="3154133"/>
                </a:cubicBezTo>
                <a:cubicBezTo>
                  <a:pt x="2565454" y="3156680"/>
                  <a:pt x="2561044" y="3159132"/>
                  <a:pt x="2556539" y="3161467"/>
                </a:cubicBezTo>
                <a:cubicBezTo>
                  <a:pt x="2554275" y="3162647"/>
                  <a:pt x="2551989" y="3163779"/>
                  <a:pt x="2549700" y="3164910"/>
                </a:cubicBezTo>
                <a:cubicBezTo>
                  <a:pt x="2547389" y="3166042"/>
                  <a:pt x="2545031" y="3167057"/>
                  <a:pt x="2542649" y="3168118"/>
                </a:cubicBezTo>
                <a:cubicBezTo>
                  <a:pt x="2540267" y="3169155"/>
                  <a:pt x="2537861" y="3170193"/>
                  <a:pt x="2535432" y="3171184"/>
                </a:cubicBezTo>
                <a:cubicBezTo>
                  <a:pt x="2533003" y="3172174"/>
                  <a:pt x="2530551" y="3173141"/>
                  <a:pt x="2528051" y="3174084"/>
                </a:cubicBezTo>
                <a:cubicBezTo>
                  <a:pt x="2523075" y="3175971"/>
                  <a:pt x="2518028" y="3177787"/>
                  <a:pt x="2512840" y="3179532"/>
                </a:cubicBezTo>
                <a:cubicBezTo>
                  <a:pt x="2429780" y="3206888"/>
                  <a:pt x="2320919" y="3216628"/>
                  <a:pt x="2165176" y="3188470"/>
                </a:cubicBezTo>
                <a:cubicBezTo>
                  <a:pt x="2008913" y="3158967"/>
                  <a:pt x="1805650" y="3093477"/>
                  <a:pt x="1522486" y="2935847"/>
                </a:cubicBezTo>
                <a:cubicBezTo>
                  <a:pt x="1241563" y="2778664"/>
                  <a:pt x="873453" y="2519957"/>
                  <a:pt x="436337" y="2102298"/>
                </a:cubicBezTo>
                <a:cubicBezTo>
                  <a:pt x="873712" y="2520145"/>
                  <a:pt x="1241917" y="2778782"/>
                  <a:pt x="1522863" y="2935870"/>
                </a:cubicBezTo>
                <a:cubicBezTo>
                  <a:pt x="1806027" y="3093382"/>
                  <a:pt x="2009196" y="3158755"/>
                  <a:pt x="2165364" y="3188116"/>
                </a:cubicBezTo>
                <a:cubicBezTo>
                  <a:pt x="2320990" y="3216133"/>
                  <a:pt x="2429756" y="3206276"/>
                  <a:pt x="2512674" y="3178801"/>
                </a:cubicBezTo>
                <a:cubicBezTo>
                  <a:pt x="2517839" y="3177056"/>
                  <a:pt x="2522886" y="3175216"/>
                  <a:pt x="2527862" y="3173330"/>
                </a:cubicBezTo>
                <a:cubicBezTo>
                  <a:pt x="2530338" y="3172386"/>
                  <a:pt x="2532791" y="3171419"/>
                  <a:pt x="2535220" y="3170429"/>
                </a:cubicBezTo>
                <a:cubicBezTo>
                  <a:pt x="2537626" y="3169415"/>
                  <a:pt x="2540031" y="3168401"/>
                  <a:pt x="2542390" y="3167363"/>
                </a:cubicBezTo>
                <a:cubicBezTo>
                  <a:pt x="2544748" y="3166302"/>
                  <a:pt x="2547106" y="3165288"/>
                  <a:pt x="2549417" y="3164156"/>
                </a:cubicBezTo>
                <a:cubicBezTo>
                  <a:pt x="2551728" y="3163024"/>
                  <a:pt x="2553992" y="3161868"/>
                  <a:pt x="2556257" y="3160689"/>
                </a:cubicBezTo>
                <a:cubicBezTo>
                  <a:pt x="2560761" y="3158331"/>
                  <a:pt x="2565147" y="3155878"/>
                  <a:pt x="2569416" y="3153331"/>
                </a:cubicBezTo>
                <a:cubicBezTo>
                  <a:pt x="2586490" y="3143120"/>
                  <a:pt x="2601890" y="3131375"/>
                  <a:pt x="2614908" y="3117555"/>
                </a:cubicBezTo>
                <a:cubicBezTo>
                  <a:pt x="2621393" y="3110622"/>
                  <a:pt x="2627313" y="3103193"/>
                  <a:pt x="2632359" y="3095175"/>
                </a:cubicBezTo>
                <a:cubicBezTo>
                  <a:pt x="2637406" y="3087157"/>
                  <a:pt x="2641557" y="3078572"/>
                  <a:pt x="2644552" y="3069634"/>
                </a:cubicBezTo>
                <a:cubicBezTo>
                  <a:pt x="2650636" y="3051711"/>
                  <a:pt x="2651486" y="3032774"/>
                  <a:pt x="2649127" y="3015534"/>
                </a:cubicBezTo>
                <a:cubicBezTo>
                  <a:pt x="2646792" y="2998177"/>
                  <a:pt x="2641840" y="2982023"/>
                  <a:pt x="2635969" y="2966576"/>
                </a:cubicBezTo>
                <a:cubicBezTo>
                  <a:pt x="2630072" y="2951081"/>
                  <a:pt x="2623115" y="2936271"/>
                  <a:pt x="2615710" y="2921579"/>
                </a:cubicBezTo>
                <a:cubicBezTo>
                  <a:pt x="2600876" y="2892241"/>
                  <a:pt x="2584037" y="2863682"/>
                  <a:pt x="2566397" y="2834439"/>
                </a:cubicBezTo>
                <a:cubicBezTo>
                  <a:pt x="2557577" y="2819817"/>
                  <a:pt x="2548545" y="2805031"/>
                  <a:pt x="2539324" y="2790055"/>
                </a:cubicBezTo>
                <a:cubicBezTo>
                  <a:pt x="2530079" y="2775127"/>
                  <a:pt x="2520646" y="2760034"/>
                  <a:pt x="2511071" y="2744728"/>
                </a:cubicBezTo>
                <a:cubicBezTo>
                  <a:pt x="2491898" y="2714141"/>
                  <a:pt x="2472088" y="2682775"/>
                  <a:pt x="2451924" y="2650513"/>
                </a:cubicBezTo>
                <a:cubicBezTo>
                  <a:pt x="2371387" y="2521631"/>
                  <a:pt x="2284412" y="2377891"/>
                  <a:pt x="2213852" y="2215615"/>
                </a:cubicBezTo>
                <a:cubicBezTo>
                  <a:pt x="2143291" y="2053669"/>
                  <a:pt x="2090134" y="1873045"/>
                  <a:pt x="2077894" y="1678631"/>
                </a:cubicBezTo>
                <a:cubicBezTo>
                  <a:pt x="2074805" y="1630073"/>
                  <a:pt x="2074192" y="1580690"/>
                  <a:pt x="2076338" y="1530669"/>
                </a:cubicBezTo>
                <a:cubicBezTo>
                  <a:pt x="2078555" y="1480555"/>
                  <a:pt x="2083507" y="1429804"/>
                  <a:pt x="2091360" y="1378604"/>
                </a:cubicBezTo>
                <a:cubicBezTo>
                  <a:pt x="2099520" y="1327193"/>
                  <a:pt x="2110651" y="1275026"/>
                  <a:pt x="2128362" y="1220478"/>
                </a:cubicBezTo>
                <a:cubicBezTo>
                  <a:pt x="2137324" y="1193169"/>
                  <a:pt x="2147960" y="1165222"/>
                  <a:pt x="2162275" y="1135979"/>
                </a:cubicBezTo>
                <a:cubicBezTo>
                  <a:pt x="2169468" y="1121381"/>
                  <a:pt x="2177557" y="1106500"/>
                  <a:pt x="2187061" y="1091289"/>
                </a:cubicBezTo>
                <a:cubicBezTo>
                  <a:pt x="2196589" y="1076101"/>
                  <a:pt x="2207555" y="1060678"/>
                  <a:pt x="2220078" y="1045467"/>
                </a:cubicBezTo>
                <a:cubicBezTo>
                  <a:pt x="2232577" y="1030279"/>
                  <a:pt x="2246632" y="1015398"/>
                  <a:pt x="2261537" y="1001602"/>
                </a:cubicBezTo>
                <a:cubicBezTo>
                  <a:pt x="2276418" y="987759"/>
                  <a:pt x="2292101" y="974929"/>
                  <a:pt x="2308019" y="963067"/>
                </a:cubicBezTo>
                <a:cubicBezTo>
                  <a:pt x="2323914" y="951181"/>
                  <a:pt x="2340210" y="940191"/>
                  <a:pt x="2356506" y="929908"/>
                </a:cubicBezTo>
                <a:cubicBezTo>
                  <a:pt x="2372897" y="919533"/>
                  <a:pt x="2389429" y="909863"/>
                  <a:pt x="2406173" y="900523"/>
                </a:cubicBezTo>
                <a:cubicBezTo>
                  <a:pt x="2439684" y="881916"/>
                  <a:pt x="2473975" y="864818"/>
                  <a:pt x="2509514" y="848382"/>
                </a:cubicBezTo>
                <a:cubicBezTo>
                  <a:pt x="2545054" y="831943"/>
                  <a:pt x="2581821" y="816213"/>
                  <a:pt x="2620191" y="800908"/>
                </a:cubicBezTo>
                <a:cubicBezTo>
                  <a:pt x="2773316" y="740370"/>
                  <a:pt x="2952711" y="683534"/>
                  <a:pt x="3179133" y="634882"/>
                </a:cubicBezTo>
                <a:cubicBezTo>
                  <a:pt x="3523241" y="564168"/>
                  <a:pt x="3959042" y="504981"/>
                  <a:pt x="4640069" y="502472"/>
                </a:cubicBezTo>
                <a:close/>
                <a:moveTo>
                  <a:pt x="4762649" y="451263"/>
                </a:moveTo>
                <a:cubicBezTo>
                  <a:pt x="4939105" y="452297"/>
                  <a:pt x="5131285" y="456898"/>
                  <a:pt x="5341549" y="465742"/>
                </a:cubicBezTo>
                <a:cubicBezTo>
                  <a:pt x="5335440" y="467062"/>
                  <a:pt x="5329356" y="468407"/>
                  <a:pt x="5323295" y="469751"/>
                </a:cubicBezTo>
                <a:cubicBezTo>
                  <a:pt x="4207880" y="423834"/>
                  <a:pt x="3603890" y="497721"/>
                  <a:pt x="3155266" y="589954"/>
                </a:cubicBezTo>
                <a:cubicBezTo>
                  <a:pt x="2933869" y="637451"/>
                  <a:pt x="2757583" y="692376"/>
                  <a:pt x="2606321" y="750273"/>
                </a:cubicBezTo>
                <a:cubicBezTo>
                  <a:pt x="2568446" y="764918"/>
                  <a:pt x="2532128" y="779894"/>
                  <a:pt x="2496965" y="795553"/>
                </a:cubicBezTo>
                <a:cubicBezTo>
                  <a:pt x="2461802" y="811212"/>
                  <a:pt x="2427843" y="827461"/>
                  <a:pt x="2394755" y="845078"/>
                </a:cubicBezTo>
                <a:cubicBezTo>
                  <a:pt x="2378200" y="853945"/>
                  <a:pt x="2361857" y="863072"/>
                  <a:pt x="2345726" y="872859"/>
                </a:cubicBezTo>
                <a:cubicBezTo>
                  <a:pt x="2329548" y="882646"/>
                  <a:pt x="2313700" y="892857"/>
                  <a:pt x="2298064" y="904059"/>
                </a:cubicBezTo>
                <a:cubicBezTo>
                  <a:pt x="2282452" y="915191"/>
                  <a:pt x="2267194" y="927171"/>
                  <a:pt x="2252690" y="940071"/>
                </a:cubicBezTo>
                <a:cubicBezTo>
                  <a:pt x="2238163" y="952924"/>
                  <a:pt x="2224508" y="966744"/>
                  <a:pt x="2212198" y="981011"/>
                </a:cubicBezTo>
                <a:cubicBezTo>
                  <a:pt x="2199864" y="995279"/>
                  <a:pt x="2188874" y="1009948"/>
                  <a:pt x="2179181" y="1024499"/>
                </a:cubicBezTo>
                <a:cubicBezTo>
                  <a:pt x="2169512" y="1039073"/>
                  <a:pt x="2161093" y="1053577"/>
                  <a:pt x="2153499" y="1067916"/>
                </a:cubicBezTo>
                <a:cubicBezTo>
                  <a:pt x="2138429" y="1096546"/>
                  <a:pt x="2126779" y="1124468"/>
                  <a:pt x="2116804" y="1151825"/>
                </a:cubicBezTo>
                <a:cubicBezTo>
                  <a:pt x="2097064" y="1206514"/>
                  <a:pt x="2083787" y="1259411"/>
                  <a:pt x="2073528" y="1311672"/>
                </a:cubicBezTo>
                <a:cubicBezTo>
                  <a:pt x="2063576" y="1363767"/>
                  <a:pt x="2056548" y="1415532"/>
                  <a:pt x="2052351" y="1466708"/>
                </a:cubicBezTo>
                <a:cubicBezTo>
                  <a:pt x="2048224" y="1517813"/>
                  <a:pt x="2046926" y="1568352"/>
                  <a:pt x="2048247" y="1618112"/>
                </a:cubicBezTo>
                <a:cubicBezTo>
                  <a:pt x="2053270" y="1817367"/>
                  <a:pt x="2101215" y="2003484"/>
                  <a:pt x="2168922" y="2170595"/>
                </a:cubicBezTo>
                <a:cubicBezTo>
                  <a:pt x="2236583" y="2338012"/>
                  <a:pt x="2322850" y="2486540"/>
                  <a:pt x="2404000" y="2619007"/>
                </a:cubicBezTo>
                <a:cubicBezTo>
                  <a:pt x="2424305" y="2652165"/>
                  <a:pt x="2444351" y="2684356"/>
                  <a:pt x="2463831" y="2715698"/>
                </a:cubicBezTo>
                <a:cubicBezTo>
                  <a:pt x="2473570" y="2731380"/>
                  <a:pt x="2483169" y="2746828"/>
                  <a:pt x="2492579" y="2762086"/>
                </a:cubicBezTo>
                <a:cubicBezTo>
                  <a:pt x="2501988" y="2777391"/>
                  <a:pt x="2511209" y="2792485"/>
                  <a:pt x="2520218" y="2807413"/>
                </a:cubicBezTo>
                <a:cubicBezTo>
                  <a:pt x="2538259" y="2837222"/>
                  <a:pt x="2555546" y="2866300"/>
                  <a:pt x="2570875" y="2896086"/>
                </a:cubicBezTo>
                <a:cubicBezTo>
                  <a:pt x="2578516" y="2910967"/>
                  <a:pt x="2585732" y="2925989"/>
                  <a:pt x="2591864" y="2941649"/>
                </a:cubicBezTo>
                <a:cubicBezTo>
                  <a:pt x="2597972" y="2957261"/>
                  <a:pt x="2603184" y="2973557"/>
                  <a:pt x="2605684" y="2991008"/>
                </a:cubicBezTo>
                <a:cubicBezTo>
                  <a:pt x="2606934" y="2999710"/>
                  <a:pt x="2607405" y="3008743"/>
                  <a:pt x="2606721" y="3017893"/>
                </a:cubicBezTo>
                <a:cubicBezTo>
                  <a:pt x="2606085" y="3027020"/>
                  <a:pt x="2604222" y="3036264"/>
                  <a:pt x="2601132" y="3045108"/>
                </a:cubicBezTo>
                <a:cubicBezTo>
                  <a:pt x="2598043" y="3053952"/>
                  <a:pt x="2593727" y="3062395"/>
                  <a:pt x="2588515" y="3070177"/>
                </a:cubicBezTo>
                <a:cubicBezTo>
                  <a:pt x="2583303" y="3077983"/>
                  <a:pt x="2577172" y="3085129"/>
                  <a:pt x="2570474" y="3091732"/>
                </a:cubicBezTo>
                <a:cubicBezTo>
                  <a:pt x="2557008" y="3104939"/>
                  <a:pt x="2541137" y="3115905"/>
                  <a:pt x="2523520" y="3125267"/>
                </a:cubicBezTo>
                <a:cubicBezTo>
                  <a:pt x="2519110" y="3127602"/>
                  <a:pt x="2514582" y="3129843"/>
                  <a:pt x="2509960" y="3131965"/>
                </a:cubicBezTo>
                <a:cubicBezTo>
                  <a:pt x="2507648" y="3133026"/>
                  <a:pt x="2505290" y="3134064"/>
                  <a:pt x="2502932" y="3135102"/>
                </a:cubicBezTo>
                <a:cubicBezTo>
                  <a:pt x="2500550" y="3136116"/>
                  <a:pt x="2498121" y="3137035"/>
                  <a:pt x="2495692" y="3137979"/>
                </a:cubicBezTo>
                <a:cubicBezTo>
                  <a:pt x="2493239" y="3138899"/>
                  <a:pt x="2490763" y="3139818"/>
                  <a:pt x="2488263" y="3140715"/>
                </a:cubicBezTo>
                <a:cubicBezTo>
                  <a:pt x="2485763" y="3141587"/>
                  <a:pt x="2483240" y="3142436"/>
                  <a:pt x="2480693" y="3143261"/>
                </a:cubicBezTo>
                <a:cubicBezTo>
                  <a:pt x="2475599" y="3144912"/>
                  <a:pt x="2470387" y="3146516"/>
                  <a:pt x="2465057" y="3148025"/>
                </a:cubicBezTo>
                <a:cubicBezTo>
                  <a:pt x="2379709" y="3171561"/>
                  <a:pt x="2267642" y="3176537"/>
                  <a:pt x="2108148" y="3141682"/>
                </a:cubicBezTo>
                <a:cubicBezTo>
                  <a:pt x="1948231" y="3105576"/>
                  <a:pt x="1740439" y="3031076"/>
                  <a:pt x="1454988" y="2862881"/>
                </a:cubicBezTo>
                <a:cubicBezTo>
                  <a:pt x="1172013" y="2695629"/>
                  <a:pt x="804114" y="2424138"/>
                  <a:pt x="379121" y="2005300"/>
                </a:cubicBezTo>
                <a:cubicBezTo>
                  <a:pt x="804397" y="2424327"/>
                  <a:pt x="1172390" y="2695770"/>
                  <a:pt x="1455365" y="2862904"/>
                </a:cubicBezTo>
                <a:cubicBezTo>
                  <a:pt x="1740816" y="3031005"/>
                  <a:pt x="1948537" y="3105340"/>
                  <a:pt x="2108337" y="3141304"/>
                </a:cubicBezTo>
                <a:cubicBezTo>
                  <a:pt x="2267713" y="3176019"/>
                  <a:pt x="2379662" y="3170901"/>
                  <a:pt x="2464868" y="3147247"/>
                </a:cubicBezTo>
                <a:cubicBezTo>
                  <a:pt x="2470175" y="3145738"/>
                  <a:pt x="2475386" y="3144134"/>
                  <a:pt x="2480481" y="3142483"/>
                </a:cubicBezTo>
                <a:cubicBezTo>
                  <a:pt x="2483027" y="3141658"/>
                  <a:pt x="2485551" y="3140785"/>
                  <a:pt x="2488051" y="3139913"/>
                </a:cubicBezTo>
                <a:cubicBezTo>
                  <a:pt x="2490527" y="3139017"/>
                  <a:pt x="2493003" y="3138120"/>
                  <a:pt x="2495432" y="3137177"/>
                </a:cubicBezTo>
                <a:cubicBezTo>
                  <a:pt x="2497861" y="3136234"/>
                  <a:pt x="2500290" y="3135338"/>
                  <a:pt x="2502649" y="3134300"/>
                </a:cubicBezTo>
                <a:cubicBezTo>
                  <a:pt x="2505007" y="3133286"/>
                  <a:pt x="2507342" y="3132225"/>
                  <a:pt x="2509653" y="3131163"/>
                </a:cubicBezTo>
                <a:cubicBezTo>
                  <a:pt x="2514275" y="3129017"/>
                  <a:pt x="2518780" y="3126800"/>
                  <a:pt x="2523166" y="3124442"/>
                </a:cubicBezTo>
                <a:cubicBezTo>
                  <a:pt x="2540712" y="3115080"/>
                  <a:pt x="2556513" y="3104113"/>
                  <a:pt x="2569861" y="3090978"/>
                </a:cubicBezTo>
                <a:cubicBezTo>
                  <a:pt x="2576511" y="3084398"/>
                  <a:pt x="2582572" y="3077299"/>
                  <a:pt x="2587713" y="3069587"/>
                </a:cubicBezTo>
                <a:cubicBezTo>
                  <a:pt x="2592854" y="3061876"/>
                  <a:pt x="2597099" y="3053575"/>
                  <a:pt x="2600142" y="3044872"/>
                </a:cubicBezTo>
                <a:cubicBezTo>
                  <a:pt x="2606321" y="3027421"/>
                  <a:pt x="2607099" y="3008767"/>
                  <a:pt x="2604599" y="2991645"/>
                </a:cubicBezTo>
                <a:cubicBezTo>
                  <a:pt x="2602123" y="2974406"/>
                  <a:pt x="2596981" y="2958251"/>
                  <a:pt x="2590873" y="2942734"/>
                </a:cubicBezTo>
                <a:cubicBezTo>
                  <a:pt x="2584765" y="2927192"/>
                  <a:pt x="2577572" y="2912240"/>
                  <a:pt x="2569955" y="2897406"/>
                </a:cubicBezTo>
                <a:cubicBezTo>
                  <a:pt x="2554673" y="2867762"/>
                  <a:pt x="2537387" y="2838755"/>
                  <a:pt x="2519369" y="2809017"/>
                </a:cubicBezTo>
                <a:cubicBezTo>
                  <a:pt x="2510360" y="2794136"/>
                  <a:pt x="2501139" y="2779066"/>
                  <a:pt x="2491753" y="2763807"/>
                </a:cubicBezTo>
                <a:cubicBezTo>
                  <a:pt x="2482343" y="2748596"/>
                  <a:pt x="2472745" y="2733173"/>
                  <a:pt x="2463005" y="2717537"/>
                </a:cubicBezTo>
                <a:cubicBezTo>
                  <a:pt x="2443549" y="2686266"/>
                  <a:pt x="2423503" y="2654145"/>
                  <a:pt x="2403175" y="2621082"/>
                </a:cubicBezTo>
                <a:cubicBezTo>
                  <a:pt x="2322001" y="2488921"/>
                  <a:pt x="2235592" y="2340748"/>
                  <a:pt x="2167555" y="2173614"/>
                </a:cubicBezTo>
                <a:cubicBezTo>
                  <a:pt x="2099470" y="2006810"/>
                  <a:pt x="2050865" y="1820952"/>
                  <a:pt x="2044922" y="1621862"/>
                </a:cubicBezTo>
                <a:cubicBezTo>
                  <a:pt x="2043389" y="1572125"/>
                  <a:pt x="2044450" y="1521633"/>
                  <a:pt x="2048294" y="1470528"/>
                </a:cubicBezTo>
                <a:cubicBezTo>
                  <a:pt x="2052233" y="1419353"/>
                  <a:pt x="2059001" y="1367588"/>
                  <a:pt x="2068670" y="1315469"/>
                </a:cubicBezTo>
                <a:cubicBezTo>
                  <a:pt x="2078646" y="1263137"/>
                  <a:pt x="2091640" y="1210170"/>
                  <a:pt x="2111238" y="1155032"/>
                </a:cubicBezTo>
                <a:cubicBezTo>
                  <a:pt x="2121143" y="1127440"/>
                  <a:pt x="2132722" y="1099281"/>
                  <a:pt x="2148004" y="1069944"/>
                </a:cubicBezTo>
                <a:cubicBezTo>
                  <a:pt x="2155669" y="1055322"/>
                  <a:pt x="2164229" y="1040418"/>
                  <a:pt x="2174205" y="1025277"/>
                </a:cubicBezTo>
                <a:cubicBezTo>
                  <a:pt x="2184204" y="1010160"/>
                  <a:pt x="2195619" y="994831"/>
                  <a:pt x="2208566" y="979832"/>
                </a:cubicBezTo>
                <a:cubicBezTo>
                  <a:pt x="2221489" y="964833"/>
                  <a:pt x="2235922" y="950212"/>
                  <a:pt x="2251157" y="936746"/>
                </a:cubicBezTo>
                <a:cubicBezTo>
                  <a:pt x="2266368" y="923233"/>
                  <a:pt x="2282311" y="910757"/>
                  <a:pt x="2298441" y="899272"/>
                </a:cubicBezTo>
                <a:cubicBezTo>
                  <a:pt x="2314572" y="887763"/>
                  <a:pt x="2331010" y="877175"/>
                  <a:pt x="2347447" y="867293"/>
                </a:cubicBezTo>
                <a:cubicBezTo>
                  <a:pt x="2363979" y="857317"/>
                  <a:pt x="2380582" y="848049"/>
                  <a:pt x="2397397" y="839111"/>
                </a:cubicBezTo>
                <a:cubicBezTo>
                  <a:pt x="2431026" y="821282"/>
                  <a:pt x="2465316" y="804963"/>
                  <a:pt x="2500786" y="789256"/>
                </a:cubicBezTo>
                <a:cubicBezTo>
                  <a:pt x="2536255" y="773550"/>
                  <a:pt x="2572856" y="758551"/>
                  <a:pt x="2610943" y="743906"/>
                </a:cubicBezTo>
                <a:cubicBezTo>
                  <a:pt x="2763031" y="686032"/>
                  <a:pt x="2940095" y="631272"/>
                  <a:pt x="3162483" y="583941"/>
                </a:cubicBezTo>
                <a:cubicBezTo>
                  <a:pt x="3528618" y="509307"/>
                  <a:pt x="3998005" y="446786"/>
                  <a:pt x="4762649" y="451263"/>
                </a:cubicBezTo>
                <a:close/>
                <a:moveTo>
                  <a:pt x="4707320" y="399570"/>
                </a:moveTo>
                <a:cubicBezTo>
                  <a:pt x="4879202" y="399872"/>
                  <a:pt x="5066389" y="403531"/>
                  <a:pt x="5271200" y="411194"/>
                </a:cubicBezTo>
                <a:cubicBezTo>
                  <a:pt x="5265422" y="412562"/>
                  <a:pt x="5259668" y="413954"/>
                  <a:pt x="5253914" y="415321"/>
                </a:cubicBezTo>
                <a:cubicBezTo>
                  <a:pt x="4167176" y="375584"/>
                  <a:pt x="3578963" y="448975"/>
                  <a:pt x="3139112" y="538261"/>
                </a:cubicBezTo>
                <a:cubicBezTo>
                  <a:pt x="2922055" y="584224"/>
                  <a:pt x="2748365" y="636791"/>
                  <a:pt x="2598352" y="691740"/>
                </a:cubicBezTo>
                <a:cubicBezTo>
                  <a:pt x="2560807" y="705654"/>
                  <a:pt x="2524702" y="719852"/>
                  <a:pt x="2489680" y="734709"/>
                </a:cubicBezTo>
                <a:cubicBezTo>
                  <a:pt x="2454659" y="749566"/>
                  <a:pt x="2420747" y="764966"/>
                  <a:pt x="2387612" y="781734"/>
                </a:cubicBezTo>
                <a:cubicBezTo>
                  <a:pt x="2371010" y="790153"/>
                  <a:pt x="2354643" y="798879"/>
                  <a:pt x="2338394" y="808241"/>
                </a:cubicBezTo>
                <a:cubicBezTo>
                  <a:pt x="2322122" y="817580"/>
                  <a:pt x="2306156" y="827391"/>
                  <a:pt x="2290331" y="838169"/>
                </a:cubicBezTo>
                <a:cubicBezTo>
                  <a:pt x="2274554" y="848899"/>
                  <a:pt x="2259060" y="860478"/>
                  <a:pt x="2244273" y="873025"/>
                </a:cubicBezTo>
                <a:cubicBezTo>
                  <a:pt x="2229487" y="885547"/>
                  <a:pt x="2215478" y="899060"/>
                  <a:pt x="2202790" y="913092"/>
                </a:cubicBezTo>
                <a:cubicBezTo>
                  <a:pt x="2190079" y="927124"/>
                  <a:pt x="2178688" y="941628"/>
                  <a:pt x="2168548" y="956108"/>
                </a:cubicBezTo>
                <a:cubicBezTo>
                  <a:pt x="2158454" y="970565"/>
                  <a:pt x="2149563" y="985045"/>
                  <a:pt x="2141521" y="999383"/>
                </a:cubicBezTo>
                <a:cubicBezTo>
                  <a:pt x="2125532" y="1028014"/>
                  <a:pt x="2112962" y="1056078"/>
                  <a:pt x="2102043" y="1083670"/>
                </a:cubicBezTo>
                <a:cubicBezTo>
                  <a:pt x="2080417" y="1138832"/>
                  <a:pt x="2065230" y="1192413"/>
                  <a:pt x="2053108" y="1245523"/>
                </a:cubicBezTo>
                <a:cubicBezTo>
                  <a:pt x="2041269" y="1298467"/>
                  <a:pt x="2032378" y="1351152"/>
                  <a:pt x="2026341" y="1403341"/>
                </a:cubicBezTo>
                <a:cubicBezTo>
                  <a:pt x="2020398" y="1455460"/>
                  <a:pt x="2017309" y="1507085"/>
                  <a:pt x="2016931" y="1558000"/>
                </a:cubicBezTo>
                <a:cubicBezTo>
                  <a:pt x="2015139" y="1761831"/>
                  <a:pt x="2057966" y="1953252"/>
                  <a:pt x="2122702" y="2125339"/>
                </a:cubicBezTo>
                <a:cubicBezTo>
                  <a:pt x="2187367" y="2297779"/>
                  <a:pt x="2272691" y="2450976"/>
                  <a:pt x="2354218" y="2587027"/>
                </a:cubicBezTo>
                <a:cubicBezTo>
                  <a:pt x="2374641" y="2621082"/>
                  <a:pt x="2394852" y="2654098"/>
                  <a:pt x="2414568" y="2686195"/>
                </a:cubicBezTo>
                <a:cubicBezTo>
                  <a:pt x="2424426" y="2702255"/>
                  <a:pt x="2434166" y="2718056"/>
                  <a:pt x="2443717" y="2733668"/>
                </a:cubicBezTo>
                <a:cubicBezTo>
                  <a:pt x="2453268" y="2749304"/>
                  <a:pt x="2462654" y="2764727"/>
                  <a:pt x="2471852" y="2779962"/>
                </a:cubicBezTo>
                <a:cubicBezTo>
                  <a:pt x="2490246" y="2810384"/>
                  <a:pt x="2507934" y="2839981"/>
                  <a:pt x="2523687" y="2870144"/>
                </a:cubicBezTo>
                <a:cubicBezTo>
                  <a:pt x="2531541" y="2885237"/>
                  <a:pt x="2538946" y="2900401"/>
                  <a:pt x="2545290" y="2916155"/>
                </a:cubicBezTo>
                <a:cubicBezTo>
                  <a:pt x="2551586" y="2931885"/>
                  <a:pt x="2556987" y="2948181"/>
                  <a:pt x="2559605" y="2965538"/>
                </a:cubicBezTo>
                <a:cubicBezTo>
                  <a:pt x="2560902" y="2974193"/>
                  <a:pt x="2561421" y="2983155"/>
                  <a:pt x="2560760" y="2992140"/>
                </a:cubicBezTo>
                <a:cubicBezTo>
                  <a:pt x="2560147" y="3001125"/>
                  <a:pt x="2558237" y="3010181"/>
                  <a:pt x="2555100" y="3018766"/>
                </a:cubicBezTo>
                <a:cubicBezTo>
                  <a:pt x="2551940" y="3027373"/>
                  <a:pt x="2547530" y="3035510"/>
                  <a:pt x="2542177" y="3042985"/>
                </a:cubicBezTo>
                <a:cubicBezTo>
                  <a:pt x="2536823" y="3050461"/>
                  <a:pt x="2530550" y="3057277"/>
                  <a:pt x="2523664" y="3063503"/>
                </a:cubicBezTo>
                <a:cubicBezTo>
                  <a:pt x="2509820" y="3075978"/>
                  <a:pt x="2493501" y="3086119"/>
                  <a:pt x="2475389" y="3094633"/>
                </a:cubicBezTo>
                <a:cubicBezTo>
                  <a:pt x="2470861" y="3096755"/>
                  <a:pt x="2466192" y="3098760"/>
                  <a:pt x="2461428" y="3100670"/>
                </a:cubicBezTo>
                <a:cubicBezTo>
                  <a:pt x="2459046" y="3101613"/>
                  <a:pt x="2456617" y="3102556"/>
                  <a:pt x="2454188" y="3103453"/>
                </a:cubicBezTo>
                <a:cubicBezTo>
                  <a:pt x="2451735" y="3104349"/>
                  <a:pt x="2449235" y="3105151"/>
                  <a:pt x="2446735" y="3105976"/>
                </a:cubicBezTo>
                <a:cubicBezTo>
                  <a:pt x="2444212" y="3106778"/>
                  <a:pt x="2441665" y="3107580"/>
                  <a:pt x="2439094" y="3108358"/>
                </a:cubicBezTo>
                <a:cubicBezTo>
                  <a:pt x="2436524" y="3109113"/>
                  <a:pt x="2433930" y="3109844"/>
                  <a:pt x="2431288" y="3110551"/>
                </a:cubicBezTo>
                <a:cubicBezTo>
                  <a:pt x="2426029" y="3111966"/>
                  <a:pt x="2420676" y="3113311"/>
                  <a:pt x="2415205" y="3114561"/>
                </a:cubicBezTo>
                <a:cubicBezTo>
                  <a:pt x="2327428" y="3134111"/>
                  <a:pt x="2212129" y="3134064"/>
                  <a:pt x="2048981" y="3092298"/>
                </a:cubicBezTo>
                <a:cubicBezTo>
                  <a:pt x="1885549" y="3049376"/>
                  <a:pt x="1673489" y="2965680"/>
                  <a:pt x="1386599" y="2787296"/>
                </a:cubicBezTo>
                <a:cubicBezTo>
                  <a:pt x="1102327" y="2610351"/>
                  <a:pt x="736056" y="2327258"/>
                  <a:pt x="324551" y="1909623"/>
                </a:cubicBezTo>
                <a:cubicBezTo>
                  <a:pt x="736315" y="2327423"/>
                  <a:pt x="1102704" y="2610469"/>
                  <a:pt x="1386976" y="2787320"/>
                </a:cubicBezTo>
                <a:cubicBezTo>
                  <a:pt x="1673890" y="2965609"/>
                  <a:pt x="1885856" y="3049141"/>
                  <a:pt x="2049169" y="3091920"/>
                </a:cubicBezTo>
                <a:cubicBezTo>
                  <a:pt x="2212200" y="3133545"/>
                  <a:pt x="2327381" y="3133451"/>
                  <a:pt x="2415016" y="3113782"/>
                </a:cubicBezTo>
                <a:cubicBezTo>
                  <a:pt x="2420487" y="3112509"/>
                  <a:pt x="2425817" y="3111164"/>
                  <a:pt x="2431076" y="3109749"/>
                </a:cubicBezTo>
                <a:cubicBezTo>
                  <a:pt x="2433694" y="3109042"/>
                  <a:pt x="2436288" y="3108311"/>
                  <a:pt x="2438859" y="3107556"/>
                </a:cubicBezTo>
                <a:cubicBezTo>
                  <a:pt x="2441406" y="3106778"/>
                  <a:pt x="2443953" y="3106000"/>
                  <a:pt x="2446452" y="3105174"/>
                </a:cubicBezTo>
                <a:cubicBezTo>
                  <a:pt x="2448952" y="3104349"/>
                  <a:pt x="2451452" y="3103547"/>
                  <a:pt x="2453881" y="3102651"/>
                </a:cubicBezTo>
                <a:cubicBezTo>
                  <a:pt x="2456310" y="3101731"/>
                  <a:pt x="2458716" y="3100811"/>
                  <a:pt x="2461097" y="3099868"/>
                </a:cubicBezTo>
                <a:cubicBezTo>
                  <a:pt x="2465861" y="3097958"/>
                  <a:pt x="2470484" y="3095930"/>
                  <a:pt x="2475012" y="3093831"/>
                </a:cubicBezTo>
                <a:cubicBezTo>
                  <a:pt x="2493053" y="3085317"/>
                  <a:pt x="2509302" y="3075176"/>
                  <a:pt x="2523003" y="3062772"/>
                </a:cubicBezTo>
                <a:cubicBezTo>
                  <a:pt x="2529843" y="3056569"/>
                  <a:pt x="2536069" y="3049801"/>
                  <a:pt x="2541351" y="3042419"/>
                </a:cubicBezTo>
                <a:cubicBezTo>
                  <a:pt x="2546634" y="3035038"/>
                  <a:pt x="2550973" y="3026996"/>
                  <a:pt x="2554086" y="3018529"/>
                </a:cubicBezTo>
                <a:cubicBezTo>
                  <a:pt x="2560383" y="3001550"/>
                  <a:pt x="2561161" y="2983155"/>
                  <a:pt x="2558544" y="2966128"/>
                </a:cubicBezTo>
                <a:cubicBezTo>
                  <a:pt x="2555949" y="2948983"/>
                  <a:pt x="2550620" y="2932805"/>
                  <a:pt x="2544346" y="2917169"/>
                </a:cubicBezTo>
                <a:cubicBezTo>
                  <a:pt x="2538050" y="2901510"/>
                  <a:pt x="2530644" y="2886417"/>
                  <a:pt x="2522815" y="2871394"/>
                </a:cubicBezTo>
                <a:cubicBezTo>
                  <a:pt x="2507108" y="2841349"/>
                  <a:pt x="2489421" y="2811823"/>
                  <a:pt x="2471026" y="2781495"/>
                </a:cubicBezTo>
                <a:cubicBezTo>
                  <a:pt x="2461829" y="2766307"/>
                  <a:pt x="2452443" y="2750931"/>
                  <a:pt x="2442891" y="2735319"/>
                </a:cubicBezTo>
                <a:cubicBezTo>
                  <a:pt x="2433317" y="2719754"/>
                  <a:pt x="2423600" y="2703976"/>
                  <a:pt x="2413742" y="2687964"/>
                </a:cubicBezTo>
                <a:cubicBezTo>
                  <a:pt x="2394027" y="2655937"/>
                  <a:pt x="2373816" y="2622992"/>
                  <a:pt x="2353393" y="2589008"/>
                </a:cubicBezTo>
                <a:cubicBezTo>
                  <a:pt x="2271819" y="2453263"/>
                  <a:pt x="2186306" y="2300373"/>
                  <a:pt x="2121240" y="2128239"/>
                </a:cubicBezTo>
                <a:cubicBezTo>
                  <a:pt x="2056079" y="1956436"/>
                  <a:pt x="2012615" y="1765251"/>
                  <a:pt x="2013464" y="1561538"/>
                </a:cubicBezTo>
                <a:cubicBezTo>
                  <a:pt x="2013606" y="1510669"/>
                  <a:pt x="2016459" y="1459045"/>
                  <a:pt x="2022143" y="1406950"/>
                </a:cubicBezTo>
                <a:cubicBezTo>
                  <a:pt x="2027921" y="1354760"/>
                  <a:pt x="2036576" y="1302051"/>
                  <a:pt x="2048132" y="1249084"/>
                </a:cubicBezTo>
                <a:cubicBezTo>
                  <a:pt x="2059994" y="1195903"/>
                  <a:pt x="2074922" y="1142203"/>
                  <a:pt x="2096407" y="1086618"/>
                </a:cubicBezTo>
                <a:cubicBezTo>
                  <a:pt x="2107255" y="1058790"/>
                  <a:pt x="2119778" y="1030466"/>
                  <a:pt x="2136003" y="1001152"/>
                </a:cubicBezTo>
                <a:cubicBezTo>
                  <a:pt x="2144139" y="986531"/>
                  <a:pt x="2153148" y="971673"/>
                  <a:pt x="2163595" y="956627"/>
                </a:cubicBezTo>
                <a:cubicBezTo>
                  <a:pt x="2174043" y="941606"/>
                  <a:pt x="2185881" y="926464"/>
                  <a:pt x="2199229" y="911701"/>
                </a:cubicBezTo>
                <a:cubicBezTo>
                  <a:pt x="2212554" y="896938"/>
                  <a:pt x="2227341" y="882646"/>
                  <a:pt x="2242858" y="869534"/>
                </a:cubicBezTo>
                <a:cubicBezTo>
                  <a:pt x="2258353" y="856375"/>
                  <a:pt x="2274554" y="844324"/>
                  <a:pt x="2290850" y="833263"/>
                </a:cubicBezTo>
                <a:cubicBezTo>
                  <a:pt x="2307146" y="822179"/>
                  <a:pt x="2323725" y="812038"/>
                  <a:pt x="2340257" y="802605"/>
                </a:cubicBezTo>
                <a:cubicBezTo>
                  <a:pt x="2356860" y="793077"/>
                  <a:pt x="2373533" y="784234"/>
                  <a:pt x="2390372" y="775720"/>
                </a:cubicBezTo>
                <a:cubicBezTo>
                  <a:pt x="2424048" y="758764"/>
                  <a:pt x="2458268" y="743293"/>
                  <a:pt x="2493595" y="728389"/>
                </a:cubicBezTo>
                <a:cubicBezTo>
                  <a:pt x="2528899" y="713484"/>
                  <a:pt x="2565265" y="699263"/>
                  <a:pt x="2603021" y="685373"/>
                </a:cubicBezTo>
                <a:cubicBezTo>
                  <a:pt x="2753789" y="630471"/>
                  <a:pt x="2928207" y="578046"/>
                  <a:pt x="3146163" y="532247"/>
                </a:cubicBezTo>
                <a:cubicBezTo>
                  <a:pt x="3505056" y="460008"/>
                  <a:pt x="3962498" y="398264"/>
                  <a:pt x="4707320" y="399570"/>
                </a:cubicBezTo>
                <a:close/>
                <a:moveTo>
                  <a:pt x="4649296" y="348123"/>
                </a:moveTo>
                <a:cubicBezTo>
                  <a:pt x="4816311" y="347739"/>
                  <a:pt x="4998192" y="350500"/>
                  <a:pt x="5197220" y="357027"/>
                </a:cubicBezTo>
                <a:cubicBezTo>
                  <a:pt x="5191748" y="358395"/>
                  <a:pt x="5186324" y="359810"/>
                  <a:pt x="5180924" y="361225"/>
                </a:cubicBezTo>
                <a:cubicBezTo>
                  <a:pt x="4124631" y="327454"/>
                  <a:pt x="3553398" y="400090"/>
                  <a:pt x="3123054" y="485933"/>
                </a:cubicBezTo>
                <a:cubicBezTo>
                  <a:pt x="2910763" y="530104"/>
                  <a:pt x="2739973" y="580077"/>
                  <a:pt x="2591539" y="631819"/>
                </a:cubicBezTo>
                <a:cubicBezTo>
                  <a:pt x="2554372" y="644931"/>
                  <a:pt x="2518596" y="658279"/>
                  <a:pt x="2483787" y="672264"/>
                </a:cubicBezTo>
                <a:cubicBezTo>
                  <a:pt x="2449003" y="686249"/>
                  <a:pt x="2415207" y="700729"/>
                  <a:pt x="2382073" y="716553"/>
                </a:cubicBezTo>
                <a:cubicBezTo>
                  <a:pt x="2365495" y="724525"/>
                  <a:pt x="2349081" y="732755"/>
                  <a:pt x="2332808" y="741646"/>
                </a:cubicBezTo>
                <a:cubicBezTo>
                  <a:pt x="2316489" y="750513"/>
                  <a:pt x="2300429" y="759852"/>
                  <a:pt x="2284463" y="770182"/>
                </a:cubicBezTo>
                <a:cubicBezTo>
                  <a:pt x="2268544" y="780440"/>
                  <a:pt x="2252885" y="791595"/>
                  <a:pt x="2237862" y="803741"/>
                </a:cubicBezTo>
                <a:cubicBezTo>
                  <a:pt x="2222840" y="815862"/>
                  <a:pt x="2208548" y="829022"/>
                  <a:pt x="2195507" y="842771"/>
                </a:cubicBezTo>
                <a:cubicBezTo>
                  <a:pt x="2182465" y="856520"/>
                  <a:pt x="2170674" y="870811"/>
                  <a:pt x="2160132" y="885151"/>
                </a:cubicBezTo>
                <a:cubicBezTo>
                  <a:pt x="2149638" y="899466"/>
                  <a:pt x="2140322" y="913875"/>
                  <a:pt x="2131856" y="928167"/>
                </a:cubicBezTo>
                <a:cubicBezTo>
                  <a:pt x="2114994" y="956702"/>
                  <a:pt x="2101504" y="984861"/>
                  <a:pt x="2089665" y="1012595"/>
                </a:cubicBezTo>
                <a:cubicBezTo>
                  <a:pt x="2066177" y="1068062"/>
                  <a:pt x="2049055" y="1122280"/>
                  <a:pt x="2034976" y="1176122"/>
                </a:cubicBezTo>
                <a:cubicBezTo>
                  <a:pt x="2021203" y="1229821"/>
                  <a:pt x="2010331" y="1283378"/>
                  <a:pt x="2002360" y="1336535"/>
                </a:cubicBezTo>
                <a:cubicBezTo>
                  <a:pt x="1994483" y="1389620"/>
                  <a:pt x="1989507" y="1442306"/>
                  <a:pt x="1987314" y="1494307"/>
                </a:cubicBezTo>
                <a:cubicBezTo>
                  <a:pt x="1978235" y="1702572"/>
                  <a:pt x="2015284" y="1899365"/>
                  <a:pt x="2076600" y="2076616"/>
                </a:cubicBezTo>
                <a:cubicBezTo>
                  <a:pt x="2137775" y="2254221"/>
                  <a:pt x="2221779" y="2412371"/>
                  <a:pt x="2303447" y="2552313"/>
                </a:cubicBezTo>
                <a:cubicBezTo>
                  <a:pt x="2323893" y="2587334"/>
                  <a:pt x="2344223" y="2621271"/>
                  <a:pt x="2364127" y="2654193"/>
                </a:cubicBezTo>
                <a:cubicBezTo>
                  <a:pt x="2374078" y="2670654"/>
                  <a:pt x="2383913" y="2686879"/>
                  <a:pt x="2393629" y="2702869"/>
                </a:cubicBezTo>
                <a:cubicBezTo>
                  <a:pt x="2403298" y="2718882"/>
                  <a:pt x="2412850" y="2734682"/>
                  <a:pt x="2422189" y="2750247"/>
                </a:cubicBezTo>
                <a:cubicBezTo>
                  <a:pt x="2440889" y="2781354"/>
                  <a:pt x="2458979" y="2811564"/>
                  <a:pt x="2475085" y="2842175"/>
                </a:cubicBezTo>
                <a:cubicBezTo>
                  <a:pt x="2483127" y="2857480"/>
                  <a:pt x="2490721" y="2872857"/>
                  <a:pt x="2497230" y="2888752"/>
                </a:cubicBezTo>
                <a:cubicBezTo>
                  <a:pt x="2503715" y="2904600"/>
                  <a:pt x="2509257" y="2920990"/>
                  <a:pt x="2511969" y="2938277"/>
                </a:cubicBezTo>
                <a:cubicBezTo>
                  <a:pt x="2513314" y="2946908"/>
                  <a:pt x="2513856" y="2955775"/>
                  <a:pt x="2513172" y="2964642"/>
                </a:cubicBezTo>
                <a:cubicBezTo>
                  <a:pt x="2512535" y="2973510"/>
                  <a:pt x="2510601" y="2982353"/>
                  <a:pt x="2507371" y="2990726"/>
                </a:cubicBezTo>
                <a:cubicBezTo>
                  <a:pt x="2504140" y="2999097"/>
                  <a:pt x="2499589" y="3006951"/>
                  <a:pt x="2494093" y="3014073"/>
                </a:cubicBezTo>
                <a:cubicBezTo>
                  <a:pt x="2488598" y="3021219"/>
                  <a:pt x="2482136" y="3027680"/>
                  <a:pt x="2475039" y="3033529"/>
                </a:cubicBezTo>
                <a:cubicBezTo>
                  <a:pt x="2460795" y="3045226"/>
                  <a:pt x="2443980" y="3054542"/>
                  <a:pt x="2425349" y="3062135"/>
                </a:cubicBezTo>
                <a:cubicBezTo>
                  <a:pt x="2420679" y="3064022"/>
                  <a:pt x="2415892" y="3065814"/>
                  <a:pt x="2410987" y="3067489"/>
                </a:cubicBezTo>
                <a:cubicBezTo>
                  <a:pt x="2408533" y="3068314"/>
                  <a:pt x="2406034" y="3069140"/>
                  <a:pt x="2403534" y="3069918"/>
                </a:cubicBezTo>
                <a:cubicBezTo>
                  <a:pt x="2401010" y="3070696"/>
                  <a:pt x="2398441" y="3071380"/>
                  <a:pt x="2395846" y="3072088"/>
                </a:cubicBezTo>
                <a:cubicBezTo>
                  <a:pt x="2393251" y="3072771"/>
                  <a:pt x="2390635" y="3073455"/>
                  <a:pt x="2387993" y="3074092"/>
                </a:cubicBezTo>
                <a:cubicBezTo>
                  <a:pt x="2385352" y="3074729"/>
                  <a:pt x="2382663" y="3075319"/>
                  <a:pt x="2379974" y="3075908"/>
                </a:cubicBezTo>
                <a:cubicBezTo>
                  <a:pt x="2374574" y="3077064"/>
                  <a:pt x="2369055" y="3078148"/>
                  <a:pt x="2363418" y="3079163"/>
                </a:cubicBezTo>
                <a:cubicBezTo>
                  <a:pt x="2273119" y="3094515"/>
                  <a:pt x="2154519" y="3089233"/>
                  <a:pt x="1987880" y="3040368"/>
                </a:cubicBezTo>
                <a:cubicBezTo>
                  <a:pt x="1821076" y="2990466"/>
                  <a:pt x="1605172" y="2897407"/>
                  <a:pt x="1317645" y="2709330"/>
                </a:cubicBezTo>
                <a:cubicBezTo>
                  <a:pt x="1032901" y="2523141"/>
                  <a:pt x="669671" y="2229860"/>
                  <a:pt x="272931" y="1815819"/>
                </a:cubicBezTo>
                <a:cubicBezTo>
                  <a:pt x="669904" y="2230072"/>
                  <a:pt x="1033279" y="2523306"/>
                  <a:pt x="1317999" y="2709378"/>
                </a:cubicBezTo>
                <a:cubicBezTo>
                  <a:pt x="1605525" y="2897336"/>
                  <a:pt x="1821336" y="2990230"/>
                  <a:pt x="1988045" y="3040015"/>
                </a:cubicBezTo>
                <a:cubicBezTo>
                  <a:pt x="2154590" y="3088737"/>
                  <a:pt x="2273049" y="3093902"/>
                  <a:pt x="2363207" y="3078408"/>
                </a:cubicBezTo>
                <a:cubicBezTo>
                  <a:pt x="2368820" y="3077394"/>
                  <a:pt x="2374339" y="3076309"/>
                  <a:pt x="2379738" y="3075130"/>
                </a:cubicBezTo>
                <a:cubicBezTo>
                  <a:pt x="2382427" y="3074540"/>
                  <a:pt x="2385115" y="3073927"/>
                  <a:pt x="2387757" y="3073314"/>
                </a:cubicBezTo>
                <a:cubicBezTo>
                  <a:pt x="2390374" y="3072654"/>
                  <a:pt x="2392992" y="3071993"/>
                  <a:pt x="2395563" y="3071309"/>
                </a:cubicBezTo>
                <a:cubicBezTo>
                  <a:pt x="2398133" y="3070602"/>
                  <a:pt x="2400704" y="3069942"/>
                  <a:pt x="2403203" y="3069140"/>
                </a:cubicBezTo>
                <a:cubicBezTo>
                  <a:pt x="2405704" y="3068338"/>
                  <a:pt x="2408180" y="3067536"/>
                  <a:pt x="2410632" y="3066711"/>
                </a:cubicBezTo>
                <a:cubicBezTo>
                  <a:pt x="2415538" y="3065036"/>
                  <a:pt x="2420302" y="3063244"/>
                  <a:pt x="2424948" y="3061357"/>
                </a:cubicBezTo>
                <a:cubicBezTo>
                  <a:pt x="2443508" y="3053763"/>
                  <a:pt x="2460252" y="3044448"/>
                  <a:pt x="2474377" y="3032798"/>
                </a:cubicBezTo>
                <a:cubicBezTo>
                  <a:pt x="2481405" y="3026973"/>
                  <a:pt x="2487820" y="3020558"/>
                  <a:pt x="2493244" y="3013483"/>
                </a:cubicBezTo>
                <a:cubicBezTo>
                  <a:pt x="2498692" y="3006408"/>
                  <a:pt x="2503149" y="2998673"/>
                  <a:pt x="2506334" y="2990443"/>
                </a:cubicBezTo>
                <a:cubicBezTo>
                  <a:pt x="2512818" y="2973934"/>
                  <a:pt x="2513574" y="2955799"/>
                  <a:pt x="2510861" y="2938819"/>
                </a:cubicBezTo>
                <a:cubicBezTo>
                  <a:pt x="2508196" y="2921745"/>
                  <a:pt x="2502701" y="2905496"/>
                  <a:pt x="2496240" y="2889742"/>
                </a:cubicBezTo>
                <a:cubicBezTo>
                  <a:pt x="2489755" y="2873965"/>
                  <a:pt x="2482185" y="2858660"/>
                  <a:pt x="2474166" y="2843401"/>
                </a:cubicBezTo>
                <a:cubicBezTo>
                  <a:pt x="2458082" y="2812884"/>
                  <a:pt x="2440017" y="2782769"/>
                  <a:pt x="2421315" y="2751733"/>
                </a:cubicBezTo>
                <a:cubicBezTo>
                  <a:pt x="2411954" y="2736215"/>
                  <a:pt x="2402426" y="2720462"/>
                  <a:pt x="2392757" y="2704472"/>
                </a:cubicBezTo>
                <a:cubicBezTo>
                  <a:pt x="2383064" y="2688530"/>
                  <a:pt x="2373207" y="2672352"/>
                  <a:pt x="2363254" y="2655914"/>
                </a:cubicBezTo>
                <a:cubicBezTo>
                  <a:pt x="2343350" y="2623063"/>
                  <a:pt x="2322998" y="2589198"/>
                  <a:pt x="2302551" y="2554247"/>
                </a:cubicBezTo>
                <a:cubicBezTo>
                  <a:pt x="2220812" y="2414611"/>
                  <a:pt x="2136620" y="2256768"/>
                  <a:pt x="2075020" y="2079423"/>
                </a:cubicBezTo>
                <a:cubicBezTo>
                  <a:pt x="2013279" y="1902454"/>
                  <a:pt x="1975523" y="1705874"/>
                  <a:pt x="1983682" y="1497703"/>
                </a:cubicBezTo>
                <a:cubicBezTo>
                  <a:pt x="1985640" y="1445702"/>
                  <a:pt x="1990380" y="1393040"/>
                  <a:pt x="1997998" y="1339954"/>
                </a:cubicBezTo>
                <a:cubicBezTo>
                  <a:pt x="2005709" y="1286798"/>
                  <a:pt x="2016345" y="1233193"/>
                  <a:pt x="2029835" y="1179470"/>
                </a:cubicBezTo>
                <a:cubicBezTo>
                  <a:pt x="2043655" y="1125559"/>
                  <a:pt x="2060517" y="1071199"/>
                  <a:pt x="2083911" y="1015307"/>
                </a:cubicBezTo>
                <a:cubicBezTo>
                  <a:pt x="2095726" y="987337"/>
                  <a:pt x="2109169" y="958919"/>
                  <a:pt x="2126290" y="929699"/>
                </a:cubicBezTo>
                <a:cubicBezTo>
                  <a:pt x="2134874" y="915125"/>
                  <a:pt x="2144331" y="900337"/>
                  <a:pt x="2155203" y="885457"/>
                </a:cubicBezTo>
                <a:cubicBezTo>
                  <a:pt x="2166075" y="870600"/>
                  <a:pt x="2178315" y="855671"/>
                  <a:pt x="2192017" y="841191"/>
                </a:cubicBezTo>
                <a:cubicBezTo>
                  <a:pt x="2205695" y="826734"/>
                  <a:pt x="2220788" y="812820"/>
                  <a:pt x="2236565" y="800109"/>
                </a:cubicBezTo>
                <a:cubicBezTo>
                  <a:pt x="2252319" y="787374"/>
                  <a:pt x="2268686" y="775771"/>
                  <a:pt x="2285123" y="765206"/>
                </a:cubicBezTo>
                <a:cubicBezTo>
                  <a:pt x="2301561" y="754593"/>
                  <a:pt x="2318210" y="744948"/>
                  <a:pt x="2334789" y="735986"/>
                </a:cubicBezTo>
                <a:cubicBezTo>
                  <a:pt x="2351463" y="726930"/>
                  <a:pt x="2368136" y="718605"/>
                  <a:pt x="2384951" y="710540"/>
                </a:cubicBezTo>
                <a:cubicBezTo>
                  <a:pt x="2418603" y="694527"/>
                  <a:pt x="2452681" y="679999"/>
                  <a:pt x="2487774" y="665967"/>
                </a:cubicBezTo>
                <a:cubicBezTo>
                  <a:pt x="2522866" y="651959"/>
                  <a:pt x="2558876" y="638587"/>
                  <a:pt x="2596257" y="625475"/>
                </a:cubicBezTo>
                <a:cubicBezTo>
                  <a:pt x="2745397" y="573804"/>
                  <a:pt x="2916845" y="523973"/>
                  <a:pt x="3129964" y="479967"/>
                </a:cubicBezTo>
                <a:cubicBezTo>
                  <a:pt x="3480979" y="410526"/>
                  <a:pt x="3925563" y="349788"/>
                  <a:pt x="4649296" y="348123"/>
                </a:cubicBezTo>
                <a:close/>
                <a:moveTo>
                  <a:pt x="4754113" y="296607"/>
                </a:moveTo>
                <a:cubicBezTo>
                  <a:pt x="4868630" y="297285"/>
                  <a:pt x="4990058" y="299450"/>
                  <a:pt x="5119182" y="303347"/>
                </a:cubicBezTo>
                <a:cubicBezTo>
                  <a:pt x="5114183" y="304667"/>
                  <a:pt x="5109136" y="306106"/>
                  <a:pt x="5104089" y="307544"/>
                </a:cubicBezTo>
                <a:cubicBezTo>
                  <a:pt x="4589975" y="292451"/>
                  <a:pt x="4198375" y="304856"/>
                  <a:pt x="3879342" y="329312"/>
                </a:cubicBezTo>
                <a:cubicBezTo>
                  <a:pt x="3560944" y="354074"/>
                  <a:pt x="3314736" y="391123"/>
                  <a:pt x="3106898" y="433101"/>
                </a:cubicBezTo>
                <a:cubicBezTo>
                  <a:pt x="2899765" y="475268"/>
                  <a:pt x="2732207" y="522411"/>
                  <a:pt x="2585684" y="570662"/>
                </a:cubicBezTo>
                <a:cubicBezTo>
                  <a:pt x="2548989" y="582902"/>
                  <a:pt x="2513614" y="595354"/>
                  <a:pt x="2479088" y="608372"/>
                </a:cubicBezTo>
                <a:cubicBezTo>
                  <a:pt x="2444586" y="621390"/>
                  <a:pt x="2411027" y="634903"/>
                  <a:pt x="2378010" y="649737"/>
                </a:cubicBezTo>
                <a:cubicBezTo>
                  <a:pt x="2361478" y="657189"/>
                  <a:pt x="2345112" y="664924"/>
                  <a:pt x="2328816" y="673296"/>
                </a:cubicBezTo>
                <a:cubicBezTo>
                  <a:pt x="2312472" y="681645"/>
                  <a:pt x="2296389" y="690489"/>
                  <a:pt x="2280352" y="700299"/>
                </a:cubicBezTo>
                <a:cubicBezTo>
                  <a:pt x="2264363" y="710063"/>
                  <a:pt x="2248562" y="720722"/>
                  <a:pt x="2233351" y="732420"/>
                </a:cubicBezTo>
                <a:cubicBezTo>
                  <a:pt x="2218140" y="744093"/>
                  <a:pt x="2203612" y="756852"/>
                  <a:pt x="2190264" y="770271"/>
                </a:cubicBezTo>
                <a:cubicBezTo>
                  <a:pt x="2176916" y="783690"/>
                  <a:pt x="2164794" y="797722"/>
                  <a:pt x="2153899" y="811848"/>
                </a:cubicBezTo>
                <a:cubicBezTo>
                  <a:pt x="2143027" y="825974"/>
                  <a:pt x="2133334" y="840219"/>
                  <a:pt x="2124443" y="854439"/>
                </a:cubicBezTo>
                <a:cubicBezTo>
                  <a:pt x="2106756" y="882810"/>
                  <a:pt x="2092370" y="910945"/>
                  <a:pt x="2079635" y="938749"/>
                </a:cubicBezTo>
                <a:cubicBezTo>
                  <a:pt x="2054330" y="994382"/>
                  <a:pt x="2035252" y="1049071"/>
                  <a:pt x="2019191" y="1103572"/>
                </a:cubicBezTo>
                <a:cubicBezTo>
                  <a:pt x="2003438" y="1157908"/>
                  <a:pt x="1990538" y="1212267"/>
                  <a:pt x="1980539" y="1266297"/>
                </a:cubicBezTo>
                <a:cubicBezTo>
                  <a:pt x="1970634" y="1320279"/>
                  <a:pt x="1963653" y="1373930"/>
                  <a:pt x="1959526" y="1427017"/>
                </a:cubicBezTo>
                <a:cubicBezTo>
                  <a:pt x="1942617" y="1639548"/>
                  <a:pt x="1973275" y="1841752"/>
                  <a:pt x="2030653" y="2024261"/>
                </a:cubicBezTo>
                <a:cubicBezTo>
                  <a:pt x="2087795" y="2207149"/>
                  <a:pt x="2170077" y="2370486"/>
                  <a:pt x="2251581" y="2514604"/>
                </a:cubicBezTo>
                <a:cubicBezTo>
                  <a:pt x="2271980" y="2550686"/>
                  <a:pt x="2292356" y="2585589"/>
                  <a:pt x="2312402" y="2619454"/>
                </a:cubicBezTo>
                <a:cubicBezTo>
                  <a:pt x="2322425" y="2636387"/>
                  <a:pt x="2332353" y="2653037"/>
                  <a:pt x="2342140" y="2669451"/>
                </a:cubicBezTo>
                <a:cubicBezTo>
                  <a:pt x="2351927" y="2685889"/>
                  <a:pt x="2361573" y="2702090"/>
                  <a:pt x="2371053" y="2718032"/>
                </a:cubicBezTo>
                <a:cubicBezTo>
                  <a:pt x="2390038" y="2749893"/>
                  <a:pt x="2408433" y="2780811"/>
                  <a:pt x="2424894" y="2811964"/>
                </a:cubicBezTo>
                <a:cubicBezTo>
                  <a:pt x="2433101" y="2827553"/>
                  <a:pt x="2440883" y="2843165"/>
                  <a:pt x="2447533" y="2859202"/>
                </a:cubicBezTo>
                <a:cubicBezTo>
                  <a:pt x="2454160" y="2875215"/>
                  <a:pt x="2459844" y="2891723"/>
                  <a:pt x="2462627" y="2908962"/>
                </a:cubicBezTo>
                <a:cubicBezTo>
                  <a:pt x="2463995" y="2917570"/>
                  <a:pt x="2464537" y="2926367"/>
                  <a:pt x="2463830" y="2935116"/>
                </a:cubicBezTo>
                <a:cubicBezTo>
                  <a:pt x="2463169" y="2943865"/>
                  <a:pt x="2461165" y="2952520"/>
                  <a:pt x="2457816" y="2960633"/>
                </a:cubicBezTo>
                <a:cubicBezTo>
                  <a:pt x="2454467" y="2968769"/>
                  <a:pt x="2449798" y="2976316"/>
                  <a:pt x="2444114" y="2983108"/>
                </a:cubicBezTo>
                <a:cubicBezTo>
                  <a:pt x="2438430" y="2989923"/>
                  <a:pt x="2431780" y="2996008"/>
                  <a:pt x="2424446" y="3001455"/>
                </a:cubicBezTo>
                <a:cubicBezTo>
                  <a:pt x="2409753" y="3012374"/>
                  <a:pt x="2392420" y="3020794"/>
                  <a:pt x="2373223" y="3027444"/>
                </a:cubicBezTo>
                <a:cubicBezTo>
                  <a:pt x="2368412" y="3029095"/>
                  <a:pt x="2363483" y="3030628"/>
                  <a:pt x="2358413" y="3032066"/>
                </a:cubicBezTo>
                <a:cubicBezTo>
                  <a:pt x="2355889" y="3032774"/>
                  <a:pt x="2353319" y="3033458"/>
                  <a:pt x="2350725" y="3034118"/>
                </a:cubicBezTo>
                <a:cubicBezTo>
                  <a:pt x="2348130" y="3034779"/>
                  <a:pt x="2345465" y="3035321"/>
                  <a:pt x="2342800" y="3035887"/>
                </a:cubicBezTo>
                <a:cubicBezTo>
                  <a:pt x="2340136" y="3036453"/>
                  <a:pt x="2337424" y="3036995"/>
                  <a:pt x="2334711" y="3037514"/>
                </a:cubicBezTo>
                <a:cubicBezTo>
                  <a:pt x="2331976" y="3038009"/>
                  <a:pt x="2329240" y="3038481"/>
                  <a:pt x="2326434" y="3038929"/>
                </a:cubicBezTo>
                <a:cubicBezTo>
                  <a:pt x="2320868" y="3039825"/>
                  <a:pt x="2315185" y="3040651"/>
                  <a:pt x="2309383" y="3041358"/>
                </a:cubicBezTo>
                <a:cubicBezTo>
                  <a:pt x="2216465" y="3052348"/>
                  <a:pt x="2094540" y="3041570"/>
                  <a:pt x="1924599" y="2985443"/>
                </a:cubicBezTo>
                <a:cubicBezTo>
                  <a:pt x="1754635" y="2928418"/>
                  <a:pt x="1535311" y="2825926"/>
                  <a:pt x="1248067" y="2628817"/>
                </a:cubicBezTo>
                <a:cubicBezTo>
                  <a:pt x="963724" y="2433972"/>
                  <a:pt x="604953" y="2132107"/>
                  <a:pt x="224131" y="1723883"/>
                </a:cubicBezTo>
                <a:cubicBezTo>
                  <a:pt x="605189" y="2132296"/>
                  <a:pt x="964078" y="2434138"/>
                  <a:pt x="1248421" y="2628864"/>
                </a:cubicBezTo>
                <a:cubicBezTo>
                  <a:pt x="1535665" y="2825878"/>
                  <a:pt x="1754894" y="2928206"/>
                  <a:pt x="1924764" y="2985089"/>
                </a:cubicBezTo>
                <a:cubicBezTo>
                  <a:pt x="2094611" y="3041075"/>
                  <a:pt x="2216394" y="3051711"/>
                  <a:pt x="2309171" y="3040580"/>
                </a:cubicBezTo>
                <a:cubicBezTo>
                  <a:pt x="2314949" y="3039849"/>
                  <a:pt x="2320632" y="3039024"/>
                  <a:pt x="2326174" y="3038127"/>
                </a:cubicBezTo>
                <a:cubicBezTo>
                  <a:pt x="2328957" y="3037679"/>
                  <a:pt x="2331693" y="3037184"/>
                  <a:pt x="2334428" y="3036689"/>
                </a:cubicBezTo>
                <a:cubicBezTo>
                  <a:pt x="2337141" y="3036170"/>
                  <a:pt x="2339829" y="3035627"/>
                  <a:pt x="2342470" y="3035062"/>
                </a:cubicBezTo>
                <a:cubicBezTo>
                  <a:pt x="2345112" y="3034496"/>
                  <a:pt x="2347753" y="3033953"/>
                  <a:pt x="2350347" y="3033269"/>
                </a:cubicBezTo>
                <a:cubicBezTo>
                  <a:pt x="2352918" y="3032609"/>
                  <a:pt x="2355488" y="3031925"/>
                  <a:pt x="2357988" y="3031194"/>
                </a:cubicBezTo>
                <a:cubicBezTo>
                  <a:pt x="2363035" y="3029755"/>
                  <a:pt x="2367940" y="3028223"/>
                  <a:pt x="2372728" y="3026572"/>
                </a:cubicBezTo>
                <a:cubicBezTo>
                  <a:pt x="2391854" y="3019921"/>
                  <a:pt x="2409116" y="3011478"/>
                  <a:pt x="2423667" y="3000630"/>
                </a:cubicBezTo>
                <a:cubicBezTo>
                  <a:pt x="2430931" y="2995182"/>
                  <a:pt x="2437534" y="2989169"/>
                  <a:pt x="2443123" y="2982424"/>
                </a:cubicBezTo>
                <a:cubicBezTo>
                  <a:pt x="2448736" y="2975679"/>
                  <a:pt x="2453335" y="2968227"/>
                  <a:pt x="2456637" y="2960232"/>
                </a:cubicBezTo>
                <a:cubicBezTo>
                  <a:pt x="2463311" y="2944219"/>
                  <a:pt x="2464136" y="2926296"/>
                  <a:pt x="2461353" y="2909363"/>
                </a:cubicBezTo>
                <a:cubicBezTo>
                  <a:pt x="2458618" y="2892336"/>
                  <a:pt x="2452981" y="2875969"/>
                  <a:pt x="2446378" y="2860051"/>
                </a:cubicBezTo>
                <a:cubicBezTo>
                  <a:pt x="2439751" y="2844108"/>
                  <a:pt x="2431992" y="2828567"/>
                  <a:pt x="2423809" y="2813026"/>
                </a:cubicBezTo>
                <a:cubicBezTo>
                  <a:pt x="2407371" y="2781967"/>
                  <a:pt x="2388976" y="2751143"/>
                  <a:pt x="2370016" y="2719353"/>
                </a:cubicBezTo>
                <a:cubicBezTo>
                  <a:pt x="2360535" y="2703434"/>
                  <a:pt x="2350889" y="2687303"/>
                  <a:pt x="2341103" y="2670890"/>
                </a:cubicBezTo>
                <a:cubicBezTo>
                  <a:pt x="2331292" y="2654523"/>
                  <a:pt x="2321363" y="2637897"/>
                  <a:pt x="2311340" y="2621011"/>
                </a:cubicBezTo>
                <a:cubicBezTo>
                  <a:pt x="2291295" y="2587240"/>
                  <a:pt x="2270895" y="2552384"/>
                  <a:pt x="2250472" y="2516372"/>
                </a:cubicBezTo>
                <a:cubicBezTo>
                  <a:pt x="2168874" y="2372538"/>
                  <a:pt x="2086380" y="2209484"/>
                  <a:pt x="2028790" y="2026855"/>
                </a:cubicBezTo>
                <a:cubicBezTo>
                  <a:pt x="1970964" y="1844605"/>
                  <a:pt x="1939598" y="1642590"/>
                  <a:pt x="1955587" y="1430130"/>
                </a:cubicBezTo>
                <a:cubicBezTo>
                  <a:pt x="1959479" y="1377067"/>
                  <a:pt x="1966224" y="1323415"/>
                  <a:pt x="1975893" y="1269433"/>
                </a:cubicBezTo>
                <a:cubicBezTo>
                  <a:pt x="1985632" y="1215380"/>
                  <a:pt x="1998297" y="1160997"/>
                  <a:pt x="2013791" y="1106615"/>
                </a:cubicBezTo>
                <a:cubicBezTo>
                  <a:pt x="2029615" y="1052043"/>
                  <a:pt x="2048435" y="997212"/>
                  <a:pt x="2073669" y="941131"/>
                </a:cubicBezTo>
                <a:cubicBezTo>
                  <a:pt x="2086404" y="913067"/>
                  <a:pt x="2100766" y="884673"/>
                  <a:pt x="2118736" y="855642"/>
                </a:cubicBezTo>
                <a:cubicBezTo>
                  <a:pt x="2127745" y="841138"/>
                  <a:pt x="2137626" y="826540"/>
                  <a:pt x="2148876" y="811848"/>
                </a:cubicBezTo>
                <a:cubicBezTo>
                  <a:pt x="2160125" y="797179"/>
                  <a:pt x="2172742" y="782534"/>
                  <a:pt x="2186750" y="768431"/>
                </a:cubicBezTo>
                <a:cubicBezTo>
                  <a:pt x="2200735" y="754328"/>
                  <a:pt x="2216088" y="740839"/>
                  <a:pt x="2232054" y="728623"/>
                </a:cubicBezTo>
                <a:cubicBezTo>
                  <a:pt x="2247996" y="716359"/>
                  <a:pt x="2264504" y="705275"/>
                  <a:pt x="2281012" y="695229"/>
                </a:cubicBezTo>
                <a:cubicBezTo>
                  <a:pt x="2297521" y="685135"/>
                  <a:pt x="2314241" y="676009"/>
                  <a:pt x="2330797" y="667589"/>
                </a:cubicBezTo>
                <a:cubicBezTo>
                  <a:pt x="2347470" y="659052"/>
                  <a:pt x="2364096" y="651246"/>
                  <a:pt x="2380864" y="643723"/>
                </a:cubicBezTo>
                <a:cubicBezTo>
                  <a:pt x="2414376" y="628748"/>
                  <a:pt x="2448241" y="615211"/>
                  <a:pt x="2483003" y="602146"/>
                </a:cubicBezTo>
                <a:cubicBezTo>
                  <a:pt x="2517764" y="589081"/>
                  <a:pt x="2553399" y="576629"/>
                  <a:pt x="2590259" y="564413"/>
                </a:cubicBezTo>
                <a:cubicBezTo>
                  <a:pt x="2737442" y="516209"/>
                  <a:pt x="2905568" y="469231"/>
                  <a:pt x="3113453" y="427253"/>
                </a:cubicBezTo>
                <a:cubicBezTo>
                  <a:pt x="3322070" y="385440"/>
                  <a:pt x="3569199" y="348579"/>
                  <a:pt x="3888940" y="324076"/>
                </a:cubicBezTo>
                <a:cubicBezTo>
                  <a:pt x="4129224" y="305929"/>
                  <a:pt x="4410564" y="294574"/>
                  <a:pt x="4754113" y="296607"/>
                </a:cubicBezTo>
                <a:close/>
                <a:moveTo>
                  <a:pt x="4684345" y="245201"/>
                </a:moveTo>
                <a:cubicBezTo>
                  <a:pt x="4795008" y="245369"/>
                  <a:pt x="4912364" y="246916"/>
                  <a:pt x="5037184" y="250076"/>
                </a:cubicBezTo>
                <a:cubicBezTo>
                  <a:pt x="5032491" y="251491"/>
                  <a:pt x="5027822" y="252953"/>
                  <a:pt x="5023152" y="254416"/>
                </a:cubicBezTo>
                <a:cubicBezTo>
                  <a:pt x="4526042" y="242223"/>
                  <a:pt x="4147790" y="255665"/>
                  <a:pt x="3839204" y="279933"/>
                </a:cubicBezTo>
                <a:cubicBezTo>
                  <a:pt x="3531254" y="304506"/>
                  <a:pt x="3292568" y="340164"/>
                  <a:pt x="3090297" y="379926"/>
                </a:cubicBezTo>
                <a:cubicBezTo>
                  <a:pt x="2888709" y="419875"/>
                  <a:pt x="2724761" y="463930"/>
                  <a:pt x="2580479" y="508478"/>
                </a:cubicBezTo>
                <a:cubicBezTo>
                  <a:pt x="2544349" y="519774"/>
                  <a:pt x="2509446" y="531259"/>
                  <a:pt x="2475321" y="543286"/>
                </a:cubicBezTo>
                <a:cubicBezTo>
                  <a:pt x="2441220" y="555314"/>
                  <a:pt x="2407944" y="567766"/>
                  <a:pt x="2375140" y="581491"/>
                </a:cubicBezTo>
                <a:cubicBezTo>
                  <a:pt x="2358702" y="588401"/>
                  <a:pt x="2342406" y="595594"/>
                  <a:pt x="2326157" y="603400"/>
                </a:cubicBezTo>
                <a:cubicBezTo>
                  <a:pt x="2309862" y="611206"/>
                  <a:pt x="2293801" y="619484"/>
                  <a:pt x="2277718" y="628752"/>
                </a:cubicBezTo>
                <a:cubicBezTo>
                  <a:pt x="2261705" y="637973"/>
                  <a:pt x="2245833" y="648067"/>
                  <a:pt x="2230480" y="659292"/>
                </a:cubicBezTo>
                <a:cubicBezTo>
                  <a:pt x="2215128" y="670447"/>
                  <a:pt x="2200435" y="682758"/>
                  <a:pt x="2186875" y="695775"/>
                </a:cubicBezTo>
                <a:cubicBezTo>
                  <a:pt x="2173291" y="708793"/>
                  <a:pt x="2160886" y="722519"/>
                  <a:pt x="2149661" y="736362"/>
                </a:cubicBezTo>
                <a:cubicBezTo>
                  <a:pt x="2138459" y="750229"/>
                  <a:pt x="2128412" y="764285"/>
                  <a:pt x="2119168" y="778340"/>
                </a:cubicBezTo>
                <a:cubicBezTo>
                  <a:pt x="2100749" y="806404"/>
                  <a:pt x="2085538" y="834421"/>
                  <a:pt x="2071930" y="862226"/>
                </a:cubicBezTo>
                <a:cubicBezTo>
                  <a:pt x="2044880" y="917812"/>
                  <a:pt x="2023915" y="972856"/>
                  <a:pt x="2005850" y="1027828"/>
                </a:cubicBezTo>
                <a:cubicBezTo>
                  <a:pt x="1988116" y="1082683"/>
                  <a:pt x="1973117" y="1137703"/>
                  <a:pt x="1961042" y="1192511"/>
                </a:cubicBezTo>
                <a:cubicBezTo>
                  <a:pt x="1949062" y="1247271"/>
                  <a:pt x="1939959" y="1301866"/>
                  <a:pt x="1933780" y="1355943"/>
                </a:cubicBezTo>
                <a:cubicBezTo>
                  <a:pt x="1908617" y="1572508"/>
                  <a:pt x="1932176" y="1780089"/>
                  <a:pt x="1985026" y="1967968"/>
                </a:cubicBezTo>
                <a:cubicBezTo>
                  <a:pt x="2037593" y="2156233"/>
                  <a:pt x="2117658" y="2324995"/>
                  <a:pt x="2198690" y="2473593"/>
                </a:cubicBezTo>
                <a:cubicBezTo>
                  <a:pt x="2218972" y="2510783"/>
                  <a:pt x="2239324" y="2546771"/>
                  <a:pt x="2259417" y="2581627"/>
                </a:cubicBezTo>
                <a:cubicBezTo>
                  <a:pt x="2269463" y="2599055"/>
                  <a:pt x="2279439" y="2616200"/>
                  <a:pt x="2289320" y="2633062"/>
                </a:cubicBezTo>
                <a:cubicBezTo>
                  <a:pt x="2299178" y="2649972"/>
                  <a:pt x="2308918" y="2666598"/>
                  <a:pt x="2318517" y="2682964"/>
                </a:cubicBezTo>
                <a:cubicBezTo>
                  <a:pt x="2337713" y="2715674"/>
                  <a:pt x="2356391" y="2747370"/>
                  <a:pt x="2373159" y="2779160"/>
                </a:cubicBezTo>
                <a:cubicBezTo>
                  <a:pt x="2381507" y="2795055"/>
                  <a:pt x="2389431" y="2810951"/>
                  <a:pt x="2396223" y="2827199"/>
                </a:cubicBezTo>
                <a:cubicBezTo>
                  <a:pt x="2402992" y="2843424"/>
                  <a:pt x="2408793" y="2860074"/>
                  <a:pt x="2411576" y="2877290"/>
                </a:cubicBezTo>
                <a:cubicBezTo>
                  <a:pt x="2412967" y="2885874"/>
                  <a:pt x="2413510" y="2894624"/>
                  <a:pt x="2412755" y="2903255"/>
                </a:cubicBezTo>
                <a:cubicBezTo>
                  <a:pt x="2412048" y="2911887"/>
                  <a:pt x="2409949" y="2920377"/>
                  <a:pt x="2406506" y="2928254"/>
                </a:cubicBezTo>
                <a:cubicBezTo>
                  <a:pt x="2403039" y="2936130"/>
                  <a:pt x="2398204" y="2943394"/>
                  <a:pt x="2392332" y="2949856"/>
                </a:cubicBezTo>
                <a:cubicBezTo>
                  <a:pt x="2386460" y="2956341"/>
                  <a:pt x="2379574" y="2962025"/>
                  <a:pt x="2372027" y="2967071"/>
                </a:cubicBezTo>
                <a:cubicBezTo>
                  <a:pt x="2356863" y="2977165"/>
                  <a:pt x="2338963" y="2984664"/>
                  <a:pt x="2319177" y="2990324"/>
                </a:cubicBezTo>
                <a:cubicBezTo>
                  <a:pt x="2314224" y="2991739"/>
                  <a:pt x="2309130" y="2993013"/>
                  <a:pt x="2303919" y="2994192"/>
                </a:cubicBezTo>
                <a:cubicBezTo>
                  <a:pt x="2301301" y="2994782"/>
                  <a:pt x="2298683" y="2995324"/>
                  <a:pt x="2296018" y="2995866"/>
                </a:cubicBezTo>
                <a:cubicBezTo>
                  <a:pt x="2293353" y="2996409"/>
                  <a:pt x="2290618" y="2996810"/>
                  <a:pt x="2287858" y="2997258"/>
                </a:cubicBezTo>
                <a:cubicBezTo>
                  <a:pt x="2285099" y="2997682"/>
                  <a:pt x="2282340" y="2998083"/>
                  <a:pt x="2279534" y="2998484"/>
                </a:cubicBezTo>
                <a:cubicBezTo>
                  <a:pt x="2276727" y="2998838"/>
                  <a:pt x="2273897" y="2999192"/>
                  <a:pt x="2271020" y="2999498"/>
                </a:cubicBezTo>
                <a:cubicBezTo>
                  <a:pt x="2265289" y="3000135"/>
                  <a:pt x="2259441" y="3000654"/>
                  <a:pt x="2253474" y="3001102"/>
                </a:cubicBezTo>
                <a:cubicBezTo>
                  <a:pt x="2157868" y="3007564"/>
                  <a:pt x="2032617" y="2991056"/>
                  <a:pt x="1859611" y="2927522"/>
                </a:cubicBezTo>
                <a:cubicBezTo>
                  <a:pt x="1686722" y="2863258"/>
                  <a:pt x="1464474" y="2751379"/>
                  <a:pt x="1178456" y="2545969"/>
                </a:cubicBezTo>
                <a:cubicBezTo>
                  <a:pt x="895340" y="2343107"/>
                  <a:pt x="542460" y="2034426"/>
                  <a:pt x="178572" y="1634203"/>
                </a:cubicBezTo>
                <a:cubicBezTo>
                  <a:pt x="542743" y="2034614"/>
                  <a:pt x="895717" y="2343272"/>
                  <a:pt x="1178787" y="2545946"/>
                </a:cubicBezTo>
                <a:cubicBezTo>
                  <a:pt x="1464804" y="2751261"/>
                  <a:pt x="1686958" y="2862975"/>
                  <a:pt x="1859729" y="2927098"/>
                </a:cubicBezTo>
                <a:cubicBezTo>
                  <a:pt x="2032617" y="2990466"/>
                  <a:pt x="2157750" y="3006833"/>
                  <a:pt x="2253191" y="3000253"/>
                </a:cubicBezTo>
                <a:cubicBezTo>
                  <a:pt x="2259158" y="2999805"/>
                  <a:pt x="2264983" y="2999263"/>
                  <a:pt x="2270713" y="2998626"/>
                </a:cubicBezTo>
                <a:cubicBezTo>
                  <a:pt x="2273567" y="2998319"/>
                  <a:pt x="2276397" y="2997965"/>
                  <a:pt x="2279203" y="2997612"/>
                </a:cubicBezTo>
                <a:cubicBezTo>
                  <a:pt x="2281986" y="2997234"/>
                  <a:pt x="2284745" y="2996810"/>
                  <a:pt x="2287481" y="2996385"/>
                </a:cubicBezTo>
                <a:cubicBezTo>
                  <a:pt x="2290217" y="2995937"/>
                  <a:pt x="2292929" y="2995536"/>
                  <a:pt x="2295594" y="2994994"/>
                </a:cubicBezTo>
                <a:cubicBezTo>
                  <a:pt x="2298259" y="2994451"/>
                  <a:pt x="2300876" y="2993909"/>
                  <a:pt x="2303470" y="2993320"/>
                </a:cubicBezTo>
                <a:cubicBezTo>
                  <a:pt x="2308659" y="2992140"/>
                  <a:pt x="2313729" y="2990843"/>
                  <a:pt x="2318682" y="2989452"/>
                </a:cubicBezTo>
                <a:cubicBezTo>
                  <a:pt x="2338397" y="2983792"/>
                  <a:pt x="2356202" y="2976269"/>
                  <a:pt x="2371249" y="2966222"/>
                </a:cubicBezTo>
                <a:cubicBezTo>
                  <a:pt x="2378748" y="2961199"/>
                  <a:pt x="2385564" y="2955539"/>
                  <a:pt x="2391365" y="2949125"/>
                </a:cubicBezTo>
                <a:cubicBezTo>
                  <a:pt x="2397167" y="2942734"/>
                  <a:pt x="2401930" y="2935588"/>
                  <a:pt x="2405350" y="2927829"/>
                </a:cubicBezTo>
                <a:cubicBezTo>
                  <a:pt x="2412283" y="2912288"/>
                  <a:pt x="2413156" y="2894577"/>
                  <a:pt x="2410350" y="2877667"/>
                </a:cubicBezTo>
                <a:cubicBezTo>
                  <a:pt x="2407590" y="2860664"/>
                  <a:pt x="2401836" y="2844156"/>
                  <a:pt x="2395091" y="2828025"/>
                </a:cubicBezTo>
                <a:cubicBezTo>
                  <a:pt x="2388323" y="2811870"/>
                  <a:pt x="2380422" y="2796046"/>
                  <a:pt x="2372098" y="2780198"/>
                </a:cubicBezTo>
                <a:cubicBezTo>
                  <a:pt x="2355377" y="2748526"/>
                  <a:pt x="2336699" y="2716901"/>
                  <a:pt x="2317502" y="2684261"/>
                </a:cubicBezTo>
                <a:cubicBezTo>
                  <a:pt x="2307904" y="2667918"/>
                  <a:pt x="2298164" y="2651339"/>
                  <a:pt x="2288306" y="2634454"/>
                </a:cubicBezTo>
                <a:cubicBezTo>
                  <a:pt x="2278425" y="2617615"/>
                  <a:pt x="2268449" y="2600517"/>
                  <a:pt x="2258379" y="2583113"/>
                </a:cubicBezTo>
                <a:cubicBezTo>
                  <a:pt x="2238263" y="2548328"/>
                  <a:pt x="2217887" y="2512410"/>
                  <a:pt x="2197582" y="2475290"/>
                </a:cubicBezTo>
                <a:cubicBezTo>
                  <a:pt x="2116455" y="2326976"/>
                  <a:pt x="2036131" y="2158497"/>
                  <a:pt x="1983116" y="1970468"/>
                </a:cubicBezTo>
                <a:cubicBezTo>
                  <a:pt x="1929794" y="1782824"/>
                  <a:pt x="1905480" y="1575433"/>
                  <a:pt x="1929747" y="1358891"/>
                </a:cubicBezTo>
                <a:cubicBezTo>
                  <a:pt x="1935714" y="1304814"/>
                  <a:pt x="1944557" y="1250243"/>
                  <a:pt x="1956302" y="1195459"/>
                </a:cubicBezTo>
                <a:cubicBezTo>
                  <a:pt x="1968141" y="1140603"/>
                  <a:pt x="1982904" y="1085560"/>
                  <a:pt x="2000402" y="1030635"/>
                </a:cubicBezTo>
                <a:cubicBezTo>
                  <a:pt x="2018231" y="975568"/>
                  <a:pt x="2038985" y="920383"/>
                  <a:pt x="2065987" y="864349"/>
                </a:cubicBezTo>
                <a:cubicBezTo>
                  <a:pt x="2079595" y="836308"/>
                  <a:pt x="2094806" y="808032"/>
                  <a:pt x="2113531" y="779284"/>
                </a:cubicBezTo>
                <a:cubicBezTo>
                  <a:pt x="2122917" y="764945"/>
                  <a:pt x="2133152" y="750512"/>
                  <a:pt x="2144732" y="736103"/>
                </a:cubicBezTo>
                <a:cubicBezTo>
                  <a:pt x="2156335" y="721717"/>
                  <a:pt x="2169235" y="707402"/>
                  <a:pt x="2183479" y="693700"/>
                </a:cubicBezTo>
                <a:cubicBezTo>
                  <a:pt x="2197723" y="679998"/>
                  <a:pt x="2213241" y="667004"/>
                  <a:pt x="2229348" y="655330"/>
                </a:cubicBezTo>
                <a:cubicBezTo>
                  <a:pt x="2245408" y="643609"/>
                  <a:pt x="2261988" y="633068"/>
                  <a:pt x="2278519" y="623587"/>
                </a:cubicBezTo>
                <a:cubicBezTo>
                  <a:pt x="2295051" y="614060"/>
                  <a:pt x="2311725" y="605523"/>
                  <a:pt x="2328256" y="597646"/>
                </a:cubicBezTo>
                <a:cubicBezTo>
                  <a:pt x="2344859" y="589675"/>
                  <a:pt x="2361438" y="582411"/>
                  <a:pt x="2378088" y="575454"/>
                </a:cubicBezTo>
                <a:cubicBezTo>
                  <a:pt x="2411387" y="561587"/>
                  <a:pt x="2444923" y="549088"/>
                  <a:pt x="2479283" y="537037"/>
                </a:cubicBezTo>
                <a:cubicBezTo>
                  <a:pt x="2513644" y="525010"/>
                  <a:pt x="2548783" y="513502"/>
                  <a:pt x="2585078" y="502228"/>
                </a:cubicBezTo>
                <a:cubicBezTo>
                  <a:pt x="2729949" y="457751"/>
                  <a:pt x="2894391" y="413862"/>
                  <a:pt x="3096643" y="374078"/>
                </a:cubicBezTo>
                <a:cubicBezTo>
                  <a:pt x="3299596" y="334481"/>
                  <a:pt x="3539084" y="298989"/>
                  <a:pt x="3848260" y="274650"/>
                </a:cubicBezTo>
                <a:cubicBezTo>
                  <a:pt x="4080602" y="256609"/>
                  <a:pt x="4352356" y="244697"/>
                  <a:pt x="4684345" y="245201"/>
                </a:cubicBezTo>
                <a:close/>
                <a:moveTo>
                  <a:pt x="4610730" y="194546"/>
                </a:moveTo>
                <a:cubicBezTo>
                  <a:pt x="4717331" y="194221"/>
                  <a:pt x="4830395" y="195164"/>
                  <a:pt x="4950681" y="197599"/>
                </a:cubicBezTo>
                <a:cubicBezTo>
                  <a:pt x="4946412" y="199061"/>
                  <a:pt x="4942144" y="200523"/>
                  <a:pt x="4937875" y="202009"/>
                </a:cubicBezTo>
                <a:cubicBezTo>
                  <a:pt x="4458664" y="192647"/>
                  <a:pt x="4094492" y="207009"/>
                  <a:pt x="3796895" y="230946"/>
                </a:cubicBezTo>
                <a:cubicBezTo>
                  <a:pt x="3499935" y="255166"/>
                  <a:pt x="3269221" y="289291"/>
                  <a:pt x="3072914" y="326623"/>
                </a:cubicBezTo>
                <a:cubicBezTo>
                  <a:pt x="2877269" y="364144"/>
                  <a:pt x="2717255" y="404896"/>
                  <a:pt x="2575592" y="445529"/>
                </a:cubicBezTo>
                <a:cubicBezTo>
                  <a:pt x="2540123" y="455859"/>
                  <a:pt x="2505762" y="466306"/>
                  <a:pt x="2472131" y="477249"/>
                </a:cubicBezTo>
                <a:cubicBezTo>
                  <a:pt x="2438526" y="488215"/>
                  <a:pt x="2405650" y="499559"/>
                  <a:pt x="2373153" y="512152"/>
                </a:cubicBezTo>
                <a:cubicBezTo>
                  <a:pt x="2356881" y="518496"/>
                  <a:pt x="2340726" y="525099"/>
                  <a:pt x="2324572" y="532316"/>
                </a:cubicBezTo>
                <a:cubicBezTo>
                  <a:pt x="2308394" y="539532"/>
                  <a:pt x="2292381" y="547220"/>
                  <a:pt x="2276367" y="555899"/>
                </a:cubicBezTo>
                <a:cubicBezTo>
                  <a:pt x="2260378" y="564507"/>
                  <a:pt x="2244530" y="574058"/>
                  <a:pt x="2229130" y="584694"/>
                </a:cubicBezTo>
                <a:cubicBezTo>
                  <a:pt x="2213731" y="595306"/>
                  <a:pt x="2198920" y="607075"/>
                  <a:pt x="2185195" y="619644"/>
                </a:cubicBezTo>
                <a:cubicBezTo>
                  <a:pt x="2171469" y="632214"/>
                  <a:pt x="2158828" y="645539"/>
                  <a:pt x="2147367" y="659075"/>
                </a:cubicBezTo>
                <a:cubicBezTo>
                  <a:pt x="2135929" y="672612"/>
                  <a:pt x="2125577" y="686432"/>
                  <a:pt x="2116001" y="700275"/>
                </a:cubicBezTo>
                <a:cubicBezTo>
                  <a:pt x="2096946" y="727939"/>
                  <a:pt x="2080980" y="755720"/>
                  <a:pt x="2066594" y="783359"/>
                </a:cubicBezTo>
                <a:cubicBezTo>
                  <a:pt x="2037942" y="838709"/>
                  <a:pt x="2015137" y="893870"/>
                  <a:pt x="1995114" y="949196"/>
                </a:cubicBezTo>
                <a:cubicBezTo>
                  <a:pt x="1975422" y="1004405"/>
                  <a:pt x="1958324" y="1059943"/>
                  <a:pt x="1944104" y="1115434"/>
                </a:cubicBezTo>
                <a:cubicBezTo>
                  <a:pt x="1929977" y="1170878"/>
                  <a:pt x="1918704" y="1226276"/>
                  <a:pt x="1910355" y="1281272"/>
                </a:cubicBezTo>
                <a:cubicBezTo>
                  <a:pt x="1876466" y="1501563"/>
                  <a:pt x="1892244" y="1714473"/>
                  <a:pt x="1940000" y="1907783"/>
                </a:cubicBezTo>
                <a:cubicBezTo>
                  <a:pt x="1987355" y="2101496"/>
                  <a:pt x="2064708" y="2275847"/>
                  <a:pt x="2144892" y="2429209"/>
                </a:cubicBezTo>
                <a:cubicBezTo>
                  <a:pt x="2164936" y="2467578"/>
                  <a:pt x="2185195" y="2504722"/>
                  <a:pt x="2205287" y="2540639"/>
                </a:cubicBezTo>
                <a:cubicBezTo>
                  <a:pt x="2215335" y="2558610"/>
                  <a:pt x="2225333" y="2576273"/>
                  <a:pt x="2235238" y="2593631"/>
                </a:cubicBezTo>
                <a:cubicBezTo>
                  <a:pt x="2245120" y="2611035"/>
                  <a:pt x="2254931" y="2628157"/>
                  <a:pt x="2264599" y="2644995"/>
                </a:cubicBezTo>
                <a:cubicBezTo>
                  <a:pt x="2283938" y="2678648"/>
                  <a:pt x="2302875" y="2711193"/>
                  <a:pt x="2319856" y="2743714"/>
                </a:cubicBezTo>
                <a:cubicBezTo>
                  <a:pt x="2328322" y="2759963"/>
                  <a:pt x="2336387" y="2776188"/>
                  <a:pt x="2343273" y="2792673"/>
                </a:cubicBezTo>
                <a:cubicBezTo>
                  <a:pt x="2350137" y="2809134"/>
                  <a:pt x="2356032" y="2825973"/>
                  <a:pt x="2358814" y="2843188"/>
                </a:cubicBezTo>
                <a:cubicBezTo>
                  <a:pt x="2360206" y="2851772"/>
                  <a:pt x="2360724" y="2860475"/>
                  <a:pt x="2359899" y="2869012"/>
                </a:cubicBezTo>
                <a:cubicBezTo>
                  <a:pt x="2359144" y="2877525"/>
                  <a:pt x="2356928" y="2885827"/>
                  <a:pt x="2353344" y="2893468"/>
                </a:cubicBezTo>
                <a:cubicBezTo>
                  <a:pt x="2349734" y="2901109"/>
                  <a:pt x="2344712" y="2908042"/>
                  <a:pt x="2338628" y="2914150"/>
                </a:cubicBezTo>
                <a:cubicBezTo>
                  <a:pt x="2332542" y="2920282"/>
                  <a:pt x="2325421" y="2925564"/>
                  <a:pt x="2317614" y="2930187"/>
                </a:cubicBezTo>
                <a:cubicBezTo>
                  <a:pt x="2301931" y="2939431"/>
                  <a:pt x="2283467" y="2945987"/>
                  <a:pt x="2263043" y="2950610"/>
                </a:cubicBezTo>
                <a:cubicBezTo>
                  <a:pt x="2257925" y="2951765"/>
                  <a:pt x="2252690" y="2952779"/>
                  <a:pt x="2247313" y="2953675"/>
                </a:cubicBezTo>
                <a:cubicBezTo>
                  <a:pt x="2244624" y="2954124"/>
                  <a:pt x="2241913" y="2954548"/>
                  <a:pt x="2239153" y="2954949"/>
                </a:cubicBezTo>
                <a:cubicBezTo>
                  <a:pt x="2236394" y="2955350"/>
                  <a:pt x="2233587" y="2955609"/>
                  <a:pt x="2230757" y="2955916"/>
                </a:cubicBezTo>
                <a:cubicBezTo>
                  <a:pt x="2227928" y="2956199"/>
                  <a:pt x="2225050" y="2956458"/>
                  <a:pt x="2222173" y="2956718"/>
                </a:cubicBezTo>
                <a:cubicBezTo>
                  <a:pt x="2219272" y="2956930"/>
                  <a:pt x="2216348" y="2957142"/>
                  <a:pt x="2213400" y="2957307"/>
                </a:cubicBezTo>
                <a:cubicBezTo>
                  <a:pt x="2207504" y="2957638"/>
                  <a:pt x="2201468" y="2957897"/>
                  <a:pt x="2195336" y="2958039"/>
                </a:cubicBezTo>
                <a:cubicBezTo>
                  <a:pt x="2096970" y="2959760"/>
                  <a:pt x="1968441" y="2937285"/>
                  <a:pt x="1792652" y="2866323"/>
                </a:cubicBezTo>
                <a:cubicBezTo>
                  <a:pt x="1617122" y="2794795"/>
                  <a:pt x="1392562" y="2673625"/>
                  <a:pt x="1108738" y="2460810"/>
                </a:cubicBezTo>
                <a:cubicBezTo>
                  <a:pt x="827862" y="2250848"/>
                  <a:pt x="482275" y="1937239"/>
                  <a:pt x="136120" y="1547055"/>
                </a:cubicBezTo>
                <a:cubicBezTo>
                  <a:pt x="482509" y="1937428"/>
                  <a:pt x="828192" y="2251014"/>
                  <a:pt x="1109068" y="2460810"/>
                </a:cubicBezTo>
                <a:cubicBezTo>
                  <a:pt x="1392892" y="2673507"/>
                  <a:pt x="1617381" y="2794536"/>
                  <a:pt x="1792794" y="2865899"/>
                </a:cubicBezTo>
                <a:cubicBezTo>
                  <a:pt x="1968465" y="2936719"/>
                  <a:pt x="2096852" y="2959029"/>
                  <a:pt x="2195052" y="2957166"/>
                </a:cubicBezTo>
                <a:cubicBezTo>
                  <a:pt x="2201184" y="2957024"/>
                  <a:pt x="2207198" y="2956765"/>
                  <a:pt x="2213070" y="2956411"/>
                </a:cubicBezTo>
                <a:cubicBezTo>
                  <a:pt x="2216018" y="2956246"/>
                  <a:pt x="2218942" y="2956034"/>
                  <a:pt x="2221820" y="2955822"/>
                </a:cubicBezTo>
                <a:cubicBezTo>
                  <a:pt x="2224697" y="2955586"/>
                  <a:pt x="2227527" y="2955303"/>
                  <a:pt x="2230357" y="2955020"/>
                </a:cubicBezTo>
                <a:cubicBezTo>
                  <a:pt x="2233163" y="2954713"/>
                  <a:pt x="2235969" y="2954454"/>
                  <a:pt x="2238705" y="2954053"/>
                </a:cubicBezTo>
                <a:cubicBezTo>
                  <a:pt x="2241441" y="2953652"/>
                  <a:pt x="2244153" y="2953228"/>
                  <a:pt x="2246841" y="2952779"/>
                </a:cubicBezTo>
                <a:cubicBezTo>
                  <a:pt x="2252194" y="2951883"/>
                  <a:pt x="2257431" y="2950846"/>
                  <a:pt x="2262524" y="2949690"/>
                </a:cubicBezTo>
                <a:cubicBezTo>
                  <a:pt x="2282876" y="2945044"/>
                  <a:pt x="2301247" y="2938488"/>
                  <a:pt x="2316789" y="2929291"/>
                </a:cubicBezTo>
                <a:cubicBezTo>
                  <a:pt x="2324548" y="2924668"/>
                  <a:pt x="2331600" y="2919409"/>
                  <a:pt x="2337613" y="2913372"/>
                </a:cubicBezTo>
                <a:cubicBezTo>
                  <a:pt x="2343627" y="2907335"/>
                  <a:pt x="2348579" y="2900472"/>
                  <a:pt x="2352116" y="2892972"/>
                </a:cubicBezTo>
                <a:cubicBezTo>
                  <a:pt x="2359334" y="2877926"/>
                  <a:pt x="2360323" y="2860404"/>
                  <a:pt x="2357517" y="2843495"/>
                </a:cubicBezTo>
                <a:cubicBezTo>
                  <a:pt x="2354758" y="2826468"/>
                  <a:pt x="2348909" y="2809794"/>
                  <a:pt x="2342070" y="2793404"/>
                </a:cubicBezTo>
                <a:cubicBezTo>
                  <a:pt x="2335208" y="2776990"/>
                  <a:pt x="2327166" y="2760859"/>
                  <a:pt x="2318723" y="2744657"/>
                </a:cubicBezTo>
                <a:cubicBezTo>
                  <a:pt x="2301767" y="2712278"/>
                  <a:pt x="2282829" y="2679780"/>
                  <a:pt x="2263492" y="2646197"/>
                </a:cubicBezTo>
                <a:cubicBezTo>
                  <a:pt x="2253822" y="2629406"/>
                  <a:pt x="2244011" y="2612308"/>
                  <a:pt x="2234131" y="2594951"/>
                </a:cubicBezTo>
                <a:cubicBezTo>
                  <a:pt x="2224201" y="2577618"/>
                  <a:pt x="2214203" y="2559977"/>
                  <a:pt x="2204155" y="2542054"/>
                </a:cubicBezTo>
                <a:cubicBezTo>
                  <a:pt x="2184062" y="2506208"/>
                  <a:pt x="2163781" y="2469135"/>
                  <a:pt x="2143688" y="2430836"/>
                </a:cubicBezTo>
                <a:cubicBezTo>
                  <a:pt x="2063387" y="2277757"/>
                  <a:pt x="1985776" y="2103666"/>
                  <a:pt x="1937924" y="1910165"/>
                </a:cubicBezTo>
                <a:cubicBezTo>
                  <a:pt x="1889673" y="1717067"/>
                  <a:pt x="1873166" y="1504299"/>
                  <a:pt x="1906158" y="1284007"/>
                </a:cubicBezTo>
                <a:cubicBezTo>
                  <a:pt x="1914270" y="1228988"/>
                  <a:pt x="1925308" y="1173591"/>
                  <a:pt x="1939222" y="1118123"/>
                </a:cubicBezTo>
                <a:cubicBezTo>
                  <a:pt x="1953206" y="1062585"/>
                  <a:pt x="1970092" y="1007000"/>
                  <a:pt x="1989548" y="951743"/>
                </a:cubicBezTo>
                <a:cubicBezTo>
                  <a:pt x="2009358" y="896346"/>
                  <a:pt x="2031974" y="841020"/>
                  <a:pt x="2060604" y="785199"/>
                </a:cubicBezTo>
                <a:cubicBezTo>
                  <a:pt x="2075038" y="757300"/>
                  <a:pt x="2090980" y="729236"/>
                  <a:pt x="2110388" y="700912"/>
                </a:cubicBezTo>
                <a:cubicBezTo>
                  <a:pt x="2120105" y="686786"/>
                  <a:pt x="2130646" y="672636"/>
                  <a:pt x="2142485" y="658557"/>
                </a:cubicBezTo>
                <a:cubicBezTo>
                  <a:pt x="2154348" y="644501"/>
                  <a:pt x="2167483" y="630611"/>
                  <a:pt x="2181894" y="617380"/>
                </a:cubicBezTo>
                <a:cubicBezTo>
                  <a:pt x="2196302" y="604174"/>
                  <a:pt x="2211938" y="591722"/>
                  <a:pt x="2228092" y="580614"/>
                </a:cubicBezTo>
                <a:cubicBezTo>
                  <a:pt x="2244223" y="569483"/>
                  <a:pt x="2260780" y="559554"/>
                  <a:pt x="2277264" y="550687"/>
                </a:cubicBezTo>
                <a:cubicBezTo>
                  <a:pt x="2293749" y="541773"/>
                  <a:pt x="2310351" y="533849"/>
                  <a:pt x="2326742" y="526561"/>
                </a:cubicBezTo>
                <a:cubicBezTo>
                  <a:pt x="2343249" y="519203"/>
                  <a:pt x="2359664" y="512529"/>
                  <a:pt x="2376149" y="506138"/>
                </a:cubicBezTo>
                <a:cubicBezTo>
                  <a:pt x="2409118" y="493427"/>
                  <a:pt x="2442229" y="482060"/>
                  <a:pt x="2476093" y="471070"/>
                </a:cubicBezTo>
                <a:cubicBezTo>
                  <a:pt x="2509959" y="460104"/>
                  <a:pt x="2544509" y="449656"/>
                  <a:pt x="2580119" y="439351"/>
                </a:cubicBezTo>
                <a:cubicBezTo>
                  <a:pt x="2722303" y="398811"/>
                  <a:pt x="2882762" y="358201"/>
                  <a:pt x="3078951" y="320845"/>
                </a:cubicBezTo>
                <a:cubicBezTo>
                  <a:pt x="3275848" y="283678"/>
                  <a:pt x="3507293" y="249742"/>
                  <a:pt x="3805291" y="225710"/>
                </a:cubicBezTo>
                <a:cubicBezTo>
                  <a:pt x="4029285" y="207917"/>
                  <a:pt x="4290926" y="195523"/>
                  <a:pt x="4610730" y="194546"/>
                </a:cubicBezTo>
                <a:close/>
                <a:moveTo>
                  <a:pt x="4556794" y="0"/>
                </a:moveTo>
                <a:cubicBezTo>
                  <a:pt x="4554318" y="1439"/>
                  <a:pt x="4551842" y="2901"/>
                  <a:pt x="4549342" y="4339"/>
                </a:cubicBezTo>
                <a:cubicBezTo>
                  <a:pt x="4150455" y="5731"/>
                  <a:pt x="3848567" y="22380"/>
                  <a:pt x="3599646" y="43535"/>
                </a:cubicBezTo>
                <a:cubicBezTo>
                  <a:pt x="3351409" y="64901"/>
                  <a:pt x="3156092" y="91173"/>
                  <a:pt x="2986886" y="117327"/>
                </a:cubicBezTo>
                <a:cubicBezTo>
                  <a:pt x="2818313" y="143645"/>
                  <a:pt x="2677052" y="169870"/>
                  <a:pt x="2549090" y="193665"/>
                </a:cubicBezTo>
                <a:cubicBezTo>
                  <a:pt x="2517064" y="199773"/>
                  <a:pt x="2485840" y="205834"/>
                  <a:pt x="2455087" y="212225"/>
                </a:cubicBezTo>
                <a:cubicBezTo>
                  <a:pt x="2424358" y="218616"/>
                  <a:pt x="2394124" y="225220"/>
                  <a:pt x="2364032" y="232861"/>
                </a:cubicBezTo>
                <a:cubicBezTo>
                  <a:pt x="2348963" y="236728"/>
                  <a:pt x="2333964" y="240785"/>
                  <a:pt x="2318918" y="245407"/>
                </a:cubicBezTo>
                <a:cubicBezTo>
                  <a:pt x="2303824" y="250006"/>
                  <a:pt x="2288873" y="255053"/>
                  <a:pt x="2273803" y="260995"/>
                </a:cubicBezTo>
                <a:cubicBezTo>
                  <a:pt x="2258780" y="266891"/>
                  <a:pt x="2243805" y="273660"/>
                  <a:pt x="2229160" y="281584"/>
                </a:cubicBezTo>
                <a:cubicBezTo>
                  <a:pt x="2214515" y="289460"/>
                  <a:pt x="2200318" y="298564"/>
                  <a:pt x="2186993" y="308634"/>
                </a:cubicBezTo>
                <a:cubicBezTo>
                  <a:pt x="2173669" y="318704"/>
                  <a:pt x="2161240" y="329717"/>
                  <a:pt x="2149779" y="341202"/>
                </a:cubicBezTo>
                <a:cubicBezTo>
                  <a:pt x="2138341" y="352687"/>
                  <a:pt x="2127799" y="364691"/>
                  <a:pt x="2117871" y="376883"/>
                </a:cubicBezTo>
                <a:cubicBezTo>
                  <a:pt x="2098108" y="401268"/>
                  <a:pt x="2080798" y="426573"/>
                  <a:pt x="2064596" y="452232"/>
                </a:cubicBezTo>
                <a:cubicBezTo>
                  <a:pt x="2032334" y="503572"/>
                  <a:pt x="2004105" y="556611"/>
                  <a:pt x="1977598" y="610829"/>
                </a:cubicBezTo>
                <a:cubicBezTo>
                  <a:pt x="1951397" y="665023"/>
                  <a:pt x="1926634" y="720537"/>
                  <a:pt x="1904065" y="776830"/>
                </a:cubicBezTo>
                <a:cubicBezTo>
                  <a:pt x="1881590" y="833124"/>
                  <a:pt x="1861356" y="890196"/>
                  <a:pt x="1843786" y="947574"/>
                </a:cubicBezTo>
                <a:cubicBezTo>
                  <a:pt x="1772612" y="1177393"/>
                  <a:pt x="1749548" y="1410066"/>
                  <a:pt x="1770160" y="1624934"/>
                </a:cubicBezTo>
                <a:cubicBezTo>
                  <a:pt x="1789804" y="1840343"/>
                  <a:pt x="1850012" y="2038529"/>
                  <a:pt x="1922224" y="2213257"/>
                </a:cubicBezTo>
                <a:cubicBezTo>
                  <a:pt x="1940265" y="2256980"/>
                  <a:pt x="1959038" y="2299312"/>
                  <a:pt x="1978116" y="2340229"/>
                </a:cubicBezTo>
                <a:cubicBezTo>
                  <a:pt x="1987644" y="2360699"/>
                  <a:pt x="1997266" y="2380792"/>
                  <a:pt x="2006888" y="2400554"/>
                </a:cubicBezTo>
                <a:cubicBezTo>
                  <a:pt x="2016486" y="2420341"/>
                  <a:pt x="2026108" y="2439774"/>
                  <a:pt x="2035707" y="2458876"/>
                </a:cubicBezTo>
                <a:cubicBezTo>
                  <a:pt x="2054903" y="2497033"/>
                  <a:pt x="2074053" y="2533847"/>
                  <a:pt x="2091363" y="2570000"/>
                </a:cubicBezTo>
                <a:cubicBezTo>
                  <a:pt x="2099995" y="2588065"/>
                  <a:pt x="2108225" y="2605964"/>
                  <a:pt x="2115206" y="2623817"/>
                </a:cubicBezTo>
                <a:cubicBezTo>
                  <a:pt x="2122163" y="2641646"/>
                  <a:pt x="2128059" y="2659522"/>
                  <a:pt x="2130511" y="2677021"/>
                </a:cubicBezTo>
                <a:cubicBezTo>
                  <a:pt x="2131738" y="2685770"/>
                  <a:pt x="2131950" y="2694378"/>
                  <a:pt x="2130700" y="2702514"/>
                </a:cubicBezTo>
                <a:cubicBezTo>
                  <a:pt x="2129497" y="2710674"/>
                  <a:pt x="2126691" y="2718268"/>
                  <a:pt x="2122328" y="2724894"/>
                </a:cubicBezTo>
                <a:lnTo>
                  <a:pt x="2106824" y="2739874"/>
                </a:lnTo>
                <a:lnTo>
                  <a:pt x="2121617" y="2779561"/>
                </a:lnTo>
                <a:lnTo>
                  <a:pt x="2120131" y="2779655"/>
                </a:lnTo>
                <a:lnTo>
                  <a:pt x="2105697" y="2740964"/>
                </a:lnTo>
                <a:lnTo>
                  <a:pt x="2104900" y="2741733"/>
                </a:lnTo>
                <a:lnTo>
                  <a:pt x="2092562" y="2747281"/>
                </a:lnTo>
                <a:lnTo>
                  <a:pt x="2106548" y="2771448"/>
                </a:lnTo>
                <a:lnTo>
                  <a:pt x="2120278" y="2805061"/>
                </a:lnTo>
                <a:lnTo>
                  <a:pt x="2141849" y="2800998"/>
                </a:lnTo>
                <a:cubicBezTo>
                  <a:pt x="2150456" y="2797744"/>
                  <a:pt x="2158333" y="2793735"/>
                  <a:pt x="2165054" y="2788806"/>
                </a:cubicBezTo>
                <a:cubicBezTo>
                  <a:pt x="2171799" y="2783877"/>
                  <a:pt x="2177388" y="2777981"/>
                  <a:pt x="2181492" y="2771213"/>
                </a:cubicBezTo>
                <a:cubicBezTo>
                  <a:pt x="2189793" y="2757652"/>
                  <a:pt x="2191326" y="2740649"/>
                  <a:pt x="2188708" y="2723528"/>
                </a:cubicBezTo>
                <a:cubicBezTo>
                  <a:pt x="2186138" y="2706312"/>
                  <a:pt x="2180242" y="2688908"/>
                  <a:pt x="2173261" y="2671574"/>
                </a:cubicBezTo>
                <a:cubicBezTo>
                  <a:pt x="2166257" y="2654216"/>
                  <a:pt x="2158050" y="2636859"/>
                  <a:pt x="2149395" y="2619360"/>
                </a:cubicBezTo>
                <a:cubicBezTo>
                  <a:pt x="2132061" y="2584339"/>
                  <a:pt x="2112841" y="2548776"/>
                  <a:pt x="2093456" y="2511915"/>
                </a:cubicBezTo>
                <a:cubicBezTo>
                  <a:pt x="2083763" y="2493473"/>
                  <a:pt x="2074023" y="2474701"/>
                  <a:pt x="2064260" y="2455599"/>
                </a:cubicBezTo>
                <a:cubicBezTo>
                  <a:pt x="2054473" y="2436520"/>
                  <a:pt x="2044662" y="2417087"/>
                  <a:pt x="2034899" y="2397348"/>
                </a:cubicBezTo>
                <a:cubicBezTo>
                  <a:pt x="2015372" y="2357823"/>
                  <a:pt x="1996010" y="2316953"/>
                  <a:pt x="1977214" y="2274692"/>
                </a:cubicBezTo>
                <a:cubicBezTo>
                  <a:pt x="1902031" y="2105836"/>
                  <a:pt x="1836139" y="1913963"/>
                  <a:pt x="1807910" y="1704025"/>
                </a:cubicBezTo>
                <a:cubicBezTo>
                  <a:pt x="1778903" y="1494559"/>
                  <a:pt x="1790340" y="1266509"/>
                  <a:pt x="1851280" y="1037893"/>
                </a:cubicBezTo>
                <a:cubicBezTo>
                  <a:pt x="1866302" y="980822"/>
                  <a:pt x="1884155" y="923821"/>
                  <a:pt x="1904483" y="867340"/>
                </a:cubicBezTo>
                <a:cubicBezTo>
                  <a:pt x="1924906" y="810811"/>
                  <a:pt x="1947806" y="754800"/>
                  <a:pt x="1972544" y="699828"/>
                </a:cubicBezTo>
                <a:cubicBezTo>
                  <a:pt x="1997613" y="644761"/>
                  <a:pt x="2024805" y="590520"/>
                  <a:pt x="2056807" y="537198"/>
                </a:cubicBezTo>
                <a:cubicBezTo>
                  <a:pt x="2072915" y="510525"/>
                  <a:pt x="2090248" y="484089"/>
                  <a:pt x="2110577" y="457982"/>
                </a:cubicBezTo>
                <a:cubicBezTo>
                  <a:pt x="2120765" y="444964"/>
                  <a:pt x="2131661" y="432064"/>
                  <a:pt x="2143712" y="419471"/>
                </a:cubicBezTo>
                <a:cubicBezTo>
                  <a:pt x="2155763" y="406901"/>
                  <a:pt x="2168946" y="394685"/>
                  <a:pt x="2183237" y="383317"/>
                </a:cubicBezTo>
                <a:cubicBezTo>
                  <a:pt x="2197505" y="371974"/>
                  <a:pt x="2212881" y="361574"/>
                  <a:pt x="2228564" y="352541"/>
                </a:cubicBezTo>
                <a:cubicBezTo>
                  <a:pt x="2244247" y="343485"/>
                  <a:pt x="2260260" y="335679"/>
                  <a:pt x="2276131" y="328887"/>
                </a:cubicBezTo>
                <a:cubicBezTo>
                  <a:pt x="2292003" y="322048"/>
                  <a:pt x="2307874" y="316152"/>
                  <a:pt x="2323534" y="310846"/>
                </a:cubicBezTo>
                <a:cubicBezTo>
                  <a:pt x="2339287" y="305446"/>
                  <a:pt x="2354899" y="300705"/>
                  <a:pt x="2370535" y="296177"/>
                </a:cubicBezTo>
                <a:cubicBezTo>
                  <a:pt x="2401806" y="287216"/>
                  <a:pt x="2433031" y="279410"/>
                  <a:pt x="2464797" y="271863"/>
                </a:cubicBezTo>
                <a:cubicBezTo>
                  <a:pt x="2496564" y="264317"/>
                  <a:pt x="2528826" y="257147"/>
                  <a:pt x="2561936" y="250002"/>
                </a:cubicBezTo>
                <a:cubicBezTo>
                  <a:pt x="2694073" y="222055"/>
                  <a:pt x="2840643" y="192223"/>
                  <a:pt x="3016645" y="163097"/>
                </a:cubicBezTo>
                <a:cubicBezTo>
                  <a:pt x="3193330" y="134137"/>
                  <a:pt x="3398315" y="105861"/>
                  <a:pt x="3659924" y="83716"/>
                </a:cubicBezTo>
                <a:cubicBezTo>
                  <a:pt x="3922217" y="61807"/>
                  <a:pt x="4241274" y="45653"/>
                  <a:pt x="4662730" y="47021"/>
                </a:cubicBezTo>
                <a:cubicBezTo>
                  <a:pt x="4659853" y="48483"/>
                  <a:pt x="4656905" y="49945"/>
                  <a:pt x="4653933" y="51431"/>
                </a:cubicBezTo>
                <a:cubicBezTo>
                  <a:pt x="4233751" y="50275"/>
                  <a:pt x="3915543" y="66571"/>
                  <a:pt x="3653863" y="88622"/>
                </a:cubicBezTo>
                <a:cubicBezTo>
                  <a:pt x="3392868" y="110908"/>
                  <a:pt x="3188260" y="139326"/>
                  <a:pt x="3011904" y="168427"/>
                </a:cubicBezTo>
                <a:cubicBezTo>
                  <a:pt x="2836162" y="197694"/>
                  <a:pt x="2689852" y="227668"/>
                  <a:pt x="2558022" y="255709"/>
                </a:cubicBezTo>
                <a:cubicBezTo>
                  <a:pt x="2525029" y="262878"/>
                  <a:pt x="2492908" y="270047"/>
                  <a:pt x="2461307" y="277594"/>
                </a:cubicBezTo>
                <a:cubicBezTo>
                  <a:pt x="2429729" y="285141"/>
                  <a:pt x="2398693" y="292947"/>
                  <a:pt x="2367823" y="301837"/>
                </a:cubicBezTo>
                <a:cubicBezTo>
                  <a:pt x="2352376" y="306318"/>
                  <a:pt x="2336976" y="311035"/>
                  <a:pt x="2321553" y="316341"/>
                </a:cubicBezTo>
                <a:cubicBezTo>
                  <a:pt x="2306082" y="321624"/>
                  <a:pt x="2290753" y="327331"/>
                  <a:pt x="2275306" y="334005"/>
                </a:cubicBezTo>
                <a:cubicBezTo>
                  <a:pt x="2259906" y="340632"/>
                  <a:pt x="2244553" y="348131"/>
                  <a:pt x="2229555" y="356810"/>
                </a:cubicBezTo>
                <a:cubicBezTo>
                  <a:pt x="2214556" y="365441"/>
                  <a:pt x="2200005" y="375299"/>
                  <a:pt x="2186397" y="386100"/>
                </a:cubicBezTo>
                <a:cubicBezTo>
                  <a:pt x="2172766" y="396901"/>
                  <a:pt x="2160102" y="408622"/>
                  <a:pt x="2148452" y="420744"/>
                </a:cubicBezTo>
                <a:cubicBezTo>
                  <a:pt x="2136825" y="432866"/>
                  <a:pt x="2126142" y="445459"/>
                  <a:pt x="2116119" y="458194"/>
                </a:cubicBezTo>
                <a:cubicBezTo>
                  <a:pt x="2096168" y="483688"/>
                  <a:pt x="2078881" y="509865"/>
                  <a:pt x="2062821" y="536278"/>
                </a:cubicBezTo>
                <a:cubicBezTo>
                  <a:pt x="2030889" y="589152"/>
                  <a:pt x="2003556" y="643228"/>
                  <a:pt x="1978322" y="698177"/>
                </a:cubicBezTo>
                <a:cubicBezTo>
                  <a:pt x="1953419" y="753055"/>
                  <a:pt x="1930331" y="808995"/>
                  <a:pt x="1909719" y="865453"/>
                </a:cubicBezTo>
                <a:cubicBezTo>
                  <a:pt x="1889201" y="921887"/>
                  <a:pt x="1871137" y="978865"/>
                  <a:pt x="1855925" y="1035889"/>
                </a:cubicBezTo>
                <a:cubicBezTo>
                  <a:pt x="1794185" y="1264387"/>
                  <a:pt x="1781968" y="1492507"/>
                  <a:pt x="1810433" y="1702115"/>
                </a:cubicBezTo>
                <a:cubicBezTo>
                  <a:pt x="1838120" y="1912218"/>
                  <a:pt x="1903658" y="2104303"/>
                  <a:pt x="1978653" y="2273371"/>
                </a:cubicBezTo>
                <a:cubicBezTo>
                  <a:pt x="1997401" y="2315679"/>
                  <a:pt x="2016716" y="2356620"/>
                  <a:pt x="2036219" y="2396192"/>
                </a:cubicBezTo>
                <a:cubicBezTo>
                  <a:pt x="2045959" y="2415979"/>
                  <a:pt x="2055746" y="2435435"/>
                  <a:pt x="2065533" y="2454537"/>
                </a:cubicBezTo>
                <a:cubicBezTo>
                  <a:pt x="2075273" y="2473687"/>
                  <a:pt x="2085013" y="2492483"/>
                  <a:pt x="2094706" y="2510948"/>
                </a:cubicBezTo>
                <a:cubicBezTo>
                  <a:pt x="2114067" y="2547880"/>
                  <a:pt x="2133288" y="2583514"/>
                  <a:pt x="2150645" y="2618629"/>
                </a:cubicBezTo>
                <a:cubicBezTo>
                  <a:pt x="2159300" y="2636175"/>
                  <a:pt x="2167531" y="2653603"/>
                  <a:pt x="2174558" y="2671055"/>
                </a:cubicBezTo>
                <a:cubicBezTo>
                  <a:pt x="2181539" y="2688483"/>
                  <a:pt x="2187506" y="2706052"/>
                  <a:pt x="2190100" y="2723457"/>
                </a:cubicBezTo>
                <a:cubicBezTo>
                  <a:pt x="2191397" y="2732135"/>
                  <a:pt x="2191703" y="2740767"/>
                  <a:pt x="2190595" y="2748998"/>
                </a:cubicBezTo>
                <a:cubicBezTo>
                  <a:pt x="2189534" y="2757228"/>
                  <a:pt x="2186916" y="2765010"/>
                  <a:pt x="2182765" y="2771897"/>
                </a:cubicBezTo>
                <a:cubicBezTo>
                  <a:pt x="2178591" y="2778783"/>
                  <a:pt x="2172908" y="2784749"/>
                  <a:pt x="2166092" y="2789726"/>
                </a:cubicBezTo>
                <a:cubicBezTo>
                  <a:pt x="2159276" y="2794725"/>
                  <a:pt x="2151329" y="2798734"/>
                  <a:pt x="2142650" y="2802013"/>
                </a:cubicBezTo>
                <a:lnTo>
                  <a:pt x="2120709" y="2806116"/>
                </a:lnTo>
                <a:lnTo>
                  <a:pt x="2127490" y="2822718"/>
                </a:lnTo>
                <a:lnTo>
                  <a:pt x="2126004" y="2822859"/>
                </a:lnTo>
                <a:lnTo>
                  <a:pt x="2119265" y="2806386"/>
                </a:lnTo>
                <a:lnTo>
                  <a:pt x="2087229" y="2812376"/>
                </a:lnTo>
                <a:lnTo>
                  <a:pt x="2090442" y="2820242"/>
                </a:lnTo>
                <a:lnTo>
                  <a:pt x="2088957" y="2820384"/>
                </a:lnTo>
                <a:lnTo>
                  <a:pt x="2085791" y="2812645"/>
                </a:lnTo>
                <a:lnTo>
                  <a:pt x="2082489" y="2813262"/>
                </a:lnTo>
                <a:cubicBezTo>
                  <a:pt x="2076877" y="2813568"/>
                  <a:pt x="2071146" y="2813757"/>
                  <a:pt x="2065274" y="2813781"/>
                </a:cubicBezTo>
                <a:cubicBezTo>
                  <a:pt x="2062326" y="2813781"/>
                  <a:pt x="2059354" y="2813781"/>
                  <a:pt x="2056359" y="2813733"/>
                </a:cubicBezTo>
                <a:lnTo>
                  <a:pt x="2051756" y="2813544"/>
                </a:lnTo>
                <a:lnTo>
                  <a:pt x="2054078" y="2819228"/>
                </a:lnTo>
                <a:lnTo>
                  <a:pt x="2052592" y="2819369"/>
                </a:lnTo>
                <a:lnTo>
                  <a:pt x="2050183" y="2813479"/>
                </a:lnTo>
                <a:lnTo>
                  <a:pt x="2047185" y="2813356"/>
                </a:lnTo>
                <a:cubicBezTo>
                  <a:pt x="2044096" y="2813191"/>
                  <a:pt x="2040983" y="2813002"/>
                  <a:pt x="2037823" y="2812790"/>
                </a:cubicBezTo>
                <a:cubicBezTo>
                  <a:pt x="2034663" y="2812554"/>
                  <a:pt x="2031479" y="2812271"/>
                  <a:pt x="2028272" y="2811988"/>
                </a:cubicBezTo>
                <a:lnTo>
                  <a:pt x="2013849" y="2810445"/>
                </a:lnTo>
                <a:lnTo>
                  <a:pt x="2018679" y="2822270"/>
                </a:lnTo>
                <a:lnTo>
                  <a:pt x="2017193" y="2822411"/>
                </a:lnTo>
                <a:lnTo>
                  <a:pt x="2012227" y="2810272"/>
                </a:lnTo>
                <a:lnTo>
                  <a:pt x="2008650" y="2809889"/>
                </a:lnTo>
                <a:lnTo>
                  <a:pt x="1974284" y="2803606"/>
                </a:lnTo>
                <a:lnTo>
                  <a:pt x="1981936" y="2822341"/>
                </a:lnTo>
                <a:lnTo>
                  <a:pt x="1980451" y="2822482"/>
                </a:lnTo>
                <a:lnTo>
                  <a:pt x="1972603" y="2803299"/>
                </a:lnTo>
                <a:lnTo>
                  <a:pt x="1934157" y="2796270"/>
                </a:lnTo>
                <a:lnTo>
                  <a:pt x="1948890" y="2832340"/>
                </a:lnTo>
                <a:lnTo>
                  <a:pt x="1947405" y="2832482"/>
                </a:lnTo>
                <a:lnTo>
                  <a:pt x="1932465" y="2795961"/>
                </a:lnTo>
                <a:lnTo>
                  <a:pt x="1922609" y="2794159"/>
                </a:lnTo>
                <a:lnTo>
                  <a:pt x="1892844" y="2785605"/>
                </a:lnTo>
                <a:lnTo>
                  <a:pt x="1910758" y="2829463"/>
                </a:lnTo>
                <a:lnTo>
                  <a:pt x="1909273" y="2829604"/>
                </a:lnTo>
                <a:lnTo>
                  <a:pt x="1891064" y="2785093"/>
                </a:lnTo>
                <a:lnTo>
                  <a:pt x="1844561" y="2771728"/>
                </a:lnTo>
                <a:lnTo>
                  <a:pt x="1858757" y="2796258"/>
                </a:lnTo>
                <a:lnTo>
                  <a:pt x="1868144" y="2819240"/>
                </a:lnTo>
                <a:lnTo>
                  <a:pt x="1942093" y="2840181"/>
                </a:lnTo>
                <a:cubicBezTo>
                  <a:pt x="1990471" y="2852004"/>
                  <a:pt x="2033732" y="2858801"/>
                  <a:pt x="2072635" y="2861843"/>
                </a:cubicBezTo>
                <a:cubicBezTo>
                  <a:pt x="2079121" y="2862314"/>
                  <a:pt x="2085465" y="2862692"/>
                  <a:pt x="2091714" y="2862951"/>
                </a:cubicBezTo>
                <a:cubicBezTo>
                  <a:pt x="2094827" y="2863093"/>
                  <a:pt x="2097917" y="2863187"/>
                  <a:pt x="2100983" y="2863258"/>
                </a:cubicBezTo>
                <a:cubicBezTo>
                  <a:pt x="2104025" y="2863305"/>
                  <a:pt x="2107043" y="2863352"/>
                  <a:pt x="2110038" y="2863352"/>
                </a:cubicBezTo>
                <a:cubicBezTo>
                  <a:pt x="2113010" y="2863328"/>
                  <a:pt x="2116005" y="2863352"/>
                  <a:pt x="2118906" y="2863258"/>
                </a:cubicBezTo>
                <a:cubicBezTo>
                  <a:pt x="2121807" y="2863140"/>
                  <a:pt x="2124684" y="2862998"/>
                  <a:pt x="2127537" y="2862833"/>
                </a:cubicBezTo>
                <a:cubicBezTo>
                  <a:pt x="2133221" y="2862503"/>
                  <a:pt x="2138786" y="2862008"/>
                  <a:pt x="2144187" y="2861394"/>
                </a:cubicBezTo>
                <a:cubicBezTo>
                  <a:pt x="2165836" y="2858918"/>
                  <a:pt x="2185458" y="2854390"/>
                  <a:pt x="2202107" y="2846961"/>
                </a:cubicBezTo>
                <a:cubicBezTo>
                  <a:pt x="2210409" y="2843235"/>
                  <a:pt x="2218003" y="2838802"/>
                  <a:pt x="2224464" y="2833472"/>
                </a:cubicBezTo>
                <a:cubicBezTo>
                  <a:pt x="2230950" y="2828142"/>
                  <a:pt x="2236303" y="2821940"/>
                  <a:pt x="2240218" y="2814912"/>
                </a:cubicBezTo>
                <a:cubicBezTo>
                  <a:pt x="2248118" y="2800856"/>
                  <a:pt x="2249415" y="2783688"/>
                  <a:pt x="2246727" y="2766661"/>
                </a:cubicBezTo>
                <a:cubicBezTo>
                  <a:pt x="2244062" y="2749539"/>
                  <a:pt x="2238143" y="2732394"/>
                  <a:pt x="2231186" y="2715415"/>
                </a:cubicBezTo>
                <a:cubicBezTo>
                  <a:pt x="2224205" y="2698411"/>
                  <a:pt x="2215998" y="2681502"/>
                  <a:pt x="2207390" y="2664475"/>
                </a:cubicBezTo>
                <a:cubicBezTo>
                  <a:pt x="2190104" y="2630421"/>
                  <a:pt x="2170907" y="2595965"/>
                  <a:pt x="2151451" y="2560260"/>
                </a:cubicBezTo>
                <a:cubicBezTo>
                  <a:pt x="2141711" y="2542408"/>
                  <a:pt x="2131924" y="2524225"/>
                  <a:pt x="2122066" y="2505736"/>
                </a:cubicBezTo>
                <a:cubicBezTo>
                  <a:pt x="2112185" y="2487270"/>
                  <a:pt x="2102256" y="2468474"/>
                  <a:pt x="2092351" y="2449372"/>
                </a:cubicBezTo>
                <a:cubicBezTo>
                  <a:pt x="2072541" y="2411144"/>
                  <a:pt x="2052755" y="2371595"/>
                  <a:pt x="2033393" y="2330701"/>
                </a:cubicBezTo>
                <a:cubicBezTo>
                  <a:pt x="1956016" y="2167340"/>
                  <a:pt x="1885550" y="1981505"/>
                  <a:pt x="1850057" y="1776996"/>
                </a:cubicBezTo>
                <a:cubicBezTo>
                  <a:pt x="1813951" y="1572954"/>
                  <a:pt x="1815295" y="1349785"/>
                  <a:pt x="1866730" y="1123339"/>
                </a:cubicBezTo>
                <a:cubicBezTo>
                  <a:pt x="1879418" y="1066810"/>
                  <a:pt x="1894983" y="1010162"/>
                  <a:pt x="1913213" y="953798"/>
                </a:cubicBezTo>
                <a:cubicBezTo>
                  <a:pt x="1931537" y="897387"/>
                  <a:pt x="1952526" y="841283"/>
                  <a:pt x="1975685" y="785956"/>
                </a:cubicBezTo>
                <a:cubicBezTo>
                  <a:pt x="1999174" y="730512"/>
                  <a:pt x="2025068" y="675610"/>
                  <a:pt x="2056292" y="621110"/>
                </a:cubicBezTo>
                <a:cubicBezTo>
                  <a:pt x="2071999" y="593871"/>
                  <a:pt x="2089073" y="566703"/>
                  <a:pt x="2109307" y="539700"/>
                </a:cubicBezTo>
                <a:cubicBezTo>
                  <a:pt x="2119448" y="526234"/>
                  <a:pt x="2130320" y="512815"/>
                  <a:pt x="2142442" y="499632"/>
                </a:cubicBezTo>
                <a:cubicBezTo>
                  <a:pt x="2154564" y="486473"/>
                  <a:pt x="2167841" y="473620"/>
                  <a:pt x="2182298" y="461569"/>
                </a:cubicBezTo>
                <a:cubicBezTo>
                  <a:pt x="2196754" y="449518"/>
                  <a:pt x="2212319" y="438387"/>
                  <a:pt x="2228261" y="428623"/>
                </a:cubicBezTo>
                <a:cubicBezTo>
                  <a:pt x="2244203" y="418813"/>
                  <a:pt x="2260500" y="410276"/>
                  <a:pt x="2276654" y="402753"/>
                </a:cubicBezTo>
                <a:cubicBezTo>
                  <a:pt x="2292808" y="395182"/>
                  <a:pt x="2309010" y="388603"/>
                  <a:pt x="2325000" y="382589"/>
                </a:cubicBezTo>
                <a:cubicBezTo>
                  <a:pt x="2341060" y="376528"/>
                  <a:pt x="2357002" y="371127"/>
                  <a:pt x="2372991" y="365963"/>
                </a:cubicBezTo>
                <a:cubicBezTo>
                  <a:pt x="2404947" y="355728"/>
                  <a:pt x="2436902" y="346695"/>
                  <a:pt x="2469470" y="337993"/>
                </a:cubicBezTo>
                <a:cubicBezTo>
                  <a:pt x="2502039" y="329291"/>
                  <a:pt x="2535150" y="321013"/>
                  <a:pt x="2569157" y="312783"/>
                </a:cubicBezTo>
                <a:cubicBezTo>
                  <a:pt x="2704972" y="280568"/>
                  <a:pt x="2856422" y="247033"/>
                  <a:pt x="3039473" y="215030"/>
                </a:cubicBezTo>
                <a:cubicBezTo>
                  <a:pt x="3223186" y="183216"/>
                  <a:pt x="3437322" y="152888"/>
                  <a:pt x="3711500" y="129965"/>
                </a:cubicBezTo>
                <a:cubicBezTo>
                  <a:pt x="3986339" y="107302"/>
                  <a:pt x="4321480" y="91690"/>
                  <a:pt x="4763689" y="95770"/>
                </a:cubicBezTo>
                <a:cubicBezTo>
                  <a:pt x="4760270" y="97303"/>
                  <a:pt x="4756874" y="98788"/>
                  <a:pt x="4753454" y="100251"/>
                </a:cubicBezTo>
                <a:cubicBezTo>
                  <a:pt x="4312755" y="96430"/>
                  <a:pt x="3978651" y="112231"/>
                  <a:pt x="3704567" y="135059"/>
                </a:cubicBezTo>
                <a:cubicBezTo>
                  <a:pt x="3431167" y="158147"/>
                  <a:pt x="3217526" y="188617"/>
                  <a:pt x="3034192" y="220572"/>
                </a:cubicBezTo>
                <a:cubicBezTo>
                  <a:pt x="2851515" y="252716"/>
                  <a:pt x="2700350" y="286393"/>
                  <a:pt x="2564935" y="318702"/>
                </a:cubicBezTo>
                <a:cubicBezTo>
                  <a:pt x="2531023" y="326933"/>
                  <a:pt x="2498077" y="335234"/>
                  <a:pt x="2465721" y="343912"/>
                </a:cubicBezTo>
                <a:cubicBezTo>
                  <a:pt x="2433364" y="352615"/>
                  <a:pt x="2401621" y="361623"/>
                  <a:pt x="2370114" y="371764"/>
                </a:cubicBezTo>
                <a:cubicBezTo>
                  <a:pt x="2354337" y="376882"/>
                  <a:pt x="2338631" y="382235"/>
                  <a:pt x="2322901" y="388202"/>
                </a:cubicBezTo>
                <a:cubicBezTo>
                  <a:pt x="2307123" y="394145"/>
                  <a:pt x="2291488" y="400536"/>
                  <a:pt x="2275781" y="407917"/>
                </a:cubicBezTo>
                <a:cubicBezTo>
                  <a:pt x="2260099" y="415228"/>
                  <a:pt x="2244486" y="423459"/>
                  <a:pt x="2229252" y="432845"/>
                </a:cubicBezTo>
                <a:cubicBezTo>
                  <a:pt x="2214017" y="442184"/>
                  <a:pt x="2199277" y="452749"/>
                  <a:pt x="2185505" y="464210"/>
                </a:cubicBezTo>
                <a:cubicBezTo>
                  <a:pt x="2171732" y="475672"/>
                  <a:pt x="2158950" y="488006"/>
                  <a:pt x="2147253" y="500670"/>
                </a:cubicBezTo>
                <a:cubicBezTo>
                  <a:pt x="2135579" y="513358"/>
                  <a:pt x="2124896" y="526423"/>
                  <a:pt x="2114920" y="539630"/>
                </a:cubicBezTo>
                <a:cubicBezTo>
                  <a:pt x="2095063" y="565996"/>
                  <a:pt x="2078036" y="592904"/>
                  <a:pt x="2062353" y="619883"/>
                </a:cubicBezTo>
                <a:cubicBezTo>
                  <a:pt x="2031200" y="673912"/>
                  <a:pt x="2005140" y="728649"/>
                  <a:pt x="1981463" y="783975"/>
                </a:cubicBezTo>
                <a:cubicBezTo>
                  <a:pt x="1958115" y="839231"/>
                  <a:pt x="1936938" y="895264"/>
                  <a:pt x="1918401" y="951605"/>
                </a:cubicBezTo>
                <a:cubicBezTo>
                  <a:pt x="1899959" y="1007922"/>
                  <a:pt x="1884158" y="1064546"/>
                  <a:pt x="1871282" y="1121050"/>
                </a:cubicBezTo>
                <a:cubicBezTo>
                  <a:pt x="1818998" y="1347427"/>
                  <a:pt x="1816899" y="1570690"/>
                  <a:pt x="1852486" y="1774897"/>
                </a:cubicBezTo>
                <a:cubicBezTo>
                  <a:pt x="1887437" y="1979571"/>
                  <a:pt x="1957597" y="2165619"/>
                  <a:pt x="2034808" y="2329239"/>
                </a:cubicBezTo>
                <a:cubicBezTo>
                  <a:pt x="2054123" y="2370180"/>
                  <a:pt x="2073862" y="2409800"/>
                  <a:pt x="2093648" y="2448075"/>
                </a:cubicBezTo>
                <a:cubicBezTo>
                  <a:pt x="2103553" y="2467225"/>
                  <a:pt x="2113458" y="2486044"/>
                  <a:pt x="2123316" y="2504533"/>
                </a:cubicBezTo>
                <a:cubicBezTo>
                  <a:pt x="2133150" y="2523070"/>
                  <a:pt x="2142961" y="2541252"/>
                  <a:pt x="2152677" y="2559152"/>
                </a:cubicBezTo>
                <a:cubicBezTo>
                  <a:pt x="2172133" y="2594904"/>
                  <a:pt x="2191330" y="2629430"/>
                  <a:pt x="2208616" y="2663602"/>
                </a:cubicBezTo>
                <a:cubicBezTo>
                  <a:pt x="2217248" y="2680676"/>
                  <a:pt x="2225455" y="2697656"/>
                  <a:pt x="2232459" y="2714754"/>
                </a:cubicBezTo>
                <a:cubicBezTo>
                  <a:pt x="2239440" y="2731828"/>
                  <a:pt x="2245406" y="2749115"/>
                  <a:pt x="2248118" y="2766425"/>
                </a:cubicBezTo>
                <a:cubicBezTo>
                  <a:pt x="2249463" y="2775056"/>
                  <a:pt x="2249864" y="2783711"/>
                  <a:pt x="2248873" y="2792036"/>
                </a:cubicBezTo>
                <a:cubicBezTo>
                  <a:pt x="2247930" y="2800361"/>
                  <a:pt x="2245477" y="2808309"/>
                  <a:pt x="2241515" y="2815454"/>
                </a:cubicBezTo>
                <a:cubicBezTo>
                  <a:pt x="2237553" y="2822600"/>
                  <a:pt x="2232105" y="2828897"/>
                  <a:pt x="2225549" y="2834274"/>
                </a:cubicBezTo>
                <a:cubicBezTo>
                  <a:pt x="2218993" y="2839651"/>
                  <a:pt x="2211328" y="2844108"/>
                  <a:pt x="2202956" y="2847858"/>
                </a:cubicBezTo>
                <a:cubicBezTo>
                  <a:pt x="2186142" y="2855310"/>
                  <a:pt x="2166426" y="2859838"/>
                  <a:pt x="2144706" y="2862267"/>
                </a:cubicBezTo>
                <a:cubicBezTo>
                  <a:pt x="2139258" y="2862880"/>
                  <a:pt x="2133692" y="2863352"/>
                  <a:pt x="2127985" y="2863682"/>
                </a:cubicBezTo>
                <a:cubicBezTo>
                  <a:pt x="2125132" y="2863847"/>
                  <a:pt x="2122255" y="2863989"/>
                  <a:pt x="2119330" y="2864083"/>
                </a:cubicBezTo>
                <a:cubicBezTo>
                  <a:pt x="2116406" y="2864201"/>
                  <a:pt x="2113411" y="2864154"/>
                  <a:pt x="2110416" y="2864177"/>
                </a:cubicBezTo>
                <a:cubicBezTo>
                  <a:pt x="2107397" y="2864177"/>
                  <a:pt x="2104379" y="2864130"/>
                  <a:pt x="2101313" y="2864083"/>
                </a:cubicBezTo>
                <a:cubicBezTo>
                  <a:pt x="2098247" y="2863989"/>
                  <a:pt x="2095157" y="2863894"/>
                  <a:pt x="2092021" y="2863753"/>
                </a:cubicBezTo>
                <a:cubicBezTo>
                  <a:pt x="2085771" y="2863493"/>
                  <a:pt x="2079404" y="2863116"/>
                  <a:pt x="2072918" y="2862621"/>
                </a:cubicBezTo>
                <a:cubicBezTo>
                  <a:pt x="2033953" y="2859526"/>
                  <a:pt x="1990633" y="2852673"/>
                  <a:pt x="1942200" y="2840792"/>
                </a:cubicBezTo>
                <a:lnTo>
                  <a:pt x="1868382" y="2819824"/>
                </a:lnTo>
                <a:lnTo>
                  <a:pt x="1879699" y="2847528"/>
                </a:lnTo>
                <a:lnTo>
                  <a:pt x="1878213" y="2847669"/>
                </a:lnTo>
                <a:lnTo>
                  <a:pt x="1866616" y="2819322"/>
                </a:lnTo>
                <a:lnTo>
                  <a:pt x="1865621" y="2819040"/>
                </a:lnTo>
                <a:lnTo>
                  <a:pt x="1821671" y="2803366"/>
                </a:lnTo>
                <a:lnTo>
                  <a:pt x="1826306" y="2811375"/>
                </a:lnTo>
                <a:lnTo>
                  <a:pt x="1841217" y="2847880"/>
                </a:lnTo>
                <a:lnTo>
                  <a:pt x="1849286" y="2851088"/>
                </a:lnTo>
                <a:cubicBezTo>
                  <a:pt x="1966163" y="2892255"/>
                  <a:pt x="2059133" y="2908850"/>
                  <a:pt x="2134870" y="2911131"/>
                </a:cubicBezTo>
                <a:cubicBezTo>
                  <a:pt x="2141167" y="2911296"/>
                  <a:pt x="2147345" y="2911343"/>
                  <a:pt x="2153430" y="2911296"/>
                </a:cubicBezTo>
                <a:cubicBezTo>
                  <a:pt x="2156472" y="2911273"/>
                  <a:pt x="2159467" y="2911225"/>
                  <a:pt x="2162439" y="2911155"/>
                </a:cubicBezTo>
                <a:cubicBezTo>
                  <a:pt x="2165410" y="2911060"/>
                  <a:pt x="2168334" y="2910942"/>
                  <a:pt x="2171235" y="2910778"/>
                </a:cubicBezTo>
                <a:cubicBezTo>
                  <a:pt x="2174136" y="2910612"/>
                  <a:pt x="2177013" y="2910495"/>
                  <a:pt x="2179843" y="2910235"/>
                </a:cubicBezTo>
                <a:cubicBezTo>
                  <a:pt x="2182673" y="2909976"/>
                  <a:pt x="2185456" y="2909693"/>
                  <a:pt x="2188215" y="2909386"/>
                </a:cubicBezTo>
                <a:cubicBezTo>
                  <a:pt x="2193734" y="2908749"/>
                  <a:pt x="2199111" y="2907995"/>
                  <a:pt x="2204370" y="2907122"/>
                </a:cubicBezTo>
                <a:cubicBezTo>
                  <a:pt x="2225359" y="2903537"/>
                  <a:pt x="2244343" y="2897972"/>
                  <a:pt x="2260427" y="2889647"/>
                </a:cubicBezTo>
                <a:cubicBezTo>
                  <a:pt x="2268445" y="2885473"/>
                  <a:pt x="2275780" y="2880614"/>
                  <a:pt x="2282006" y="2874931"/>
                </a:cubicBezTo>
                <a:cubicBezTo>
                  <a:pt x="2288232" y="2869247"/>
                  <a:pt x="2293396" y="2862715"/>
                  <a:pt x="2297099" y="2855428"/>
                </a:cubicBezTo>
                <a:cubicBezTo>
                  <a:pt x="2304646" y="2840877"/>
                  <a:pt x="2305754" y="2823543"/>
                  <a:pt x="2302995" y="2806587"/>
                </a:cubicBezTo>
                <a:cubicBezTo>
                  <a:pt x="2300259" y="2789536"/>
                  <a:pt x="2294363" y="2772627"/>
                  <a:pt x="2287453" y="2755977"/>
                </a:cubicBezTo>
                <a:cubicBezTo>
                  <a:pt x="2280520" y="2739280"/>
                  <a:pt x="2272384" y="2722796"/>
                  <a:pt x="2263823" y="2706193"/>
                </a:cubicBezTo>
                <a:cubicBezTo>
                  <a:pt x="2246678" y="2673011"/>
                  <a:pt x="2227576" y="2639570"/>
                  <a:pt x="2208119" y="2604974"/>
                </a:cubicBezTo>
                <a:cubicBezTo>
                  <a:pt x="2198403" y="2587664"/>
                  <a:pt x="2188569" y="2570047"/>
                  <a:pt x="2178688" y="2552147"/>
                </a:cubicBezTo>
                <a:cubicBezTo>
                  <a:pt x="2168759" y="2534271"/>
                  <a:pt x="2158783" y="2516065"/>
                  <a:pt x="2148784" y="2497576"/>
                </a:cubicBezTo>
                <a:cubicBezTo>
                  <a:pt x="2128785" y="2460574"/>
                  <a:pt x="2108693" y="2422298"/>
                  <a:pt x="2088930" y="2382726"/>
                </a:cubicBezTo>
                <a:cubicBezTo>
                  <a:pt x="2009879" y="2224624"/>
                  <a:pt x="1935521" y="2044731"/>
                  <a:pt x="1893496" y="1845739"/>
                </a:cubicBezTo>
                <a:cubicBezTo>
                  <a:pt x="1850975" y="1647168"/>
                  <a:pt x="1843004" y="1429118"/>
                  <a:pt x="1885076" y="1205477"/>
                </a:cubicBezTo>
                <a:cubicBezTo>
                  <a:pt x="1895429" y="1149632"/>
                  <a:pt x="1908730" y="1093527"/>
                  <a:pt x="1924814" y="1037541"/>
                </a:cubicBezTo>
                <a:cubicBezTo>
                  <a:pt x="1940992" y="981483"/>
                  <a:pt x="1959953" y="925544"/>
                  <a:pt x="1981320" y="870123"/>
                </a:cubicBezTo>
                <a:cubicBezTo>
                  <a:pt x="2003040" y="814584"/>
                  <a:pt x="2027378" y="759329"/>
                  <a:pt x="2057446" y="704026"/>
                </a:cubicBezTo>
                <a:cubicBezTo>
                  <a:pt x="2072587" y="676387"/>
                  <a:pt x="2089166" y="648676"/>
                  <a:pt x="2109070" y="620942"/>
                </a:cubicBezTo>
                <a:cubicBezTo>
                  <a:pt x="2119046" y="607099"/>
                  <a:pt x="2129799" y="593280"/>
                  <a:pt x="2141827" y="579602"/>
                </a:cubicBezTo>
                <a:cubicBezTo>
                  <a:pt x="2153854" y="565971"/>
                  <a:pt x="2167132" y="552552"/>
                  <a:pt x="2181612" y="539864"/>
                </a:cubicBezTo>
                <a:cubicBezTo>
                  <a:pt x="2196092" y="527200"/>
                  <a:pt x="2211751" y="515385"/>
                  <a:pt x="2227859" y="504914"/>
                </a:cubicBezTo>
                <a:cubicBezTo>
                  <a:pt x="2243942" y="494419"/>
                  <a:pt x="2260403" y="485175"/>
                  <a:pt x="2276794" y="476943"/>
                </a:cubicBezTo>
                <a:cubicBezTo>
                  <a:pt x="2293161" y="468690"/>
                  <a:pt x="2309598" y="461426"/>
                  <a:pt x="2325823" y="454752"/>
                </a:cubicBezTo>
                <a:cubicBezTo>
                  <a:pt x="2342143" y="448031"/>
                  <a:pt x="2358345" y="441970"/>
                  <a:pt x="2374617" y="436192"/>
                </a:cubicBezTo>
                <a:cubicBezTo>
                  <a:pt x="2407138" y="424684"/>
                  <a:pt x="2439730" y="414496"/>
                  <a:pt x="2472983" y="404614"/>
                </a:cubicBezTo>
                <a:cubicBezTo>
                  <a:pt x="2506235" y="394757"/>
                  <a:pt x="2540124" y="385394"/>
                  <a:pt x="2574980" y="376102"/>
                </a:cubicBezTo>
                <a:cubicBezTo>
                  <a:pt x="2714145" y="339666"/>
                  <a:pt x="2870264" y="302523"/>
                  <a:pt x="3060038" y="267761"/>
                </a:cubicBezTo>
                <a:cubicBezTo>
                  <a:pt x="3250519" y="233188"/>
                  <a:pt x="3473475" y="200973"/>
                  <a:pt x="3759799" y="177437"/>
                </a:cubicBezTo>
                <a:cubicBezTo>
                  <a:pt x="4046783" y="154161"/>
                  <a:pt x="4397466" y="139232"/>
                  <a:pt x="4859579" y="146119"/>
                </a:cubicBezTo>
                <a:cubicBezTo>
                  <a:pt x="4855759" y="147581"/>
                  <a:pt x="4851891" y="149067"/>
                  <a:pt x="4848047" y="150552"/>
                </a:cubicBezTo>
                <a:cubicBezTo>
                  <a:pt x="4387655" y="143996"/>
                  <a:pt x="4038222" y="159137"/>
                  <a:pt x="3752135" y="182602"/>
                </a:cubicBezTo>
                <a:cubicBezTo>
                  <a:pt x="3466707" y="206327"/>
                  <a:pt x="3244340" y="238706"/>
                  <a:pt x="3054356" y="273421"/>
                </a:cubicBezTo>
                <a:cubicBezTo>
                  <a:pt x="2865028" y="308324"/>
                  <a:pt x="2709286" y="345633"/>
                  <a:pt x="2570570" y="382163"/>
                </a:cubicBezTo>
                <a:cubicBezTo>
                  <a:pt x="2535832" y="391455"/>
                  <a:pt x="2502131" y="400841"/>
                  <a:pt x="2469091" y="410674"/>
                </a:cubicBezTo>
                <a:cubicBezTo>
                  <a:pt x="2436051" y="420509"/>
                  <a:pt x="2403695" y="430720"/>
                  <a:pt x="2371646" y="442112"/>
                </a:cubicBezTo>
                <a:cubicBezTo>
                  <a:pt x="2355585" y="447866"/>
                  <a:pt x="2339619" y="453832"/>
                  <a:pt x="2323654" y="460459"/>
                </a:cubicBezTo>
                <a:cubicBezTo>
                  <a:pt x="2307641" y="467039"/>
                  <a:pt x="2291793" y="474114"/>
                  <a:pt x="2275874" y="482156"/>
                </a:cubicBezTo>
                <a:cubicBezTo>
                  <a:pt x="2260003" y="490151"/>
                  <a:pt x="2244225" y="499042"/>
                  <a:pt x="2228849" y="509088"/>
                </a:cubicBezTo>
                <a:cubicBezTo>
                  <a:pt x="2213496" y="519087"/>
                  <a:pt x="2198663" y="530289"/>
                  <a:pt x="2184866" y="542340"/>
                </a:cubicBezTo>
                <a:cubicBezTo>
                  <a:pt x="2171070" y="554391"/>
                  <a:pt x="2158312" y="567244"/>
                  <a:pt x="2146662" y="580404"/>
                </a:cubicBezTo>
                <a:cubicBezTo>
                  <a:pt x="2135059" y="593563"/>
                  <a:pt x="2124493" y="607029"/>
                  <a:pt x="2114659" y="620589"/>
                </a:cubicBezTo>
                <a:cubicBezTo>
                  <a:pt x="2095109" y="647686"/>
                  <a:pt x="2078530" y="675090"/>
                  <a:pt x="2063436" y="702493"/>
                </a:cubicBezTo>
                <a:cubicBezTo>
                  <a:pt x="2033391" y="757325"/>
                  <a:pt x="2008865" y="812415"/>
                  <a:pt x="1986956" y="867859"/>
                </a:cubicBezTo>
                <a:cubicBezTo>
                  <a:pt x="1965377" y="923209"/>
                  <a:pt x="1946204" y="979102"/>
                  <a:pt x="1929814" y="1035112"/>
                </a:cubicBezTo>
                <a:cubicBezTo>
                  <a:pt x="1913518" y="1091075"/>
                  <a:pt x="1900005" y="1147156"/>
                  <a:pt x="1889416" y="1203001"/>
                </a:cubicBezTo>
                <a:cubicBezTo>
                  <a:pt x="1846471" y="1426594"/>
                  <a:pt x="1853687" y="1644762"/>
                  <a:pt x="1895689" y="1843522"/>
                </a:cubicBezTo>
                <a:cubicBezTo>
                  <a:pt x="1937195" y="2042726"/>
                  <a:pt x="2011270" y="2222855"/>
                  <a:pt x="2090180" y="2381216"/>
                </a:cubicBezTo>
                <a:cubicBezTo>
                  <a:pt x="2109919" y="2420860"/>
                  <a:pt x="2129965" y="2459182"/>
                  <a:pt x="2149963" y="2496255"/>
                </a:cubicBezTo>
                <a:cubicBezTo>
                  <a:pt x="2159962" y="2514792"/>
                  <a:pt x="2169938" y="2533021"/>
                  <a:pt x="2179843" y="2550921"/>
                </a:cubicBezTo>
                <a:cubicBezTo>
                  <a:pt x="2189724" y="2568868"/>
                  <a:pt x="2199559" y="2586508"/>
                  <a:pt x="2209275" y="2603842"/>
                </a:cubicBezTo>
                <a:cubicBezTo>
                  <a:pt x="2228708" y="2638509"/>
                  <a:pt x="2247810" y="2671997"/>
                  <a:pt x="2264979" y="2705297"/>
                </a:cubicBezTo>
                <a:cubicBezTo>
                  <a:pt x="2273539" y="2721947"/>
                  <a:pt x="2281699" y="2738526"/>
                  <a:pt x="2288656" y="2755293"/>
                </a:cubicBezTo>
                <a:cubicBezTo>
                  <a:pt x="2295590" y="2772038"/>
                  <a:pt x="2301533" y="2789088"/>
                  <a:pt x="2304315" y="2806327"/>
                </a:cubicBezTo>
                <a:cubicBezTo>
                  <a:pt x="2305683" y="2814935"/>
                  <a:pt x="2306155" y="2823614"/>
                  <a:pt x="2305259" y="2832009"/>
                </a:cubicBezTo>
                <a:cubicBezTo>
                  <a:pt x="2304410" y="2840429"/>
                  <a:pt x="2302099" y="2848541"/>
                  <a:pt x="2298325" y="2855947"/>
                </a:cubicBezTo>
                <a:cubicBezTo>
                  <a:pt x="2294552" y="2863328"/>
                  <a:pt x="2289316" y="2869955"/>
                  <a:pt x="2282996" y="2875709"/>
                </a:cubicBezTo>
                <a:cubicBezTo>
                  <a:pt x="2276699" y="2881463"/>
                  <a:pt x="2269294" y="2886345"/>
                  <a:pt x="2261205" y="2890543"/>
                </a:cubicBezTo>
                <a:cubicBezTo>
                  <a:pt x="2244980" y="2898915"/>
                  <a:pt x="2225901" y="2904457"/>
                  <a:pt x="2204818" y="2908018"/>
                </a:cubicBezTo>
                <a:cubicBezTo>
                  <a:pt x="2199535" y="2908891"/>
                  <a:pt x="2194135" y="2909646"/>
                  <a:pt x="2188593" y="2910282"/>
                </a:cubicBezTo>
                <a:cubicBezTo>
                  <a:pt x="2185810" y="2910589"/>
                  <a:pt x="2183027" y="2910872"/>
                  <a:pt x="2180197" y="2911131"/>
                </a:cubicBezTo>
                <a:cubicBezTo>
                  <a:pt x="2177367" y="2911391"/>
                  <a:pt x="2174443" y="2911508"/>
                  <a:pt x="2171542" y="2911674"/>
                </a:cubicBezTo>
                <a:cubicBezTo>
                  <a:pt x="2168617" y="2911815"/>
                  <a:pt x="2165670" y="2911933"/>
                  <a:pt x="2162698" y="2912027"/>
                </a:cubicBezTo>
                <a:cubicBezTo>
                  <a:pt x="2159727" y="2912098"/>
                  <a:pt x="2156708" y="2912145"/>
                  <a:pt x="2153666" y="2912169"/>
                </a:cubicBezTo>
                <a:cubicBezTo>
                  <a:pt x="2147581" y="2912216"/>
                  <a:pt x="2141402" y="2912145"/>
                  <a:pt x="2135082" y="2911980"/>
                </a:cubicBezTo>
                <a:cubicBezTo>
                  <a:pt x="2059238" y="2909593"/>
                  <a:pt x="1966163" y="2892892"/>
                  <a:pt x="1849179" y="2851609"/>
                </a:cubicBezTo>
                <a:lnTo>
                  <a:pt x="1841489" y="2848546"/>
                </a:lnTo>
                <a:lnTo>
                  <a:pt x="1847248" y="2862645"/>
                </a:lnTo>
                <a:lnTo>
                  <a:pt x="1845762" y="2862786"/>
                </a:lnTo>
                <a:lnTo>
                  <a:pt x="1839634" y="2847808"/>
                </a:lnTo>
                <a:lnTo>
                  <a:pt x="1795852" y="2830373"/>
                </a:lnTo>
                <a:lnTo>
                  <a:pt x="1811760" y="2869319"/>
                </a:lnTo>
                <a:lnTo>
                  <a:pt x="1810274" y="2869460"/>
                </a:lnTo>
                <a:lnTo>
                  <a:pt x="1793979" y="2829627"/>
                </a:lnTo>
                <a:lnTo>
                  <a:pt x="1723979" y="2801752"/>
                </a:lnTo>
                <a:cubicBezTo>
                  <a:pt x="1546138" y="2722961"/>
                  <a:pt x="1319905" y="2592734"/>
                  <a:pt x="1039264" y="2373528"/>
                </a:cubicBezTo>
                <a:cubicBezTo>
                  <a:pt x="761595" y="2157388"/>
                  <a:pt x="424660" y="1840881"/>
                  <a:pt x="96974" y="1462605"/>
                </a:cubicBezTo>
                <a:cubicBezTo>
                  <a:pt x="424899" y="1841069"/>
                  <a:pt x="761949" y="2157577"/>
                  <a:pt x="1039665" y="2373552"/>
                </a:cubicBezTo>
                <a:cubicBezTo>
                  <a:pt x="1320329" y="2592640"/>
                  <a:pt x="1546469" y="2722701"/>
                  <a:pt x="1724192" y="2801351"/>
                </a:cubicBezTo>
                <a:lnTo>
                  <a:pt x="1793721" y="2828996"/>
                </a:lnTo>
                <a:lnTo>
                  <a:pt x="1789474" y="2818615"/>
                </a:lnTo>
                <a:lnTo>
                  <a:pt x="1769278" y="2783778"/>
                </a:lnTo>
                <a:lnTo>
                  <a:pt x="1653915" y="2733597"/>
                </a:lnTo>
                <a:cubicBezTo>
                  <a:pt x="1474164" y="2647613"/>
                  <a:pt x="1246940" y="2508684"/>
                  <a:pt x="970474" y="2284242"/>
                </a:cubicBezTo>
                <a:cubicBezTo>
                  <a:pt x="696838" y="2063055"/>
                  <a:pt x="369832" y="1745748"/>
                  <a:pt x="61198" y="1381056"/>
                </a:cubicBezTo>
                <a:cubicBezTo>
                  <a:pt x="370064" y="1745937"/>
                  <a:pt x="697191" y="2063244"/>
                  <a:pt x="970804" y="2284360"/>
                </a:cubicBezTo>
                <a:cubicBezTo>
                  <a:pt x="1247294" y="2508708"/>
                  <a:pt x="1474424" y="2647448"/>
                  <a:pt x="1654057" y="2733290"/>
                </a:cubicBezTo>
                <a:lnTo>
                  <a:pt x="1768934" y="2783185"/>
                </a:lnTo>
                <a:lnTo>
                  <a:pt x="1760066" y="2767888"/>
                </a:lnTo>
                <a:lnTo>
                  <a:pt x="1737306" y="2732598"/>
                </a:lnTo>
                <a:lnTo>
                  <a:pt x="1710666" y="2722380"/>
                </a:lnTo>
                <a:cubicBezTo>
                  <a:pt x="1670513" y="2705200"/>
                  <a:pt x="1627811" y="2685164"/>
                  <a:pt x="1582360" y="2661905"/>
                </a:cubicBezTo>
                <a:cubicBezTo>
                  <a:pt x="1401123" y="2568893"/>
                  <a:pt x="1173686" y="2421757"/>
                  <a:pt x="902385" y="2193306"/>
                </a:cubicBezTo>
                <a:cubicBezTo>
                  <a:pt x="633867" y="1968157"/>
                  <a:pt x="318016" y="1652142"/>
                  <a:pt x="28839" y="1302473"/>
                </a:cubicBezTo>
                <a:cubicBezTo>
                  <a:pt x="318229" y="1652307"/>
                  <a:pt x="634197" y="1968322"/>
                  <a:pt x="902739" y="2193377"/>
                </a:cubicBezTo>
                <a:cubicBezTo>
                  <a:pt x="1174040" y="2421733"/>
                  <a:pt x="1401406" y="2568680"/>
                  <a:pt x="1582502" y="2661551"/>
                </a:cubicBezTo>
                <a:cubicBezTo>
                  <a:pt x="1627929" y="2684763"/>
                  <a:pt x="1670603" y="2704754"/>
                  <a:pt x="1710725" y="2721892"/>
                </a:cubicBezTo>
                <a:lnTo>
                  <a:pt x="1736852" y="2731894"/>
                </a:lnTo>
                <a:lnTo>
                  <a:pt x="1702690" y="2678927"/>
                </a:lnTo>
                <a:lnTo>
                  <a:pt x="1639100" y="2652135"/>
                </a:lnTo>
                <a:cubicBezTo>
                  <a:pt x="1598492" y="2633269"/>
                  <a:pt x="1555411" y="2611512"/>
                  <a:pt x="1509684" y="2586508"/>
                </a:cubicBezTo>
                <a:cubicBezTo>
                  <a:pt x="1327456" y="2486681"/>
                  <a:pt x="1100609" y="2331975"/>
                  <a:pt x="835463" y="2100859"/>
                </a:cubicBezTo>
                <a:cubicBezTo>
                  <a:pt x="573002" y="1873021"/>
                  <a:pt x="269415" y="1560481"/>
                  <a:pt x="0" y="1227036"/>
                </a:cubicBezTo>
                <a:cubicBezTo>
                  <a:pt x="269629" y="1560623"/>
                  <a:pt x="573335" y="1873186"/>
                  <a:pt x="835817" y="2100953"/>
                </a:cubicBezTo>
                <a:cubicBezTo>
                  <a:pt x="1100963" y="2331975"/>
                  <a:pt x="1327739" y="2486515"/>
                  <a:pt x="1509825" y="2586178"/>
                </a:cubicBezTo>
                <a:cubicBezTo>
                  <a:pt x="1555523" y="2611141"/>
                  <a:pt x="1598571" y="2632857"/>
                  <a:pt x="1639145" y="2651680"/>
                </a:cubicBezTo>
                <a:lnTo>
                  <a:pt x="1702233" y="2678218"/>
                </a:lnTo>
                <a:lnTo>
                  <a:pt x="1692806" y="2663602"/>
                </a:lnTo>
                <a:cubicBezTo>
                  <a:pt x="1681227" y="2645679"/>
                  <a:pt x="1669553" y="2627426"/>
                  <a:pt x="1657880" y="2608819"/>
                </a:cubicBezTo>
                <a:cubicBezTo>
                  <a:pt x="1646159" y="2590235"/>
                  <a:pt x="1634438" y="2571298"/>
                  <a:pt x="1622741" y="2552007"/>
                </a:cubicBezTo>
                <a:cubicBezTo>
                  <a:pt x="1599370" y="2513425"/>
                  <a:pt x="1576117" y="2473427"/>
                  <a:pt x="1553430" y="2431944"/>
                </a:cubicBezTo>
                <a:cubicBezTo>
                  <a:pt x="1462681" y="2266225"/>
                  <a:pt x="1381201" y="2075861"/>
                  <a:pt x="1337998" y="1863990"/>
                </a:cubicBezTo>
                <a:cubicBezTo>
                  <a:pt x="1293921" y="1652763"/>
                  <a:pt x="1291091" y="1419076"/>
                  <a:pt x="1336417" y="1182865"/>
                </a:cubicBezTo>
                <a:lnTo>
                  <a:pt x="1341017" y="1180672"/>
                </a:lnTo>
                <a:cubicBezTo>
                  <a:pt x="1294935" y="1416812"/>
                  <a:pt x="1297010" y="1650617"/>
                  <a:pt x="1340544" y="1862009"/>
                </a:cubicBezTo>
                <a:cubicBezTo>
                  <a:pt x="1383207" y="2074046"/>
                  <a:pt x="1464333" y="2264645"/>
                  <a:pt x="1554892" y="2430600"/>
                </a:cubicBezTo>
                <a:cubicBezTo>
                  <a:pt x="1577532" y="2472130"/>
                  <a:pt x="1600738" y="2512198"/>
                  <a:pt x="1624085" y="2550827"/>
                </a:cubicBezTo>
                <a:cubicBezTo>
                  <a:pt x="1635759" y="2570142"/>
                  <a:pt x="1647480" y="2589103"/>
                  <a:pt x="1659177" y="2607710"/>
                </a:cubicBezTo>
                <a:cubicBezTo>
                  <a:pt x="1670850" y="2626341"/>
                  <a:pt x="1682501" y="2644642"/>
                  <a:pt x="1694080" y="2662588"/>
                </a:cubicBezTo>
                <a:lnTo>
                  <a:pt x="1704845" y="2679316"/>
                </a:lnTo>
                <a:lnTo>
                  <a:pt x="1753616" y="2699831"/>
                </a:lnTo>
                <a:lnTo>
                  <a:pt x="1756592" y="2700805"/>
                </a:lnTo>
                <a:lnTo>
                  <a:pt x="1728294" y="2656928"/>
                </a:lnTo>
                <a:cubicBezTo>
                  <a:pt x="1716715" y="2639005"/>
                  <a:pt x="1705041" y="2620752"/>
                  <a:pt x="1693367" y="2602145"/>
                </a:cubicBezTo>
                <a:cubicBezTo>
                  <a:pt x="1681646" y="2583561"/>
                  <a:pt x="1669926" y="2564624"/>
                  <a:pt x="1658228" y="2545333"/>
                </a:cubicBezTo>
                <a:cubicBezTo>
                  <a:pt x="1634857" y="2506750"/>
                  <a:pt x="1611604" y="2466753"/>
                  <a:pt x="1588917" y="2425271"/>
                </a:cubicBezTo>
                <a:cubicBezTo>
                  <a:pt x="1498169" y="2259551"/>
                  <a:pt x="1416689" y="2069187"/>
                  <a:pt x="1373485" y="1857317"/>
                </a:cubicBezTo>
                <a:cubicBezTo>
                  <a:pt x="1329384" y="1646105"/>
                  <a:pt x="1326578" y="1412396"/>
                  <a:pt x="1371904" y="1176186"/>
                </a:cubicBezTo>
                <a:lnTo>
                  <a:pt x="1376503" y="1173993"/>
                </a:lnTo>
                <a:cubicBezTo>
                  <a:pt x="1330422" y="1410132"/>
                  <a:pt x="1332497" y="1643936"/>
                  <a:pt x="1376031" y="1855336"/>
                </a:cubicBezTo>
                <a:cubicBezTo>
                  <a:pt x="1418694" y="2067372"/>
                  <a:pt x="1499820" y="2257971"/>
                  <a:pt x="1590379" y="2423926"/>
                </a:cubicBezTo>
                <a:cubicBezTo>
                  <a:pt x="1613019" y="2465456"/>
                  <a:pt x="1636225" y="2505524"/>
                  <a:pt x="1659573" y="2544154"/>
                </a:cubicBezTo>
                <a:cubicBezTo>
                  <a:pt x="1671246" y="2563468"/>
                  <a:pt x="1682967" y="2582429"/>
                  <a:pt x="1694664" y="2601036"/>
                </a:cubicBezTo>
                <a:cubicBezTo>
                  <a:pt x="1706338" y="2619667"/>
                  <a:pt x="1717988" y="2637967"/>
                  <a:pt x="1729568" y="2655914"/>
                </a:cubicBezTo>
                <a:lnTo>
                  <a:pt x="1758951" y="2701576"/>
                </a:lnTo>
                <a:lnTo>
                  <a:pt x="1810076" y="2718300"/>
                </a:lnTo>
                <a:lnTo>
                  <a:pt x="1760745" y="2641811"/>
                </a:lnTo>
                <a:cubicBezTo>
                  <a:pt x="1749166" y="2623888"/>
                  <a:pt x="1737492" y="2605635"/>
                  <a:pt x="1725819" y="2587028"/>
                </a:cubicBezTo>
                <a:cubicBezTo>
                  <a:pt x="1714098" y="2568444"/>
                  <a:pt x="1702377" y="2549507"/>
                  <a:pt x="1690680" y="2530216"/>
                </a:cubicBezTo>
                <a:cubicBezTo>
                  <a:pt x="1667309" y="2491634"/>
                  <a:pt x="1644056" y="2451636"/>
                  <a:pt x="1621369" y="2410153"/>
                </a:cubicBezTo>
                <a:cubicBezTo>
                  <a:pt x="1530620" y="2244434"/>
                  <a:pt x="1449140" y="2054070"/>
                  <a:pt x="1405936" y="1842201"/>
                </a:cubicBezTo>
                <a:cubicBezTo>
                  <a:pt x="1361859" y="1630966"/>
                  <a:pt x="1359029" y="1397280"/>
                  <a:pt x="1404356" y="1161069"/>
                </a:cubicBezTo>
                <a:lnTo>
                  <a:pt x="1408955" y="1158876"/>
                </a:lnTo>
                <a:cubicBezTo>
                  <a:pt x="1362873" y="1395016"/>
                  <a:pt x="1364948" y="1628820"/>
                  <a:pt x="1408483" y="1840220"/>
                </a:cubicBezTo>
                <a:cubicBezTo>
                  <a:pt x="1451145" y="2052254"/>
                  <a:pt x="1532271" y="2242854"/>
                  <a:pt x="1622831" y="2408809"/>
                </a:cubicBezTo>
                <a:cubicBezTo>
                  <a:pt x="1645471" y="2450339"/>
                  <a:pt x="1668677" y="2490407"/>
                  <a:pt x="1692024" y="2529037"/>
                </a:cubicBezTo>
                <a:cubicBezTo>
                  <a:pt x="1703698" y="2548351"/>
                  <a:pt x="1715419" y="2567312"/>
                  <a:pt x="1727116" y="2585919"/>
                </a:cubicBezTo>
                <a:cubicBezTo>
                  <a:pt x="1738789" y="2604550"/>
                  <a:pt x="1750440" y="2622851"/>
                  <a:pt x="1762019" y="2640797"/>
                </a:cubicBezTo>
                <a:lnTo>
                  <a:pt x="1812375" y="2719052"/>
                </a:lnTo>
                <a:lnTo>
                  <a:pt x="1854292" y="2732763"/>
                </a:lnTo>
                <a:lnTo>
                  <a:pt x="1862938" y="2734714"/>
                </a:lnTo>
                <a:lnTo>
                  <a:pt x="1859064" y="2728032"/>
                </a:lnTo>
                <a:cubicBezTo>
                  <a:pt x="1838004" y="2694048"/>
                  <a:pt x="1814987" y="2659569"/>
                  <a:pt x="1791805" y="2623747"/>
                </a:cubicBezTo>
                <a:cubicBezTo>
                  <a:pt x="1780225" y="2605823"/>
                  <a:pt x="1768551" y="2587570"/>
                  <a:pt x="1756878" y="2568963"/>
                </a:cubicBezTo>
                <a:cubicBezTo>
                  <a:pt x="1745157" y="2550379"/>
                  <a:pt x="1733436" y="2531442"/>
                  <a:pt x="1721739" y="2512151"/>
                </a:cubicBezTo>
                <a:cubicBezTo>
                  <a:pt x="1698368" y="2473569"/>
                  <a:pt x="1675115" y="2433571"/>
                  <a:pt x="1652428" y="2392089"/>
                </a:cubicBezTo>
                <a:cubicBezTo>
                  <a:pt x="1561679" y="2226369"/>
                  <a:pt x="1480199" y="2036005"/>
                  <a:pt x="1436995" y="1824137"/>
                </a:cubicBezTo>
                <a:cubicBezTo>
                  <a:pt x="1392918" y="1612902"/>
                  <a:pt x="1390088" y="1379216"/>
                  <a:pt x="1435415" y="1143005"/>
                </a:cubicBezTo>
                <a:lnTo>
                  <a:pt x="1440014" y="1140812"/>
                </a:lnTo>
                <a:cubicBezTo>
                  <a:pt x="1393932" y="1376952"/>
                  <a:pt x="1396007" y="1610756"/>
                  <a:pt x="1439542" y="1822156"/>
                </a:cubicBezTo>
                <a:cubicBezTo>
                  <a:pt x="1482204" y="2034190"/>
                  <a:pt x="1563330" y="2224789"/>
                  <a:pt x="1653890" y="2390744"/>
                </a:cubicBezTo>
                <a:cubicBezTo>
                  <a:pt x="1676506" y="2432274"/>
                  <a:pt x="1699736" y="2472342"/>
                  <a:pt x="1723083" y="2510971"/>
                </a:cubicBezTo>
                <a:cubicBezTo>
                  <a:pt x="1734757" y="2530286"/>
                  <a:pt x="1746478" y="2549247"/>
                  <a:pt x="1758175" y="2567854"/>
                </a:cubicBezTo>
                <a:cubicBezTo>
                  <a:pt x="1769848" y="2586485"/>
                  <a:pt x="1781499" y="2604786"/>
                  <a:pt x="1793078" y="2622732"/>
                </a:cubicBezTo>
                <a:cubicBezTo>
                  <a:pt x="1816260" y="2658626"/>
                  <a:pt x="1839254" y="2693175"/>
                  <a:pt x="1860337" y="2727253"/>
                </a:cubicBezTo>
                <a:lnTo>
                  <a:pt x="1864913" y="2735159"/>
                </a:lnTo>
                <a:lnTo>
                  <a:pt x="1904891" y="2744181"/>
                </a:lnTo>
                <a:lnTo>
                  <a:pt x="1897196" y="2730908"/>
                </a:lnTo>
                <a:cubicBezTo>
                  <a:pt x="1876136" y="2696925"/>
                  <a:pt x="1853119" y="2662446"/>
                  <a:pt x="1829937" y="2626624"/>
                </a:cubicBezTo>
                <a:cubicBezTo>
                  <a:pt x="1818357" y="2608700"/>
                  <a:pt x="1806684" y="2590447"/>
                  <a:pt x="1795010" y="2571840"/>
                </a:cubicBezTo>
                <a:cubicBezTo>
                  <a:pt x="1783289" y="2553256"/>
                  <a:pt x="1771568" y="2534319"/>
                  <a:pt x="1759871" y="2515028"/>
                </a:cubicBezTo>
                <a:cubicBezTo>
                  <a:pt x="1736500" y="2476445"/>
                  <a:pt x="1713247" y="2436448"/>
                  <a:pt x="1690560" y="2394965"/>
                </a:cubicBezTo>
                <a:cubicBezTo>
                  <a:pt x="1599811" y="2229246"/>
                  <a:pt x="1518331" y="2038882"/>
                  <a:pt x="1475127" y="1827011"/>
                </a:cubicBezTo>
                <a:cubicBezTo>
                  <a:pt x="1431050" y="1615776"/>
                  <a:pt x="1428220" y="1382090"/>
                  <a:pt x="1473547" y="1145880"/>
                </a:cubicBezTo>
                <a:lnTo>
                  <a:pt x="1478146" y="1143687"/>
                </a:lnTo>
                <a:cubicBezTo>
                  <a:pt x="1432064" y="1379826"/>
                  <a:pt x="1434139" y="1613630"/>
                  <a:pt x="1477674" y="1825030"/>
                </a:cubicBezTo>
                <a:cubicBezTo>
                  <a:pt x="1520336" y="2037067"/>
                  <a:pt x="1601462" y="2227666"/>
                  <a:pt x="1692022" y="2393621"/>
                </a:cubicBezTo>
                <a:cubicBezTo>
                  <a:pt x="1714662" y="2435151"/>
                  <a:pt x="1737868" y="2475219"/>
                  <a:pt x="1761215" y="2513848"/>
                </a:cubicBezTo>
                <a:cubicBezTo>
                  <a:pt x="1772889" y="2533163"/>
                  <a:pt x="1784609" y="2552124"/>
                  <a:pt x="1796307" y="2570731"/>
                </a:cubicBezTo>
                <a:cubicBezTo>
                  <a:pt x="1807981" y="2589362"/>
                  <a:pt x="1819631" y="2607663"/>
                  <a:pt x="1831210" y="2625609"/>
                </a:cubicBezTo>
                <a:cubicBezTo>
                  <a:pt x="1854392" y="2661503"/>
                  <a:pt x="1877386" y="2696052"/>
                  <a:pt x="1898469" y="2730130"/>
                </a:cubicBezTo>
                <a:lnTo>
                  <a:pt x="1906857" y="2744624"/>
                </a:lnTo>
                <a:lnTo>
                  <a:pt x="1942223" y="2752605"/>
                </a:lnTo>
                <a:lnTo>
                  <a:pt x="1949237" y="2753674"/>
                </a:lnTo>
                <a:lnTo>
                  <a:pt x="1930242" y="2720909"/>
                </a:lnTo>
                <a:cubicBezTo>
                  <a:pt x="1909182" y="2686926"/>
                  <a:pt x="1886165" y="2652447"/>
                  <a:pt x="1862983" y="2616625"/>
                </a:cubicBezTo>
                <a:cubicBezTo>
                  <a:pt x="1851403" y="2598701"/>
                  <a:pt x="1839729" y="2580448"/>
                  <a:pt x="1828056" y="2561841"/>
                </a:cubicBezTo>
                <a:cubicBezTo>
                  <a:pt x="1816335" y="2543257"/>
                  <a:pt x="1804614" y="2524320"/>
                  <a:pt x="1792917" y="2505029"/>
                </a:cubicBezTo>
                <a:cubicBezTo>
                  <a:pt x="1769546" y="2466446"/>
                  <a:pt x="1746293" y="2426449"/>
                  <a:pt x="1723606" y="2384966"/>
                </a:cubicBezTo>
                <a:cubicBezTo>
                  <a:pt x="1632857" y="2219247"/>
                  <a:pt x="1551377" y="2028883"/>
                  <a:pt x="1508173" y="1817020"/>
                </a:cubicBezTo>
                <a:cubicBezTo>
                  <a:pt x="1464096" y="1605785"/>
                  <a:pt x="1461266" y="1372098"/>
                  <a:pt x="1506593" y="1135887"/>
                </a:cubicBezTo>
                <a:lnTo>
                  <a:pt x="1511192" y="1133694"/>
                </a:lnTo>
                <a:cubicBezTo>
                  <a:pt x="1465110" y="1369834"/>
                  <a:pt x="1467185" y="1603639"/>
                  <a:pt x="1510720" y="1815039"/>
                </a:cubicBezTo>
                <a:cubicBezTo>
                  <a:pt x="1553382" y="2027067"/>
                  <a:pt x="1634508" y="2217667"/>
                  <a:pt x="1725068" y="2383622"/>
                </a:cubicBezTo>
                <a:cubicBezTo>
                  <a:pt x="1747684" y="2425152"/>
                  <a:pt x="1770914" y="2465220"/>
                  <a:pt x="1794261" y="2503849"/>
                </a:cubicBezTo>
                <a:cubicBezTo>
                  <a:pt x="1805935" y="2523164"/>
                  <a:pt x="1817655" y="2542125"/>
                  <a:pt x="1829353" y="2560732"/>
                </a:cubicBezTo>
                <a:cubicBezTo>
                  <a:pt x="1841027" y="2579363"/>
                  <a:pt x="1852677" y="2597664"/>
                  <a:pt x="1864256" y="2615610"/>
                </a:cubicBezTo>
                <a:cubicBezTo>
                  <a:pt x="1887438" y="2651504"/>
                  <a:pt x="1910432" y="2686053"/>
                  <a:pt x="1931515" y="2720131"/>
                </a:cubicBezTo>
                <a:lnTo>
                  <a:pt x="1951090" y="2753957"/>
                </a:lnTo>
                <a:lnTo>
                  <a:pt x="1962339" y="2755671"/>
                </a:lnTo>
                <a:cubicBezTo>
                  <a:pt x="1965641" y="2756119"/>
                  <a:pt x="1968895" y="2756543"/>
                  <a:pt x="1972126" y="2756944"/>
                </a:cubicBezTo>
                <a:cubicBezTo>
                  <a:pt x="1975357" y="2757321"/>
                  <a:pt x="1978541" y="2757652"/>
                  <a:pt x="1981701" y="2757982"/>
                </a:cubicBezTo>
                <a:lnTo>
                  <a:pt x="1988884" y="2758613"/>
                </a:lnTo>
                <a:lnTo>
                  <a:pt x="1966985" y="2720838"/>
                </a:lnTo>
                <a:cubicBezTo>
                  <a:pt x="1945925" y="2686855"/>
                  <a:pt x="1922908" y="2652376"/>
                  <a:pt x="1899725" y="2616553"/>
                </a:cubicBezTo>
                <a:cubicBezTo>
                  <a:pt x="1888146" y="2598630"/>
                  <a:pt x="1876472" y="2580377"/>
                  <a:pt x="1864799" y="2561770"/>
                </a:cubicBezTo>
                <a:cubicBezTo>
                  <a:pt x="1853078" y="2543186"/>
                  <a:pt x="1841357" y="2524249"/>
                  <a:pt x="1829660" y="2504958"/>
                </a:cubicBezTo>
                <a:cubicBezTo>
                  <a:pt x="1806289" y="2466375"/>
                  <a:pt x="1783036" y="2426378"/>
                  <a:pt x="1760349" y="2384896"/>
                </a:cubicBezTo>
                <a:cubicBezTo>
                  <a:pt x="1669600" y="2219176"/>
                  <a:pt x="1588120" y="2028812"/>
                  <a:pt x="1544916" y="1816949"/>
                </a:cubicBezTo>
                <a:cubicBezTo>
                  <a:pt x="1500839" y="1605713"/>
                  <a:pt x="1498009" y="1372026"/>
                  <a:pt x="1543336" y="1135815"/>
                </a:cubicBezTo>
                <a:lnTo>
                  <a:pt x="1547935" y="1133622"/>
                </a:lnTo>
                <a:cubicBezTo>
                  <a:pt x="1501853" y="1369763"/>
                  <a:pt x="1503928" y="1603568"/>
                  <a:pt x="1547463" y="1814968"/>
                </a:cubicBezTo>
                <a:cubicBezTo>
                  <a:pt x="1590125" y="2026997"/>
                  <a:pt x="1671251" y="2217596"/>
                  <a:pt x="1761811" y="2383551"/>
                </a:cubicBezTo>
                <a:cubicBezTo>
                  <a:pt x="1784451" y="2425081"/>
                  <a:pt x="1807657" y="2465149"/>
                  <a:pt x="1831004" y="2503779"/>
                </a:cubicBezTo>
                <a:cubicBezTo>
                  <a:pt x="1842678" y="2523093"/>
                  <a:pt x="1854399" y="2542054"/>
                  <a:pt x="1866096" y="2560661"/>
                </a:cubicBezTo>
                <a:cubicBezTo>
                  <a:pt x="1877769" y="2579292"/>
                  <a:pt x="1889420" y="2597592"/>
                  <a:pt x="1900999" y="2615539"/>
                </a:cubicBezTo>
                <a:cubicBezTo>
                  <a:pt x="1924181" y="2651433"/>
                  <a:pt x="1947175" y="2685982"/>
                  <a:pt x="1968258" y="2720060"/>
                </a:cubicBezTo>
                <a:lnTo>
                  <a:pt x="1990659" y="2758770"/>
                </a:lnTo>
                <a:lnTo>
                  <a:pt x="1991087" y="2758807"/>
                </a:lnTo>
                <a:cubicBezTo>
                  <a:pt x="1994153" y="2758996"/>
                  <a:pt x="1997195" y="2759161"/>
                  <a:pt x="2000214" y="2759303"/>
                </a:cubicBezTo>
                <a:cubicBezTo>
                  <a:pt x="2006228" y="2759562"/>
                  <a:pt x="2012123" y="2759680"/>
                  <a:pt x="2017878" y="2759656"/>
                </a:cubicBezTo>
                <a:lnTo>
                  <a:pt x="2026037" y="2758598"/>
                </a:lnTo>
                <a:lnTo>
                  <a:pt x="2002384" y="2717797"/>
                </a:lnTo>
                <a:cubicBezTo>
                  <a:pt x="1981324" y="2683813"/>
                  <a:pt x="1958307" y="2649334"/>
                  <a:pt x="1935124" y="2613511"/>
                </a:cubicBezTo>
                <a:cubicBezTo>
                  <a:pt x="1923545" y="2595588"/>
                  <a:pt x="1911871" y="2577335"/>
                  <a:pt x="1900198" y="2558728"/>
                </a:cubicBezTo>
                <a:cubicBezTo>
                  <a:pt x="1888477" y="2540144"/>
                  <a:pt x="1876756" y="2521207"/>
                  <a:pt x="1865059" y="2501916"/>
                </a:cubicBezTo>
                <a:cubicBezTo>
                  <a:pt x="1841688" y="2463334"/>
                  <a:pt x="1818435" y="2423336"/>
                  <a:pt x="1795748" y="2381853"/>
                </a:cubicBezTo>
                <a:cubicBezTo>
                  <a:pt x="1704999" y="2216134"/>
                  <a:pt x="1623519" y="2025770"/>
                  <a:pt x="1580315" y="1813908"/>
                </a:cubicBezTo>
                <a:cubicBezTo>
                  <a:pt x="1536238" y="1602673"/>
                  <a:pt x="1533408" y="1368986"/>
                  <a:pt x="1578735" y="1132774"/>
                </a:cubicBezTo>
                <a:lnTo>
                  <a:pt x="1583334" y="1130582"/>
                </a:lnTo>
                <a:cubicBezTo>
                  <a:pt x="1537252" y="1366722"/>
                  <a:pt x="1539328" y="1600527"/>
                  <a:pt x="1582862" y="1811927"/>
                </a:cubicBezTo>
                <a:cubicBezTo>
                  <a:pt x="1625524" y="2023954"/>
                  <a:pt x="1706650" y="2214554"/>
                  <a:pt x="1797210" y="2380509"/>
                </a:cubicBezTo>
                <a:cubicBezTo>
                  <a:pt x="1819826" y="2422039"/>
                  <a:pt x="1843056" y="2462107"/>
                  <a:pt x="1866403" y="2500737"/>
                </a:cubicBezTo>
                <a:cubicBezTo>
                  <a:pt x="1878077" y="2520051"/>
                  <a:pt x="1889798" y="2539012"/>
                  <a:pt x="1901495" y="2557619"/>
                </a:cubicBezTo>
                <a:cubicBezTo>
                  <a:pt x="1913168" y="2576250"/>
                  <a:pt x="1924819" y="2594551"/>
                  <a:pt x="1936398" y="2612497"/>
                </a:cubicBezTo>
                <a:cubicBezTo>
                  <a:pt x="1959580" y="2648391"/>
                  <a:pt x="1982574" y="2682941"/>
                  <a:pt x="2003657" y="2717018"/>
                </a:cubicBezTo>
                <a:lnTo>
                  <a:pt x="2027602" y="2758395"/>
                </a:lnTo>
                <a:lnTo>
                  <a:pt x="2059311" y="2754282"/>
                </a:lnTo>
                <a:lnTo>
                  <a:pt x="2038748" y="2718810"/>
                </a:lnTo>
                <a:cubicBezTo>
                  <a:pt x="2017688" y="2684827"/>
                  <a:pt x="1994671" y="2650348"/>
                  <a:pt x="1971488" y="2614526"/>
                </a:cubicBezTo>
                <a:cubicBezTo>
                  <a:pt x="1959909" y="2596602"/>
                  <a:pt x="1948235" y="2578349"/>
                  <a:pt x="1936562" y="2559742"/>
                </a:cubicBezTo>
                <a:cubicBezTo>
                  <a:pt x="1924841" y="2541158"/>
                  <a:pt x="1913120" y="2522221"/>
                  <a:pt x="1901423" y="2502930"/>
                </a:cubicBezTo>
                <a:cubicBezTo>
                  <a:pt x="1878052" y="2464347"/>
                  <a:pt x="1854799" y="2424350"/>
                  <a:pt x="1832112" y="2382867"/>
                </a:cubicBezTo>
                <a:cubicBezTo>
                  <a:pt x="1741363" y="2217148"/>
                  <a:pt x="1659883" y="2026784"/>
                  <a:pt x="1616679" y="1814920"/>
                </a:cubicBezTo>
                <a:cubicBezTo>
                  <a:pt x="1572602" y="1603685"/>
                  <a:pt x="1569772" y="1369997"/>
                  <a:pt x="1615099" y="1133787"/>
                </a:cubicBezTo>
                <a:lnTo>
                  <a:pt x="1619698" y="1131594"/>
                </a:lnTo>
                <a:cubicBezTo>
                  <a:pt x="1573616" y="1367733"/>
                  <a:pt x="1575691" y="1601538"/>
                  <a:pt x="1619226" y="1812939"/>
                </a:cubicBezTo>
                <a:cubicBezTo>
                  <a:pt x="1661888" y="2024969"/>
                  <a:pt x="1743014" y="2215568"/>
                  <a:pt x="1833574" y="2381523"/>
                </a:cubicBezTo>
                <a:cubicBezTo>
                  <a:pt x="1856190" y="2423053"/>
                  <a:pt x="1879420" y="2463121"/>
                  <a:pt x="1902767" y="2501750"/>
                </a:cubicBezTo>
                <a:cubicBezTo>
                  <a:pt x="1914441" y="2521065"/>
                  <a:pt x="1926162" y="2540026"/>
                  <a:pt x="1937859" y="2558633"/>
                </a:cubicBezTo>
                <a:cubicBezTo>
                  <a:pt x="1949532" y="2577264"/>
                  <a:pt x="1961183" y="2595565"/>
                  <a:pt x="1972762" y="2613511"/>
                </a:cubicBezTo>
                <a:cubicBezTo>
                  <a:pt x="1995944" y="2649405"/>
                  <a:pt x="2018938" y="2683954"/>
                  <a:pt x="2040021" y="2718032"/>
                </a:cubicBezTo>
                <a:lnTo>
                  <a:pt x="2060881" y="2754078"/>
                </a:lnTo>
                <a:lnTo>
                  <a:pt x="2079689" y="2751638"/>
                </a:lnTo>
                <a:lnTo>
                  <a:pt x="2090551" y="2746739"/>
                </a:lnTo>
                <a:lnTo>
                  <a:pt x="2075796" y="2721287"/>
                </a:lnTo>
                <a:cubicBezTo>
                  <a:pt x="2054736" y="2687303"/>
                  <a:pt x="2031719" y="2652824"/>
                  <a:pt x="2008536" y="2617001"/>
                </a:cubicBezTo>
                <a:cubicBezTo>
                  <a:pt x="1996957" y="2599078"/>
                  <a:pt x="1985283" y="2580825"/>
                  <a:pt x="1973610" y="2562218"/>
                </a:cubicBezTo>
                <a:cubicBezTo>
                  <a:pt x="1961889" y="2543634"/>
                  <a:pt x="1950168" y="2524697"/>
                  <a:pt x="1938471" y="2505406"/>
                </a:cubicBezTo>
                <a:cubicBezTo>
                  <a:pt x="1915100" y="2466824"/>
                  <a:pt x="1891847" y="2426826"/>
                  <a:pt x="1869160" y="2385344"/>
                </a:cubicBezTo>
                <a:cubicBezTo>
                  <a:pt x="1778411" y="2219624"/>
                  <a:pt x="1696931" y="2029260"/>
                  <a:pt x="1653727" y="1817394"/>
                </a:cubicBezTo>
                <a:cubicBezTo>
                  <a:pt x="1609650" y="1606159"/>
                  <a:pt x="1606820" y="1372472"/>
                  <a:pt x="1652147" y="1136262"/>
                </a:cubicBezTo>
                <a:lnTo>
                  <a:pt x="1656746" y="1134069"/>
                </a:lnTo>
                <a:cubicBezTo>
                  <a:pt x="1610664" y="1370208"/>
                  <a:pt x="1612739" y="1604013"/>
                  <a:pt x="1656274" y="1815413"/>
                </a:cubicBezTo>
                <a:cubicBezTo>
                  <a:pt x="1698936" y="2027445"/>
                  <a:pt x="1780062" y="2218044"/>
                  <a:pt x="1870622" y="2383999"/>
                </a:cubicBezTo>
                <a:cubicBezTo>
                  <a:pt x="1893238" y="2425529"/>
                  <a:pt x="1916468" y="2465597"/>
                  <a:pt x="1939815" y="2504226"/>
                </a:cubicBezTo>
                <a:cubicBezTo>
                  <a:pt x="1951489" y="2523541"/>
                  <a:pt x="1963210" y="2542502"/>
                  <a:pt x="1974907" y="2561109"/>
                </a:cubicBezTo>
                <a:cubicBezTo>
                  <a:pt x="1986580" y="2579740"/>
                  <a:pt x="1998231" y="2598041"/>
                  <a:pt x="2009810" y="2615987"/>
                </a:cubicBezTo>
                <a:cubicBezTo>
                  <a:pt x="2032992" y="2651881"/>
                  <a:pt x="2055986" y="2686430"/>
                  <a:pt x="2077069" y="2720508"/>
                </a:cubicBezTo>
                <a:lnTo>
                  <a:pt x="2091897" y="2746131"/>
                </a:lnTo>
                <a:lnTo>
                  <a:pt x="2103791" y="2740766"/>
                </a:lnTo>
                <a:lnTo>
                  <a:pt x="2105137" y="2739464"/>
                </a:lnTo>
                <a:lnTo>
                  <a:pt x="2100934" y="2728197"/>
                </a:lnTo>
                <a:cubicBezTo>
                  <a:pt x="2092633" y="2711028"/>
                  <a:pt x="2083082" y="2693907"/>
                  <a:pt x="2073106" y="2676597"/>
                </a:cubicBezTo>
                <a:cubicBezTo>
                  <a:pt x="2053107" y="2641977"/>
                  <a:pt x="2031175" y="2606814"/>
                  <a:pt x="2009101" y="2570284"/>
                </a:cubicBezTo>
                <a:cubicBezTo>
                  <a:pt x="1998088" y="2552007"/>
                  <a:pt x="1986980" y="2533399"/>
                  <a:pt x="1975896" y="2514438"/>
                </a:cubicBezTo>
                <a:cubicBezTo>
                  <a:pt x="1964765" y="2495501"/>
                  <a:pt x="1953633" y="2476210"/>
                  <a:pt x="1942549" y="2456565"/>
                </a:cubicBezTo>
                <a:cubicBezTo>
                  <a:pt x="1920381" y="2417276"/>
                  <a:pt x="1898378" y="2376571"/>
                  <a:pt x="1876988" y="2334404"/>
                </a:cubicBezTo>
                <a:cubicBezTo>
                  <a:pt x="1791404" y="2165949"/>
                  <a:pt x="1715867" y="1973180"/>
                  <a:pt x="1679243" y="1760062"/>
                </a:cubicBezTo>
                <a:cubicBezTo>
                  <a:pt x="1641722" y="1547578"/>
                  <a:pt x="1646132" y="1313891"/>
                  <a:pt x="1698746" y="1079214"/>
                </a:cubicBezTo>
                <a:lnTo>
                  <a:pt x="1703368" y="1077115"/>
                </a:lnTo>
                <a:cubicBezTo>
                  <a:pt x="1649976" y="1311721"/>
                  <a:pt x="1644811" y="1545479"/>
                  <a:pt x="1681790" y="1758129"/>
                </a:cubicBezTo>
                <a:cubicBezTo>
                  <a:pt x="1717872" y="1971388"/>
                  <a:pt x="1793055" y="2164416"/>
                  <a:pt x="1878450" y="2333083"/>
                </a:cubicBezTo>
                <a:cubicBezTo>
                  <a:pt x="1899793" y="2375321"/>
                  <a:pt x="1921749" y="2416073"/>
                  <a:pt x="1943894" y="2455410"/>
                </a:cubicBezTo>
                <a:cubicBezTo>
                  <a:pt x="1954954" y="2475078"/>
                  <a:pt x="1966085" y="2494393"/>
                  <a:pt x="1977193" y="2513354"/>
                </a:cubicBezTo>
                <a:cubicBezTo>
                  <a:pt x="1988277" y="2532338"/>
                  <a:pt x="1999361" y="2550992"/>
                  <a:pt x="2010375" y="2569293"/>
                </a:cubicBezTo>
                <a:cubicBezTo>
                  <a:pt x="2032449" y="2605871"/>
                  <a:pt x="2054357" y="2641128"/>
                  <a:pt x="2074379" y="2675842"/>
                </a:cubicBezTo>
                <a:lnTo>
                  <a:pt x="2092002" y="2708584"/>
                </a:lnTo>
                <a:lnTo>
                  <a:pt x="2076716" y="2660607"/>
                </a:lnTo>
                <a:cubicBezTo>
                  <a:pt x="2069264" y="2643061"/>
                  <a:pt x="2060562" y="2625468"/>
                  <a:pt x="2051435" y="2607710"/>
                </a:cubicBezTo>
                <a:cubicBezTo>
                  <a:pt x="2033158" y="2572170"/>
                  <a:pt x="2012947" y="2535970"/>
                  <a:pt x="1992689" y="2498402"/>
                </a:cubicBezTo>
                <a:cubicBezTo>
                  <a:pt x="1982548" y="2479606"/>
                  <a:pt x="1972384" y="2460480"/>
                  <a:pt x="1962220" y="2441000"/>
                </a:cubicBezTo>
                <a:cubicBezTo>
                  <a:pt x="1952032" y="2421544"/>
                  <a:pt x="1941844" y="2401758"/>
                  <a:pt x="1931727" y="2381594"/>
                </a:cubicBezTo>
                <a:cubicBezTo>
                  <a:pt x="1911492" y="2341267"/>
                  <a:pt x="1891494" y="2299548"/>
                  <a:pt x="1872179" y="2256391"/>
                </a:cubicBezTo>
                <a:cubicBezTo>
                  <a:pt x="1794873" y="2083974"/>
                  <a:pt x="1728817" y="1887738"/>
                  <a:pt x="1702592" y="1673113"/>
                </a:cubicBezTo>
                <a:cubicBezTo>
                  <a:pt x="1675448" y="1459048"/>
                  <a:pt x="1691201" y="1225856"/>
                  <a:pt x="1755183" y="994009"/>
                </a:cubicBezTo>
                <a:lnTo>
                  <a:pt x="1759923" y="992122"/>
                </a:lnTo>
                <a:cubicBezTo>
                  <a:pt x="1695187" y="1223852"/>
                  <a:pt x="1678655" y="1457066"/>
                  <a:pt x="1705257" y="1671274"/>
                </a:cubicBezTo>
                <a:cubicBezTo>
                  <a:pt x="1730915" y="1886040"/>
                  <a:pt x="1796642" y="2082488"/>
                  <a:pt x="1873712" y="2255117"/>
                </a:cubicBezTo>
                <a:cubicBezTo>
                  <a:pt x="1892956" y="2298345"/>
                  <a:pt x="1912907" y="2340111"/>
                  <a:pt x="1933118" y="2380486"/>
                </a:cubicBezTo>
                <a:cubicBezTo>
                  <a:pt x="1943212" y="2400673"/>
                  <a:pt x="1953376" y="2420506"/>
                  <a:pt x="1963564" y="2439986"/>
                </a:cubicBezTo>
                <a:cubicBezTo>
                  <a:pt x="1973705" y="2459513"/>
                  <a:pt x="1983869" y="2478663"/>
                  <a:pt x="1993986" y="2497482"/>
                </a:cubicBezTo>
                <a:cubicBezTo>
                  <a:pt x="2014244" y="2535097"/>
                  <a:pt x="2034408" y="2571368"/>
                  <a:pt x="2052732" y="2607026"/>
                </a:cubicBezTo>
                <a:cubicBezTo>
                  <a:pt x="2061859" y="2624855"/>
                  <a:pt x="2070608" y="2642519"/>
                  <a:pt x="2078084" y="2660159"/>
                </a:cubicBezTo>
                <a:cubicBezTo>
                  <a:pt x="2085536" y="2677776"/>
                  <a:pt x="2091927" y="2695463"/>
                  <a:pt x="2094875" y="2712915"/>
                </a:cubicBezTo>
                <a:lnTo>
                  <a:pt x="2094337" y="2712923"/>
                </a:lnTo>
                <a:lnTo>
                  <a:pt x="2102278" y="2727678"/>
                </a:lnTo>
                <a:lnTo>
                  <a:pt x="2106265" y="2738374"/>
                </a:lnTo>
                <a:lnTo>
                  <a:pt x="2120984" y="2724140"/>
                </a:lnTo>
                <a:cubicBezTo>
                  <a:pt x="2129733" y="2711098"/>
                  <a:pt x="2131525" y="2694213"/>
                  <a:pt x="2129049" y="2676997"/>
                </a:cubicBezTo>
                <a:cubicBezTo>
                  <a:pt x="2126620" y="2659687"/>
                  <a:pt x="2120771" y="2641952"/>
                  <a:pt x="2113838" y="2624218"/>
                </a:cubicBezTo>
                <a:cubicBezTo>
                  <a:pt x="2106881" y="2606460"/>
                  <a:pt x="2098650" y="2588654"/>
                  <a:pt x="2090042" y="2570637"/>
                </a:cubicBezTo>
                <a:cubicBezTo>
                  <a:pt x="2072756" y="2534602"/>
                  <a:pt x="2053583" y="2497835"/>
                  <a:pt x="2034362" y="2459748"/>
                </a:cubicBezTo>
                <a:cubicBezTo>
                  <a:pt x="2024764" y="2440693"/>
                  <a:pt x="2015118" y="2421284"/>
                  <a:pt x="2005520" y="2401521"/>
                </a:cubicBezTo>
                <a:cubicBezTo>
                  <a:pt x="1995875" y="2381782"/>
                  <a:pt x="1986253" y="2361713"/>
                  <a:pt x="1976701" y="2341266"/>
                </a:cubicBezTo>
                <a:cubicBezTo>
                  <a:pt x="1957599" y="2300397"/>
                  <a:pt x="1938780" y="2258136"/>
                  <a:pt x="1920691" y="2214459"/>
                </a:cubicBezTo>
                <a:cubicBezTo>
                  <a:pt x="1848267" y="2039943"/>
                  <a:pt x="1787705" y="1841947"/>
                  <a:pt x="1767495" y="1626656"/>
                </a:cubicBezTo>
                <a:cubicBezTo>
                  <a:pt x="1746341" y="1411906"/>
                  <a:pt x="1768627" y="1179256"/>
                  <a:pt x="1839046" y="949295"/>
                </a:cubicBezTo>
                <a:cubicBezTo>
                  <a:pt x="1856403" y="891894"/>
                  <a:pt x="1876496" y="834775"/>
                  <a:pt x="1898759" y="778435"/>
                </a:cubicBezTo>
                <a:cubicBezTo>
                  <a:pt x="1921139" y="722046"/>
                  <a:pt x="1945737" y="666461"/>
                  <a:pt x="1971796" y="612173"/>
                </a:cubicBezTo>
                <a:cubicBezTo>
                  <a:pt x="1998186" y="557837"/>
                  <a:pt x="2026297" y="504634"/>
                  <a:pt x="2058653" y="452845"/>
                </a:cubicBezTo>
                <a:cubicBezTo>
                  <a:pt x="2074926" y="426951"/>
                  <a:pt x="2092283" y="401410"/>
                  <a:pt x="2112446" y="376435"/>
                </a:cubicBezTo>
                <a:cubicBezTo>
                  <a:pt x="2122540" y="363983"/>
                  <a:pt x="2133294" y="351697"/>
                  <a:pt x="2145133" y="339763"/>
                </a:cubicBezTo>
                <a:cubicBezTo>
                  <a:pt x="2156995" y="327854"/>
                  <a:pt x="2169919" y="316369"/>
                  <a:pt x="2183904" y="305780"/>
                </a:cubicBezTo>
                <a:cubicBezTo>
                  <a:pt x="2197865" y="295215"/>
                  <a:pt x="2212864" y="285616"/>
                  <a:pt x="2228193" y="277386"/>
                </a:cubicBezTo>
                <a:cubicBezTo>
                  <a:pt x="2243498" y="269108"/>
                  <a:pt x="2259111" y="262104"/>
                  <a:pt x="2274581" y="256043"/>
                </a:cubicBezTo>
                <a:cubicBezTo>
                  <a:pt x="2290052" y="249959"/>
                  <a:pt x="2305546" y="244770"/>
                  <a:pt x="2320804" y="240124"/>
                </a:cubicBezTo>
                <a:cubicBezTo>
                  <a:pt x="2336157" y="235408"/>
                  <a:pt x="2351368" y="231328"/>
                  <a:pt x="2366603" y="227437"/>
                </a:cubicBezTo>
                <a:cubicBezTo>
                  <a:pt x="2397072" y="219748"/>
                  <a:pt x="2427471" y="213145"/>
                  <a:pt x="2458389" y="206754"/>
                </a:cubicBezTo>
                <a:cubicBezTo>
                  <a:pt x="2489306" y="200363"/>
                  <a:pt x="2520648" y="194302"/>
                  <a:pt x="2552769" y="188218"/>
                </a:cubicBezTo>
                <a:cubicBezTo>
                  <a:pt x="2680991" y="164493"/>
                  <a:pt x="2822416" y="138410"/>
                  <a:pt x="2991204" y="112233"/>
                </a:cubicBezTo>
                <a:cubicBezTo>
                  <a:pt x="3160620" y="86220"/>
                  <a:pt x="3356243" y="60066"/>
                  <a:pt x="3604928" y="38818"/>
                </a:cubicBezTo>
                <a:cubicBezTo>
                  <a:pt x="3854297" y="17758"/>
                  <a:pt x="4156870" y="1226"/>
                  <a:pt x="4556794" y="0"/>
                </a:cubicBezTo>
                <a:close/>
              </a:path>
            </a:pathLst>
          </a:custGeom>
          <a:gradFill flip="none" rotWithShape="1">
            <a:gsLst>
              <a:gs pos="64000">
                <a:schemeClr val="tx1">
                  <a:alpha val="0"/>
                </a:schemeClr>
              </a:gs>
              <a:gs pos="1000">
                <a:schemeClr val="tx1">
                  <a:alpha val="0"/>
                </a:schemeClr>
              </a:gs>
              <a:gs pos="47000">
                <a:schemeClr val="tx1">
                  <a:lumMod val="60000"/>
                  <a:lumOff val="40000"/>
                  <a:alpha val="29000"/>
                </a:schemeClr>
              </a:gs>
            </a:gsLst>
            <a:lin ang="10800000" scaled="1"/>
            <a:tileRect/>
          </a:gradFill>
          <a:ln w="2358" cap="flat">
            <a:noFill/>
            <a:prstDash val="solid"/>
            <a:miter/>
          </a:ln>
        </p:spPr>
        <p:txBody>
          <a:bodyPr rtlCol="0" anchor="ctr"/>
          <a:lstStyle/>
          <a:p>
            <a:endParaRPr lang="en-US" sz="2400"/>
          </a:p>
        </p:txBody>
      </p:sp>
      <p:sp>
        <p:nvSpPr>
          <p:cNvPr id="10" name="Text Placeholder 9">
            <a:extLst>
              <a:ext uri="{FF2B5EF4-FFF2-40B4-BE49-F238E27FC236}">
                <a16:creationId xmlns:a16="http://schemas.microsoft.com/office/drawing/2014/main" id="{DB6FC22D-6295-4A49-BC29-503E7C2A5F37}"/>
              </a:ext>
            </a:extLst>
          </p:cNvPr>
          <p:cNvSpPr>
            <a:spLocks noGrp="1"/>
          </p:cNvSpPr>
          <p:nvPr>
            <p:ph type="body" sz="quarter" idx="10"/>
          </p:nvPr>
        </p:nvSpPr>
        <p:spPr>
          <a:xfrm>
            <a:off x="5723348" y="736600"/>
            <a:ext cx="5960653" cy="4150784"/>
          </a:xfrm>
        </p:spPr>
        <p:txBody>
          <a:bodyPr>
            <a:normAutofit/>
          </a:bodyPr>
          <a:lstStyle>
            <a:lvl1pPr marL="0" indent="383108">
              <a:spcAft>
                <a:spcPts val="2400"/>
              </a:spcAft>
              <a:buFontTx/>
              <a:buBlip>
                <a:blip r:embed="rId3"/>
              </a:buBlip>
              <a:tabLst/>
              <a:defRPr sz="2133">
                <a:solidFill>
                  <a:schemeClr val="accent5"/>
                </a:solidFill>
                <a:latin typeface="+mn-lt"/>
              </a:defRPr>
            </a:lvl1pPr>
            <a:lvl2pPr marL="0" indent="383108">
              <a:spcAft>
                <a:spcPts val="2400"/>
              </a:spcAft>
              <a:buFontTx/>
              <a:buBlip>
                <a:blip r:embed="rId3"/>
              </a:buBlip>
              <a:tabLst/>
              <a:defRPr sz="2133">
                <a:solidFill>
                  <a:schemeClr val="accent5"/>
                </a:solidFill>
                <a:latin typeface="+mn-lt"/>
              </a:defRPr>
            </a:lvl2pPr>
            <a:lvl3pPr marL="0" indent="383108">
              <a:spcAft>
                <a:spcPts val="2400"/>
              </a:spcAft>
              <a:buFontTx/>
              <a:buBlip>
                <a:blip r:embed="rId3"/>
              </a:buBlip>
              <a:tabLst/>
              <a:defRPr sz="2133">
                <a:solidFill>
                  <a:schemeClr val="accent5"/>
                </a:solidFill>
                <a:latin typeface="+mn-lt"/>
              </a:defRPr>
            </a:lvl3pPr>
            <a:lvl4pPr marL="0" indent="383108">
              <a:spcAft>
                <a:spcPts val="2400"/>
              </a:spcAft>
              <a:buFontTx/>
              <a:buBlip>
                <a:blip r:embed="rId3"/>
              </a:buBlip>
              <a:tabLst/>
              <a:defRPr sz="2133">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44963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8" name="Circle">
            <a:extLst>
              <a:ext uri="{FF2B5EF4-FFF2-40B4-BE49-F238E27FC236}">
                <a16:creationId xmlns:a16="http://schemas.microsoft.com/office/drawing/2014/main" id="{4970906B-47AF-9543-A23B-58EC8065A7D2}"/>
              </a:ext>
            </a:extLst>
          </p:cNvPr>
          <p:cNvGrpSpPr/>
          <p:nvPr userDrawn="1"/>
        </p:nvGrpSpPr>
        <p:grpSpPr>
          <a:xfrm>
            <a:off x="7531181" y="1611348"/>
            <a:ext cx="5980588" cy="5980288"/>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6016579" y="2019357"/>
            <a:ext cx="4998744" cy="2385119"/>
            <a:chOff x="4249552" y="1508350"/>
            <a:chExt cx="3733610" cy="1781557"/>
          </a:xfrm>
          <a:gradFill>
            <a:gsLst>
              <a:gs pos="100000">
                <a:srgbClr val="F8F3EF">
                  <a:alpha val="48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5551891" y="5442395"/>
            <a:ext cx="6773363" cy="144270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5551891" y="5367695"/>
            <a:ext cx="6773363" cy="1513069"/>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spTree>
    <p:extLst>
      <p:ext uri="{BB962C8B-B14F-4D97-AF65-F5344CB8AC3E}">
        <p14:creationId xmlns:p14="http://schemas.microsoft.com/office/powerpoint/2010/main" val="313166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5"/>
        </a:solidFill>
        <a:effectLst/>
      </p:bgPr>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02AC0961-BE31-2846-84A6-B6B95D379998}"/>
              </a:ext>
            </a:extLst>
          </p:cNvPr>
          <p:cNvSpPr/>
          <p:nvPr userDrawn="1"/>
        </p:nvSpPr>
        <p:spPr>
          <a:xfrm>
            <a:off x="4730837" y="0"/>
            <a:ext cx="7476903" cy="6858000"/>
          </a:xfrm>
          <a:prstGeom prst="rect">
            <a:avLst/>
          </a:prstGeom>
          <a:gradFill flip="none" rotWithShape="1">
            <a:gsLst>
              <a:gs pos="0">
                <a:schemeClr val="accent5"/>
              </a:gs>
              <a:gs pos="100000">
                <a:schemeClr val="accent5">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p>
        </p:txBody>
      </p:sp>
      <p:pic>
        <p:nvPicPr>
          <p:cNvPr id="20" name="Talend logo">
            <a:extLst>
              <a:ext uri="{FF2B5EF4-FFF2-40B4-BE49-F238E27FC236}">
                <a16:creationId xmlns:a16="http://schemas.microsoft.com/office/drawing/2014/main" id="{30AF0951-488D-8C4C-8FB0-50CD5477CA1E}"/>
              </a:ext>
            </a:extLst>
          </p:cNvPr>
          <p:cNvPicPr>
            <a:picLocks noChangeAspect="1"/>
          </p:cNvPicPr>
          <p:nvPr userDrawn="1"/>
        </p:nvPicPr>
        <p:blipFill>
          <a:blip r:embed="rId2"/>
          <a:stretch>
            <a:fillRect/>
          </a:stretch>
        </p:blipFill>
        <p:spPr>
          <a:xfrm>
            <a:off x="508229" y="563421"/>
            <a:ext cx="927403" cy="927401"/>
          </a:xfrm>
          <a:prstGeom prst="rect">
            <a:avLst/>
          </a:prstGeom>
        </p:spPr>
      </p:pic>
      <p:sp>
        <p:nvSpPr>
          <p:cNvPr id="56" name="x" hidden="1">
            <a:extLst>
              <a:ext uri="{FF2B5EF4-FFF2-40B4-BE49-F238E27FC236}">
                <a16:creationId xmlns:a16="http://schemas.microsoft.com/office/drawing/2014/main" id="{C6CD0EE7-202B-F645-B76F-87799039F6FE}"/>
              </a:ext>
            </a:extLst>
          </p:cNvPr>
          <p:cNvSpPr/>
          <p:nvPr userDrawn="1"/>
        </p:nvSpPr>
        <p:spPr>
          <a:xfrm>
            <a:off x="8585611" y="3548175"/>
            <a:ext cx="428444" cy="425701"/>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solidFill>
            <a:srgbClr val="378FCE">
              <a:alpha val="27498"/>
            </a:srgbClr>
          </a:solidFill>
          <a:ln w="6818" cap="flat">
            <a:noFill/>
            <a:prstDash val="solid"/>
            <a:miter/>
          </a:ln>
        </p:spPr>
        <p:txBody>
          <a:bodyPr rtlCol="0" anchor="ctr"/>
          <a:lstStyle/>
          <a:p>
            <a:endParaRPr lang="en-US" sz="1249"/>
          </a:p>
        </p:txBody>
      </p:sp>
      <p:sp>
        <p:nvSpPr>
          <p:cNvPr id="6" name="Subtitle 2">
            <a:extLst>
              <a:ext uri="{FF2B5EF4-FFF2-40B4-BE49-F238E27FC236}">
                <a16:creationId xmlns:a16="http://schemas.microsoft.com/office/drawing/2014/main" id="{1F27B5D1-5849-C347-A3F9-4E4DA8DC4B89}"/>
              </a:ext>
            </a:extLst>
          </p:cNvPr>
          <p:cNvSpPr>
            <a:spLocks noGrp="1"/>
          </p:cNvSpPr>
          <p:nvPr>
            <p:ph type="subTitle" idx="1" hasCustomPrompt="1"/>
          </p:nvPr>
        </p:nvSpPr>
        <p:spPr>
          <a:xfrm>
            <a:off x="507999" y="4914254"/>
            <a:ext cx="7998203" cy="332399"/>
          </a:xfrm>
          <a:prstGeom prst="rect">
            <a:avLst/>
          </a:prstGeom>
          <a:ln>
            <a:noFill/>
          </a:ln>
        </p:spPr>
        <p:txBody>
          <a:bodyPr wrap="square" tIns="0" bIns="0" anchor="t" anchorCtr="0">
            <a:normAutofit/>
          </a:bodyPr>
          <a:lstStyle>
            <a:lvl1pPr marL="0" indent="0" algn="l">
              <a:buNone/>
              <a:defRPr sz="2400" b="0" i="0" cap="none" baseline="0">
                <a:solidFill>
                  <a:schemeClr val="accent6"/>
                </a:solidFill>
                <a:latin typeface="+mn-lt"/>
                <a:ea typeface="Source Sans Pro" panose="020B0503030403020204" pitchFamily="34" charset="0"/>
                <a:cs typeface="Calibri" charset="0"/>
              </a:defRPr>
            </a:lvl1pPr>
            <a:lvl2pPr marL="609463" indent="0" algn="ctr">
              <a:buNone/>
              <a:defRPr>
                <a:solidFill>
                  <a:schemeClr val="tx1">
                    <a:tint val="75000"/>
                  </a:schemeClr>
                </a:solidFill>
              </a:defRPr>
            </a:lvl2pPr>
            <a:lvl3pPr marL="1218927" indent="0" algn="ctr">
              <a:buNone/>
              <a:defRPr>
                <a:solidFill>
                  <a:schemeClr val="tx1">
                    <a:tint val="75000"/>
                  </a:schemeClr>
                </a:solidFill>
              </a:defRPr>
            </a:lvl3pPr>
            <a:lvl4pPr marL="1828389" indent="0" algn="ctr">
              <a:buNone/>
              <a:defRPr>
                <a:solidFill>
                  <a:schemeClr val="tx1">
                    <a:tint val="75000"/>
                  </a:schemeClr>
                </a:solidFill>
              </a:defRPr>
            </a:lvl4pPr>
            <a:lvl5pPr marL="2437852" indent="0" algn="ctr">
              <a:buNone/>
              <a:defRPr>
                <a:solidFill>
                  <a:schemeClr val="tx1">
                    <a:tint val="75000"/>
                  </a:schemeClr>
                </a:solidFill>
              </a:defRPr>
            </a:lvl5pPr>
            <a:lvl6pPr marL="3047316" indent="0" algn="ctr">
              <a:buNone/>
              <a:defRPr>
                <a:solidFill>
                  <a:schemeClr val="tx1">
                    <a:tint val="75000"/>
                  </a:schemeClr>
                </a:solidFill>
              </a:defRPr>
            </a:lvl6pPr>
            <a:lvl7pPr marL="3656779" indent="0" algn="ctr">
              <a:buNone/>
              <a:defRPr>
                <a:solidFill>
                  <a:schemeClr val="tx1">
                    <a:tint val="75000"/>
                  </a:schemeClr>
                </a:solidFill>
              </a:defRPr>
            </a:lvl7pPr>
            <a:lvl8pPr marL="4266240" indent="0" algn="ctr">
              <a:buNone/>
              <a:defRPr>
                <a:solidFill>
                  <a:schemeClr val="tx1">
                    <a:tint val="75000"/>
                  </a:schemeClr>
                </a:solidFill>
              </a:defRPr>
            </a:lvl8pPr>
            <a:lvl9pPr marL="4875705" indent="0" algn="ctr">
              <a:buNone/>
              <a:defRPr>
                <a:solidFill>
                  <a:schemeClr val="tx1">
                    <a:tint val="75000"/>
                  </a:schemeClr>
                </a:solidFill>
              </a:defRPr>
            </a:lvl9pPr>
          </a:lstStyle>
          <a:p>
            <a:r>
              <a:rPr lang="en-US" dirty="0"/>
              <a:t>Subtitle</a:t>
            </a:r>
          </a:p>
        </p:txBody>
      </p:sp>
      <p:sp>
        <p:nvSpPr>
          <p:cNvPr id="5" name="Title 2">
            <a:extLst>
              <a:ext uri="{FF2B5EF4-FFF2-40B4-BE49-F238E27FC236}">
                <a16:creationId xmlns:a16="http://schemas.microsoft.com/office/drawing/2014/main" id="{DD211D6F-87B4-DC4E-ACB4-380162998ED2}"/>
              </a:ext>
            </a:extLst>
          </p:cNvPr>
          <p:cNvSpPr>
            <a:spLocks noGrp="1"/>
          </p:cNvSpPr>
          <p:nvPr>
            <p:ph type="title" hasCustomPrompt="1"/>
          </p:nvPr>
        </p:nvSpPr>
        <p:spPr>
          <a:xfrm>
            <a:off x="508002" y="2162015"/>
            <a:ext cx="5958996" cy="2752239"/>
          </a:xfrm>
        </p:spPr>
        <p:txBody>
          <a:bodyPr lIns="0" tIns="0" rIns="0" bIns="0" rtlCol="0" anchor="b" anchorCtr="0">
            <a:noAutofit/>
          </a:bodyPr>
          <a:lstStyle>
            <a:lvl1pPr algn="l">
              <a:defRPr lang="en-US" sz="7985" b="1" i="0" cap="none" baseline="0">
                <a:solidFill>
                  <a:schemeClr val="tx1">
                    <a:lumMod val="50000"/>
                  </a:schemeClr>
                </a:solidFill>
                <a:latin typeface="Source Sans Pro" panose="020B0503030403020204" pitchFamily="34" charset="0"/>
                <a:ea typeface="Source Sans Pro" panose="020B0503030403020204" pitchFamily="34" charset="0"/>
                <a:cs typeface="Calibri" charset="0"/>
              </a:defRPr>
            </a:lvl1pPr>
          </a:lstStyle>
          <a:p>
            <a:pPr lvl="0"/>
            <a:r>
              <a:rPr lang="en-US" dirty="0"/>
              <a:t>Presentation title</a:t>
            </a:r>
          </a:p>
        </p:txBody>
      </p:sp>
      <p:grpSp>
        <p:nvGrpSpPr>
          <p:cNvPr id="65" name="Group 64">
            <a:extLst>
              <a:ext uri="{FF2B5EF4-FFF2-40B4-BE49-F238E27FC236}">
                <a16:creationId xmlns:a16="http://schemas.microsoft.com/office/drawing/2014/main" id="{CC0EE77F-062F-7044-B649-E334A4557711}"/>
              </a:ext>
            </a:extLst>
          </p:cNvPr>
          <p:cNvGrpSpPr/>
          <p:nvPr userDrawn="1"/>
        </p:nvGrpSpPr>
        <p:grpSpPr>
          <a:xfrm>
            <a:off x="5551891" y="1"/>
            <a:ext cx="7959877" cy="7591636"/>
            <a:chOff x="7994577" y="0"/>
            <a:chExt cx="11462017" cy="10932307"/>
          </a:xfrm>
        </p:grpSpPr>
        <p:grpSp>
          <p:nvGrpSpPr>
            <p:cNvPr id="8" name="Circle">
              <a:extLst>
                <a:ext uri="{FF2B5EF4-FFF2-40B4-BE49-F238E27FC236}">
                  <a16:creationId xmlns:a16="http://schemas.microsoft.com/office/drawing/2014/main" id="{4970906B-47AF-9543-A23B-58EC8065A7D2}"/>
                </a:ext>
              </a:extLst>
            </p:cNvPr>
            <p:cNvGrpSpPr/>
            <p:nvPr userDrawn="1"/>
          </p:nvGrpSpPr>
          <p:grpSpPr>
            <a:xfrm>
              <a:off x="9956627" y="1432340"/>
              <a:ext cx="9499967" cy="9499967"/>
              <a:chOff x="5143500" y="742950"/>
              <a:chExt cx="4927600" cy="4927600"/>
            </a:xfrm>
          </p:grpSpPr>
          <p:sp>
            <p:nvSpPr>
              <p:cNvPr id="9" name="Oval 8">
                <a:extLst>
                  <a:ext uri="{FF2B5EF4-FFF2-40B4-BE49-F238E27FC236}">
                    <a16:creationId xmlns:a16="http://schemas.microsoft.com/office/drawing/2014/main" id="{7CA78CFA-0488-374D-BC61-21DF19D1FDC6}"/>
                  </a:ext>
                </a:extLst>
              </p:cNvPr>
              <p:cNvSpPr/>
              <p:nvPr/>
            </p:nvSpPr>
            <p:spPr>
              <a:xfrm>
                <a:off x="5143500" y="742950"/>
                <a:ext cx="4927600" cy="4927600"/>
              </a:xfrm>
              <a:prstGeom prst="ellipse">
                <a:avLst/>
              </a:prstGeom>
              <a:blipFill dpi="0" rotWithShape="1">
                <a:blip r:embed="rId3">
                  <a:alphaModFix amt="30000"/>
                  <a:extLst>
                    <a:ext uri="{BEBA8EAE-BF5A-486C-A8C5-ECC9F3942E4B}">
                      <a14:imgProps xmlns:a14="http://schemas.microsoft.com/office/drawing/2010/main">
                        <a14:imgLayer r:embed="rId4">
                          <a14:imgEffect>
                            <a14:sharpenSoften amount="65000"/>
                          </a14:imgEffect>
                          <a14:imgEffect>
                            <a14:colorTemperature colorTemp="2823"/>
                          </a14:imgEffect>
                        </a14:imgLayer>
                      </a14:imgProps>
                    </a:ext>
                  </a:extLst>
                </a:blip>
                <a:srcRect/>
                <a:tile tx="0" ty="0" sx="15000" sy="15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sp>
            <p:nvSpPr>
              <p:cNvPr id="10" name="Oval 9">
                <a:extLst>
                  <a:ext uri="{FF2B5EF4-FFF2-40B4-BE49-F238E27FC236}">
                    <a16:creationId xmlns:a16="http://schemas.microsoft.com/office/drawing/2014/main" id="{F1AF3E85-A582-D644-962A-69ACD66AD487}"/>
                  </a:ext>
                </a:extLst>
              </p:cNvPr>
              <p:cNvSpPr/>
              <p:nvPr/>
            </p:nvSpPr>
            <p:spPr>
              <a:xfrm>
                <a:off x="5143500" y="742950"/>
                <a:ext cx="4927600" cy="4927600"/>
              </a:xfrm>
              <a:prstGeom prst="ellipse">
                <a:avLst/>
              </a:prstGeom>
              <a:gradFill flip="none" rotWithShape="1">
                <a:gsLst>
                  <a:gs pos="0">
                    <a:srgbClr val="1475BA">
                      <a:alpha val="0"/>
                    </a:srgbClr>
                  </a:gs>
                  <a:gs pos="99000">
                    <a:srgbClr val="1475BA">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p>
            </p:txBody>
          </p:sp>
        </p:grpSp>
        <p:grpSp>
          <p:nvGrpSpPr>
            <p:cNvPr id="14" name="one lump">
              <a:extLst>
                <a:ext uri="{FF2B5EF4-FFF2-40B4-BE49-F238E27FC236}">
                  <a16:creationId xmlns:a16="http://schemas.microsoft.com/office/drawing/2014/main" id="{4CA3D591-3B0F-8948-88A0-ACCBF374FB5D}"/>
                </a:ext>
              </a:extLst>
            </p:cNvPr>
            <p:cNvGrpSpPr/>
            <p:nvPr userDrawn="1"/>
          </p:nvGrpSpPr>
          <p:grpSpPr>
            <a:xfrm rot="10800000">
              <a:off x="14016662" y="0"/>
              <a:ext cx="3562164" cy="4398387"/>
              <a:chOff x="2328672" y="2862072"/>
              <a:chExt cx="1847682" cy="2281428"/>
            </a:xfrm>
          </p:grpSpPr>
          <p:sp>
            <p:nvSpPr>
              <p:cNvPr id="15" name="Graphic 6" hidden="1">
                <a:extLst>
                  <a:ext uri="{FF2B5EF4-FFF2-40B4-BE49-F238E27FC236}">
                    <a16:creationId xmlns:a16="http://schemas.microsoft.com/office/drawing/2014/main" id="{918EB62E-DBF3-B948-B499-9E979886B8C6}"/>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noFill/>
              <a:ln w="6877" cap="flat">
                <a:noFill/>
                <a:prstDash val="solid"/>
                <a:miter/>
              </a:ln>
            </p:spPr>
            <p:txBody>
              <a:bodyPr rtlCol="0" anchor="ctr"/>
              <a:lstStyle/>
              <a:p>
                <a:endParaRPr lang="en-US" sz="1249"/>
              </a:p>
            </p:txBody>
          </p:sp>
          <p:sp>
            <p:nvSpPr>
              <p:cNvPr id="16" name="Graphic 6">
                <a:extLst>
                  <a:ext uri="{FF2B5EF4-FFF2-40B4-BE49-F238E27FC236}">
                    <a16:creationId xmlns:a16="http://schemas.microsoft.com/office/drawing/2014/main" id="{216FA2DA-94DF-9540-9EB3-655F51D1AC92}"/>
                  </a:ext>
                </a:extLst>
              </p:cNvPr>
              <p:cNvSpPr/>
              <p:nvPr/>
            </p:nvSpPr>
            <p:spPr>
              <a:xfrm>
                <a:off x="2328672" y="2862072"/>
                <a:ext cx="1847682" cy="2281428"/>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gradFill flip="none" rotWithShape="1">
                <a:gsLst>
                  <a:gs pos="0">
                    <a:srgbClr val="F9F8F6">
                      <a:alpha val="96000"/>
                    </a:srgbClr>
                  </a:gs>
                  <a:gs pos="94000">
                    <a:srgbClr val="F9F8F6">
                      <a:alpha val="0"/>
                    </a:srgbClr>
                  </a:gs>
                </a:gsLst>
                <a:lin ang="16200000" scaled="1"/>
                <a:tileRect/>
              </a:gradFill>
              <a:ln w="6877" cap="flat">
                <a:noFill/>
                <a:prstDash val="solid"/>
                <a:miter/>
              </a:ln>
            </p:spPr>
            <p:txBody>
              <a:bodyPr rtlCol="0" anchor="ctr"/>
              <a:lstStyle/>
              <a:p>
                <a:endParaRPr lang="en-US" sz="1249"/>
              </a:p>
            </p:txBody>
          </p:sp>
        </p:grpSp>
        <p:grpSp>
          <p:nvGrpSpPr>
            <p:cNvPr id="21" name="streaks">
              <a:extLst>
                <a:ext uri="{FF2B5EF4-FFF2-40B4-BE49-F238E27FC236}">
                  <a16:creationId xmlns:a16="http://schemas.microsoft.com/office/drawing/2014/main" id="{3C1229A8-B398-474C-90DB-EC2CE2DBF176}"/>
                </a:ext>
              </a:extLst>
            </p:cNvPr>
            <p:cNvGrpSpPr/>
            <p:nvPr userDrawn="1"/>
          </p:nvGrpSpPr>
          <p:grpSpPr>
            <a:xfrm>
              <a:off x="8142773" y="2907966"/>
              <a:ext cx="7198062" cy="3434681"/>
              <a:chOff x="4249552" y="1508350"/>
              <a:chExt cx="3733610" cy="1781557"/>
            </a:xfrm>
            <a:gradFill>
              <a:gsLst>
                <a:gs pos="100000">
                  <a:srgbClr val="F8F3EF">
                    <a:alpha val="23000"/>
                  </a:srgbClr>
                </a:gs>
                <a:gs pos="0">
                  <a:srgbClr val="F8F3EF">
                    <a:alpha val="0"/>
                  </a:srgbClr>
                </a:gs>
              </a:gsLst>
              <a:lin ang="0" scaled="1"/>
            </a:gradFill>
          </p:grpSpPr>
          <p:sp>
            <p:nvSpPr>
              <p:cNvPr id="22" name="Graphic 2">
                <a:extLst>
                  <a:ext uri="{FF2B5EF4-FFF2-40B4-BE49-F238E27FC236}">
                    <a16:creationId xmlns:a16="http://schemas.microsoft.com/office/drawing/2014/main" id="{0F5F485F-DC8F-9948-A04D-DA20E57AC05D}"/>
                  </a:ext>
                </a:extLst>
              </p:cNvPr>
              <p:cNvSpPr/>
              <p:nvPr/>
            </p:nvSpPr>
            <p:spPr>
              <a:xfrm>
                <a:off x="4545697" y="1508351"/>
                <a:ext cx="1343896" cy="240192"/>
              </a:xfrm>
              <a:custGeom>
                <a:avLst/>
                <a:gdLst>
                  <a:gd name="connsiteX0" fmla="*/ 1223058 w 1343896"/>
                  <a:gd name="connsiteY0" fmla="*/ 240193 h 240192"/>
                  <a:gd name="connsiteX1" fmla="*/ 120838 w 1343896"/>
                  <a:gd name="connsiteY1" fmla="*/ 240193 h 240192"/>
                  <a:gd name="connsiteX2" fmla="*/ 0 w 1343896"/>
                  <a:gd name="connsiteY2" fmla="*/ 120097 h 240192"/>
                  <a:gd name="connsiteX3" fmla="*/ 0 w 1343896"/>
                  <a:gd name="connsiteY3" fmla="*/ 120097 h 240192"/>
                  <a:gd name="connsiteX4" fmla="*/ 120837 w 1343896"/>
                  <a:gd name="connsiteY4" fmla="*/ 1 h 240192"/>
                  <a:gd name="connsiteX5" fmla="*/ 1223058 w 1343896"/>
                  <a:gd name="connsiteY5" fmla="*/ 0 h 240192"/>
                  <a:gd name="connsiteX6" fmla="*/ 1343897 w 1343896"/>
                  <a:gd name="connsiteY6" fmla="*/ 120096 h 240192"/>
                  <a:gd name="connsiteX7" fmla="*/ 1343897 w 1343896"/>
                  <a:gd name="connsiteY7" fmla="*/ 120096 h 240192"/>
                  <a:gd name="connsiteX8" fmla="*/ 1223058 w 1343896"/>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896" h="240192">
                    <a:moveTo>
                      <a:pt x="1223058" y="240193"/>
                    </a:moveTo>
                    <a:lnTo>
                      <a:pt x="120838" y="240193"/>
                    </a:lnTo>
                    <a:cubicBezTo>
                      <a:pt x="54301" y="240117"/>
                      <a:pt x="314" y="186462"/>
                      <a:pt x="0" y="120097"/>
                    </a:cubicBezTo>
                    <a:lnTo>
                      <a:pt x="0" y="120097"/>
                    </a:lnTo>
                    <a:cubicBezTo>
                      <a:pt x="314" y="53732"/>
                      <a:pt x="54301" y="76"/>
                      <a:pt x="120837" y="1"/>
                    </a:cubicBezTo>
                    <a:lnTo>
                      <a:pt x="1223058" y="0"/>
                    </a:lnTo>
                    <a:cubicBezTo>
                      <a:pt x="1289596" y="76"/>
                      <a:pt x="1343580" y="53731"/>
                      <a:pt x="1343897" y="120096"/>
                    </a:cubicBezTo>
                    <a:lnTo>
                      <a:pt x="1343897" y="120096"/>
                    </a:lnTo>
                    <a:cubicBezTo>
                      <a:pt x="1343580" y="186461"/>
                      <a:pt x="1289596" y="240117"/>
                      <a:pt x="1223058" y="240193"/>
                    </a:cubicBezTo>
                    <a:close/>
                  </a:path>
                </a:pathLst>
              </a:custGeom>
              <a:grpFill/>
              <a:ln w="6723" cap="flat">
                <a:noFill/>
                <a:prstDash val="solid"/>
                <a:miter/>
              </a:ln>
            </p:spPr>
            <p:txBody>
              <a:bodyPr rtlCol="0" anchor="ctr"/>
              <a:lstStyle/>
              <a:p>
                <a:endParaRPr lang="en-US" sz="1249"/>
              </a:p>
            </p:txBody>
          </p:sp>
          <p:sp>
            <p:nvSpPr>
              <p:cNvPr id="23" name="Graphic 2">
                <a:extLst>
                  <a:ext uri="{FF2B5EF4-FFF2-40B4-BE49-F238E27FC236}">
                    <a16:creationId xmlns:a16="http://schemas.microsoft.com/office/drawing/2014/main" id="{DD6BE71B-8D72-244F-9D79-A0BA9B2A4A39}"/>
                  </a:ext>
                </a:extLst>
              </p:cNvPr>
              <p:cNvSpPr/>
              <p:nvPr/>
            </p:nvSpPr>
            <p:spPr>
              <a:xfrm>
                <a:off x="5963979" y="1508350"/>
                <a:ext cx="638411" cy="240192"/>
              </a:xfrm>
              <a:custGeom>
                <a:avLst/>
                <a:gdLst>
                  <a:gd name="connsiteX0" fmla="*/ 517573 w 638411"/>
                  <a:gd name="connsiteY0" fmla="*/ 240193 h 240192"/>
                  <a:gd name="connsiteX1" fmla="*/ 120839 w 638411"/>
                  <a:gd name="connsiteY1" fmla="*/ 240193 h 240192"/>
                  <a:gd name="connsiteX2" fmla="*/ 0 w 638411"/>
                  <a:gd name="connsiteY2" fmla="*/ 120096 h 240192"/>
                  <a:gd name="connsiteX3" fmla="*/ 0 w 638411"/>
                  <a:gd name="connsiteY3" fmla="*/ 120096 h 240192"/>
                  <a:gd name="connsiteX4" fmla="*/ 120839 w 638411"/>
                  <a:gd name="connsiteY4" fmla="*/ 0 h 240192"/>
                  <a:gd name="connsiteX5" fmla="*/ 517573 w 638411"/>
                  <a:gd name="connsiteY5" fmla="*/ 0 h 240192"/>
                  <a:gd name="connsiteX6" fmla="*/ 638412 w 638411"/>
                  <a:gd name="connsiteY6" fmla="*/ 120096 h 240192"/>
                  <a:gd name="connsiteX7" fmla="*/ 638412 w 638411"/>
                  <a:gd name="connsiteY7" fmla="*/ 120096 h 240192"/>
                  <a:gd name="connsiteX8" fmla="*/ 517573 w 638411"/>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411" h="240192">
                    <a:moveTo>
                      <a:pt x="517573" y="240193"/>
                    </a:moveTo>
                    <a:lnTo>
                      <a:pt x="120839" y="240193"/>
                    </a:lnTo>
                    <a:cubicBezTo>
                      <a:pt x="54301" y="240117"/>
                      <a:pt x="317" y="186462"/>
                      <a:pt x="0" y="120096"/>
                    </a:cubicBezTo>
                    <a:lnTo>
                      <a:pt x="0" y="120096"/>
                    </a:lnTo>
                    <a:cubicBezTo>
                      <a:pt x="317" y="53731"/>
                      <a:pt x="54301" y="76"/>
                      <a:pt x="120839" y="0"/>
                    </a:cubicBezTo>
                    <a:lnTo>
                      <a:pt x="517573" y="0"/>
                    </a:lnTo>
                    <a:cubicBezTo>
                      <a:pt x="584112" y="76"/>
                      <a:pt x="638102" y="53731"/>
                      <a:pt x="638412" y="120096"/>
                    </a:cubicBezTo>
                    <a:lnTo>
                      <a:pt x="638412" y="120096"/>
                    </a:lnTo>
                    <a:cubicBezTo>
                      <a:pt x="638102" y="186461"/>
                      <a:pt x="584112" y="240117"/>
                      <a:pt x="517573" y="240193"/>
                    </a:cubicBezTo>
                    <a:close/>
                  </a:path>
                </a:pathLst>
              </a:custGeom>
              <a:grpFill/>
              <a:ln w="6723" cap="flat">
                <a:noFill/>
                <a:prstDash val="solid"/>
                <a:miter/>
              </a:ln>
            </p:spPr>
            <p:txBody>
              <a:bodyPr rtlCol="0" anchor="ctr"/>
              <a:lstStyle/>
              <a:p>
                <a:endParaRPr lang="en-US" sz="1249"/>
              </a:p>
            </p:txBody>
          </p:sp>
          <p:sp>
            <p:nvSpPr>
              <p:cNvPr id="24" name="Graphic 2">
                <a:extLst>
                  <a:ext uri="{FF2B5EF4-FFF2-40B4-BE49-F238E27FC236}">
                    <a16:creationId xmlns:a16="http://schemas.microsoft.com/office/drawing/2014/main" id="{2FDA5E1B-F83C-6B47-BF33-23C9C9BFDA84}"/>
                  </a:ext>
                </a:extLst>
              </p:cNvPr>
              <p:cNvSpPr/>
              <p:nvPr/>
            </p:nvSpPr>
            <p:spPr>
              <a:xfrm>
                <a:off x="6704473" y="1508350"/>
                <a:ext cx="312117" cy="240192"/>
              </a:xfrm>
              <a:custGeom>
                <a:avLst/>
                <a:gdLst>
                  <a:gd name="connsiteX0" fmla="*/ 191284 w 312117"/>
                  <a:gd name="connsiteY0" fmla="*/ 240193 h 240192"/>
                  <a:gd name="connsiteX1" fmla="*/ 120839 w 312117"/>
                  <a:gd name="connsiteY1" fmla="*/ 240193 h 240192"/>
                  <a:gd name="connsiteX2" fmla="*/ 0 w 312117"/>
                  <a:gd name="connsiteY2" fmla="*/ 120096 h 240192"/>
                  <a:gd name="connsiteX3" fmla="*/ 0 w 312117"/>
                  <a:gd name="connsiteY3" fmla="*/ 120096 h 240192"/>
                  <a:gd name="connsiteX4" fmla="*/ 120839 w 312117"/>
                  <a:gd name="connsiteY4" fmla="*/ 0 h 240192"/>
                  <a:gd name="connsiteX5" fmla="*/ 191284 w 312117"/>
                  <a:gd name="connsiteY5" fmla="*/ 0 h 240192"/>
                  <a:gd name="connsiteX6" fmla="*/ 312117 w 312117"/>
                  <a:gd name="connsiteY6" fmla="*/ 120096 h 240192"/>
                  <a:gd name="connsiteX7" fmla="*/ 312117 w 312117"/>
                  <a:gd name="connsiteY7" fmla="*/ 120096 h 240192"/>
                  <a:gd name="connsiteX8" fmla="*/ 191284 w 312117"/>
                  <a:gd name="connsiteY8" fmla="*/ 240193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17" h="240192">
                    <a:moveTo>
                      <a:pt x="191284" y="240193"/>
                    </a:moveTo>
                    <a:lnTo>
                      <a:pt x="120839" y="240193"/>
                    </a:lnTo>
                    <a:cubicBezTo>
                      <a:pt x="54301" y="240117"/>
                      <a:pt x="317" y="186462"/>
                      <a:pt x="0" y="120096"/>
                    </a:cubicBezTo>
                    <a:lnTo>
                      <a:pt x="0" y="120096"/>
                    </a:lnTo>
                    <a:cubicBezTo>
                      <a:pt x="317" y="53731"/>
                      <a:pt x="54301" y="76"/>
                      <a:pt x="120839" y="0"/>
                    </a:cubicBezTo>
                    <a:lnTo>
                      <a:pt x="191284" y="0"/>
                    </a:lnTo>
                    <a:cubicBezTo>
                      <a:pt x="257817" y="76"/>
                      <a:pt x="311807" y="53731"/>
                      <a:pt x="312117" y="120096"/>
                    </a:cubicBezTo>
                    <a:lnTo>
                      <a:pt x="312117" y="120096"/>
                    </a:lnTo>
                    <a:cubicBezTo>
                      <a:pt x="311807" y="186461"/>
                      <a:pt x="257817" y="240117"/>
                      <a:pt x="191284" y="240193"/>
                    </a:cubicBezTo>
                    <a:close/>
                  </a:path>
                </a:pathLst>
              </a:custGeom>
              <a:grpFill/>
              <a:ln w="6723" cap="flat">
                <a:noFill/>
                <a:prstDash val="solid"/>
                <a:miter/>
              </a:ln>
            </p:spPr>
            <p:txBody>
              <a:bodyPr rtlCol="0" anchor="ctr"/>
              <a:lstStyle/>
              <a:p>
                <a:endParaRPr lang="en-US" sz="1249"/>
              </a:p>
            </p:txBody>
          </p:sp>
          <p:sp>
            <p:nvSpPr>
              <p:cNvPr id="25" name="Graphic 2">
                <a:extLst>
                  <a:ext uri="{FF2B5EF4-FFF2-40B4-BE49-F238E27FC236}">
                    <a16:creationId xmlns:a16="http://schemas.microsoft.com/office/drawing/2014/main" id="{36D84095-F502-5240-8B09-E7D0B37BD3CF}"/>
                  </a:ext>
                </a:extLst>
              </p:cNvPr>
              <p:cNvSpPr/>
              <p:nvPr/>
            </p:nvSpPr>
            <p:spPr>
              <a:xfrm>
                <a:off x="4479825" y="1894695"/>
                <a:ext cx="2563248" cy="240192"/>
              </a:xfrm>
              <a:custGeom>
                <a:avLst/>
                <a:gdLst>
                  <a:gd name="connsiteX0" fmla="*/ 0 w 2563248"/>
                  <a:gd name="connsiteY0" fmla="*/ 240193 h 240192"/>
                  <a:gd name="connsiteX1" fmla="*/ 2442409 w 2563248"/>
                  <a:gd name="connsiteY1" fmla="*/ 240192 h 240192"/>
                  <a:gd name="connsiteX2" fmla="*/ 2563248 w 2563248"/>
                  <a:gd name="connsiteY2" fmla="*/ 120096 h 240192"/>
                  <a:gd name="connsiteX3" fmla="*/ 2563248 w 2563248"/>
                  <a:gd name="connsiteY3" fmla="*/ 120096 h 240192"/>
                  <a:gd name="connsiteX4" fmla="*/ 2442409 w 2563248"/>
                  <a:gd name="connsiteY4" fmla="*/ 0 h 240192"/>
                  <a:gd name="connsiteX5" fmla="*/ 0 w 2563248"/>
                  <a:gd name="connsiteY5" fmla="*/ 1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3248" h="240192">
                    <a:moveTo>
                      <a:pt x="0" y="240193"/>
                    </a:moveTo>
                    <a:lnTo>
                      <a:pt x="2442409" y="240192"/>
                    </a:lnTo>
                    <a:cubicBezTo>
                      <a:pt x="2509029" y="240310"/>
                      <a:pt x="2563127" y="186542"/>
                      <a:pt x="2563248" y="120096"/>
                    </a:cubicBezTo>
                    <a:lnTo>
                      <a:pt x="2563248" y="120096"/>
                    </a:lnTo>
                    <a:cubicBezTo>
                      <a:pt x="2563127" y="53650"/>
                      <a:pt x="2509029" y="-119"/>
                      <a:pt x="2442409" y="0"/>
                    </a:cubicBezTo>
                    <a:lnTo>
                      <a:pt x="0" y="1"/>
                    </a:lnTo>
                    <a:close/>
                  </a:path>
                </a:pathLst>
              </a:custGeom>
              <a:grpFill/>
              <a:ln w="6723" cap="flat">
                <a:noFill/>
                <a:prstDash val="solid"/>
                <a:miter/>
              </a:ln>
            </p:spPr>
            <p:txBody>
              <a:bodyPr rtlCol="0" anchor="ctr"/>
              <a:lstStyle/>
              <a:p>
                <a:endParaRPr lang="en-US" sz="1249"/>
              </a:p>
            </p:txBody>
          </p:sp>
          <p:sp>
            <p:nvSpPr>
              <p:cNvPr id="26" name="Graphic 2">
                <a:extLst>
                  <a:ext uri="{FF2B5EF4-FFF2-40B4-BE49-F238E27FC236}">
                    <a16:creationId xmlns:a16="http://schemas.microsoft.com/office/drawing/2014/main" id="{A1F3321E-9B2B-EE4A-B164-93526517C224}"/>
                  </a:ext>
                </a:extLst>
              </p:cNvPr>
              <p:cNvSpPr/>
              <p:nvPr/>
            </p:nvSpPr>
            <p:spPr>
              <a:xfrm>
                <a:off x="7129791" y="1894676"/>
                <a:ext cx="415370" cy="240193"/>
              </a:xfrm>
              <a:custGeom>
                <a:avLst/>
                <a:gdLst>
                  <a:gd name="connsiteX0" fmla="*/ 120839 w 415370"/>
                  <a:gd name="connsiteY0" fmla="*/ 240193 h 240193"/>
                  <a:gd name="connsiteX1" fmla="*/ 294531 w 415370"/>
                  <a:gd name="connsiteY1" fmla="*/ 240193 h 240193"/>
                  <a:gd name="connsiteX2" fmla="*/ 415370 w 415370"/>
                  <a:gd name="connsiteY2" fmla="*/ 120097 h 240193"/>
                  <a:gd name="connsiteX3" fmla="*/ 415370 w 415370"/>
                  <a:gd name="connsiteY3" fmla="*/ 120097 h 240193"/>
                  <a:gd name="connsiteX4" fmla="*/ 294531 w 415370"/>
                  <a:gd name="connsiteY4" fmla="*/ 0 h 240193"/>
                  <a:gd name="connsiteX5" fmla="*/ 120839 w 415370"/>
                  <a:gd name="connsiteY5" fmla="*/ 1 h 240193"/>
                  <a:gd name="connsiteX6" fmla="*/ 0 w 415370"/>
                  <a:gd name="connsiteY6" fmla="*/ 120097 h 240193"/>
                  <a:gd name="connsiteX7" fmla="*/ 0 w 415370"/>
                  <a:gd name="connsiteY7" fmla="*/ 120097 h 240193"/>
                  <a:gd name="connsiteX8" fmla="*/ 120839 w 415370"/>
                  <a:gd name="connsiteY8" fmla="*/ 240193 h 2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3">
                    <a:moveTo>
                      <a:pt x="120839" y="240193"/>
                    </a:moveTo>
                    <a:lnTo>
                      <a:pt x="294531" y="240193"/>
                    </a:lnTo>
                    <a:cubicBezTo>
                      <a:pt x="361144" y="240312"/>
                      <a:pt x="415249" y="186543"/>
                      <a:pt x="415370" y="120097"/>
                    </a:cubicBezTo>
                    <a:lnTo>
                      <a:pt x="415370" y="120097"/>
                    </a:lnTo>
                    <a:cubicBezTo>
                      <a:pt x="415249" y="53650"/>
                      <a:pt x="361151" y="-118"/>
                      <a:pt x="294531" y="0"/>
                    </a:cubicBezTo>
                    <a:lnTo>
                      <a:pt x="120839" y="1"/>
                    </a:lnTo>
                    <a:cubicBezTo>
                      <a:pt x="54220" y="-118"/>
                      <a:pt x="121" y="53650"/>
                      <a:pt x="0" y="120097"/>
                    </a:cubicBezTo>
                    <a:lnTo>
                      <a:pt x="0" y="120097"/>
                    </a:lnTo>
                    <a:cubicBezTo>
                      <a:pt x="121" y="186543"/>
                      <a:pt x="54220" y="240312"/>
                      <a:pt x="120839" y="240193"/>
                    </a:cubicBezTo>
                    <a:close/>
                  </a:path>
                </a:pathLst>
              </a:custGeom>
              <a:grpFill/>
              <a:ln w="6723" cap="flat">
                <a:noFill/>
                <a:prstDash val="solid"/>
                <a:miter/>
              </a:ln>
            </p:spPr>
            <p:txBody>
              <a:bodyPr rtlCol="0" anchor="ctr"/>
              <a:lstStyle/>
              <a:p>
                <a:endParaRPr lang="en-US" sz="1249"/>
              </a:p>
            </p:txBody>
          </p:sp>
          <p:sp>
            <p:nvSpPr>
              <p:cNvPr id="27" name="Graphic 2">
                <a:extLst>
                  <a:ext uri="{FF2B5EF4-FFF2-40B4-BE49-F238E27FC236}">
                    <a16:creationId xmlns:a16="http://schemas.microsoft.com/office/drawing/2014/main" id="{ACAB9C25-7800-D041-A3B8-7C65EF8A98D7}"/>
                  </a:ext>
                </a:extLst>
              </p:cNvPr>
              <p:cNvSpPr/>
              <p:nvPr/>
            </p:nvSpPr>
            <p:spPr>
              <a:xfrm>
                <a:off x="7628155" y="1894676"/>
                <a:ext cx="355007" cy="240192"/>
              </a:xfrm>
              <a:custGeom>
                <a:avLst/>
                <a:gdLst>
                  <a:gd name="connsiteX0" fmla="*/ 120839 w 355007"/>
                  <a:gd name="connsiteY0" fmla="*/ 0 h 240192"/>
                  <a:gd name="connsiteX1" fmla="*/ 234169 w 355007"/>
                  <a:gd name="connsiteY1" fmla="*/ 0 h 240192"/>
                  <a:gd name="connsiteX2" fmla="*/ 355008 w 355007"/>
                  <a:gd name="connsiteY2" fmla="*/ 120097 h 240192"/>
                  <a:gd name="connsiteX3" fmla="*/ 355008 w 355007"/>
                  <a:gd name="connsiteY3" fmla="*/ 120097 h 240192"/>
                  <a:gd name="connsiteX4" fmla="*/ 234169 w 355007"/>
                  <a:gd name="connsiteY4" fmla="*/ 240192 h 240192"/>
                  <a:gd name="connsiteX5" fmla="*/ 120839 w 355007"/>
                  <a:gd name="connsiteY5" fmla="*/ 240192 h 240192"/>
                  <a:gd name="connsiteX6" fmla="*/ 0 w 355007"/>
                  <a:gd name="connsiteY6" fmla="*/ 120097 h 240192"/>
                  <a:gd name="connsiteX7" fmla="*/ 0 w 355007"/>
                  <a:gd name="connsiteY7" fmla="*/ 120097 h 240192"/>
                  <a:gd name="connsiteX8" fmla="*/ 120839 w 355007"/>
                  <a:gd name="connsiteY8" fmla="*/ 0 h 24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2">
                    <a:moveTo>
                      <a:pt x="120839" y="0"/>
                    </a:moveTo>
                    <a:lnTo>
                      <a:pt x="234169" y="0"/>
                    </a:lnTo>
                    <a:cubicBezTo>
                      <a:pt x="300788" y="-118"/>
                      <a:pt x="354886" y="53650"/>
                      <a:pt x="355008" y="120097"/>
                    </a:cubicBezTo>
                    <a:lnTo>
                      <a:pt x="355008" y="120097"/>
                    </a:lnTo>
                    <a:cubicBezTo>
                      <a:pt x="354886" y="186543"/>
                      <a:pt x="300788" y="240311"/>
                      <a:pt x="234169" y="240192"/>
                    </a:cubicBezTo>
                    <a:lnTo>
                      <a:pt x="120839" y="240192"/>
                    </a:lnTo>
                    <a:cubicBezTo>
                      <a:pt x="54220" y="240311"/>
                      <a:pt x="121" y="186543"/>
                      <a:pt x="0" y="120097"/>
                    </a:cubicBezTo>
                    <a:lnTo>
                      <a:pt x="0" y="120097"/>
                    </a:lnTo>
                    <a:cubicBezTo>
                      <a:pt x="121" y="53650"/>
                      <a:pt x="54220" y="-118"/>
                      <a:pt x="120839" y="0"/>
                    </a:cubicBezTo>
                    <a:close/>
                  </a:path>
                </a:pathLst>
              </a:custGeom>
              <a:grpFill/>
              <a:ln w="6723" cap="flat">
                <a:noFill/>
                <a:prstDash val="solid"/>
                <a:miter/>
              </a:ln>
            </p:spPr>
            <p:txBody>
              <a:bodyPr rtlCol="0" anchor="ctr"/>
              <a:lstStyle/>
              <a:p>
                <a:endParaRPr lang="en-US" sz="1249"/>
              </a:p>
            </p:txBody>
          </p:sp>
          <p:sp>
            <p:nvSpPr>
              <p:cNvPr id="28" name="Graphic 2">
                <a:extLst>
                  <a:ext uri="{FF2B5EF4-FFF2-40B4-BE49-F238E27FC236}">
                    <a16:creationId xmlns:a16="http://schemas.microsoft.com/office/drawing/2014/main" id="{A268B8B6-F25E-DB40-BB6A-51B8B60E7ABB}"/>
                  </a:ext>
                </a:extLst>
              </p:cNvPr>
              <p:cNvSpPr/>
              <p:nvPr/>
            </p:nvSpPr>
            <p:spPr>
              <a:xfrm>
                <a:off x="4249552" y="2283316"/>
                <a:ext cx="1792813" cy="240197"/>
              </a:xfrm>
              <a:custGeom>
                <a:avLst/>
                <a:gdLst>
                  <a:gd name="connsiteX0" fmla="*/ 0 w 1792813"/>
                  <a:gd name="connsiteY0" fmla="*/ 240197 h 240197"/>
                  <a:gd name="connsiteX1" fmla="*/ 1671975 w 1792813"/>
                  <a:gd name="connsiteY1" fmla="*/ 240197 h 240197"/>
                  <a:gd name="connsiteX2" fmla="*/ 1792814 w 1792813"/>
                  <a:gd name="connsiteY2" fmla="*/ 120099 h 240197"/>
                  <a:gd name="connsiteX3" fmla="*/ 1792814 w 1792813"/>
                  <a:gd name="connsiteY3" fmla="*/ 120099 h 240197"/>
                  <a:gd name="connsiteX4" fmla="*/ 1671975 w 1792813"/>
                  <a:gd name="connsiteY4" fmla="*/ 0 h 240197"/>
                  <a:gd name="connsiteX5" fmla="*/ 0 w 1792813"/>
                  <a:gd name="connsiteY5"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813" h="240197">
                    <a:moveTo>
                      <a:pt x="0" y="240197"/>
                    </a:moveTo>
                    <a:lnTo>
                      <a:pt x="1671975" y="240197"/>
                    </a:lnTo>
                    <a:cubicBezTo>
                      <a:pt x="1738594" y="240311"/>
                      <a:pt x="1792700" y="186547"/>
                      <a:pt x="1792814" y="120099"/>
                    </a:cubicBezTo>
                    <a:lnTo>
                      <a:pt x="1792814" y="120099"/>
                    </a:lnTo>
                    <a:cubicBezTo>
                      <a:pt x="1792700" y="53650"/>
                      <a:pt x="1738594" y="-114"/>
                      <a:pt x="1671975" y="0"/>
                    </a:cubicBezTo>
                    <a:lnTo>
                      <a:pt x="0" y="0"/>
                    </a:lnTo>
                    <a:close/>
                  </a:path>
                </a:pathLst>
              </a:custGeom>
              <a:grpFill/>
              <a:ln w="6723" cap="flat">
                <a:noFill/>
                <a:prstDash val="solid"/>
                <a:miter/>
              </a:ln>
            </p:spPr>
            <p:txBody>
              <a:bodyPr rtlCol="0" anchor="ctr"/>
              <a:lstStyle/>
              <a:p>
                <a:endParaRPr lang="en-US" sz="1249"/>
              </a:p>
            </p:txBody>
          </p:sp>
          <p:sp>
            <p:nvSpPr>
              <p:cNvPr id="29" name="Graphic 2">
                <a:extLst>
                  <a:ext uri="{FF2B5EF4-FFF2-40B4-BE49-F238E27FC236}">
                    <a16:creationId xmlns:a16="http://schemas.microsoft.com/office/drawing/2014/main" id="{E587E1D2-939C-FF47-BA13-AC90788FDDFB}"/>
                  </a:ext>
                </a:extLst>
              </p:cNvPr>
              <p:cNvSpPr/>
              <p:nvPr/>
            </p:nvSpPr>
            <p:spPr>
              <a:xfrm>
                <a:off x="6129090" y="2283303"/>
                <a:ext cx="415363" cy="240190"/>
              </a:xfrm>
              <a:custGeom>
                <a:avLst/>
                <a:gdLst>
                  <a:gd name="connsiteX0" fmla="*/ 120833 w 415363"/>
                  <a:gd name="connsiteY0" fmla="*/ 240190 h 240190"/>
                  <a:gd name="connsiteX1" fmla="*/ 294524 w 415363"/>
                  <a:gd name="connsiteY1" fmla="*/ 240190 h 240190"/>
                  <a:gd name="connsiteX2" fmla="*/ 415364 w 415363"/>
                  <a:gd name="connsiteY2" fmla="*/ 120092 h 240190"/>
                  <a:gd name="connsiteX3" fmla="*/ 415364 w 415363"/>
                  <a:gd name="connsiteY3" fmla="*/ 120092 h 240190"/>
                  <a:gd name="connsiteX4" fmla="*/ 294524 w 415363"/>
                  <a:gd name="connsiteY4" fmla="*/ 0 h 240190"/>
                  <a:gd name="connsiteX5" fmla="*/ 120833 w 415363"/>
                  <a:gd name="connsiteY5" fmla="*/ 0 h 240190"/>
                  <a:gd name="connsiteX6" fmla="*/ 0 w 415363"/>
                  <a:gd name="connsiteY6" fmla="*/ 120092 h 240190"/>
                  <a:gd name="connsiteX7" fmla="*/ 0 w 415363"/>
                  <a:gd name="connsiteY7" fmla="*/ 120092 h 240190"/>
                  <a:gd name="connsiteX8" fmla="*/ 120833 w 415363"/>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63" h="240190">
                    <a:moveTo>
                      <a:pt x="120833" y="240190"/>
                    </a:moveTo>
                    <a:lnTo>
                      <a:pt x="294524" y="240190"/>
                    </a:lnTo>
                    <a:cubicBezTo>
                      <a:pt x="361144" y="240311"/>
                      <a:pt x="415242" y="186540"/>
                      <a:pt x="415364" y="120092"/>
                    </a:cubicBezTo>
                    <a:lnTo>
                      <a:pt x="415364" y="120092"/>
                    </a:lnTo>
                    <a:cubicBezTo>
                      <a:pt x="415242" y="53650"/>
                      <a:pt x="361144" y="-121"/>
                      <a:pt x="294524" y="0"/>
                    </a:cubicBezTo>
                    <a:lnTo>
                      <a:pt x="120833" y="0"/>
                    </a:lnTo>
                    <a:cubicBezTo>
                      <a:pt x="54220" y="-121"/>
                      <a:pt x="114" y="53644"/>
                      <a:pt x="0" y="120092"/>
                    </a:cubicBezTo>
                    <a:lnTo>
                      <a:pt x="0" y="120092"/>
                    </a:lnTo>
                    <a:cubicBezTo>
                      <a:pt x="114" y="186540"/>
                      <a:pt x="54220" y="240311"/>
                      <a:pt x="120833" y="240190"/>
                    </a:cubicBezTo>
                    <a:close/>
                  </a:path>
                </a:pathLst>
              </a:custGeom>
              <a:grpFill/>
              <a:ln w="6723" cap="flat">
                <a:noFill/>
                <a:prstDash val="solid"/>
                <a:miter/>
              </a:ln>
            </p:spPr>
            <p:txBody>
              <a:bodyPr rtlCol="0" anchor="ctr"/>
              <a:lstStyle/>
              <a:p>
                <a:endParaRPr lang="en-US" sz="1249"/>
              </a:p>
            </p:txBody>
          </p:sp>
          <p:sp>
            <p:nvSpPr>
              <p:cNvPr id="30" name="Graphic 2">
                <a:extLst>
                  <a:ext uri="{FF2B5EF4-FFF2-40B4-BE49-F238E27FC236}">
                    <a16:creationId xmlns:a16="http://schemas.microsoft.com/office/drawing/2014/main" id="{51CE2470-F8C8-9E4D-8020-00F8464073F4}"/>
                  </a:ext>
                </a:extLst>
              </p:cNvPr>
              <p:cNvSpPr/>
              <p:nvPr/>
            </p:nvSpPr>
            <p:spPr>
              <a:xfrm>
                <a:off x="6627447" y="2283296"/>
                <a:ext cx="355007" cy="240197"/>
              </a:xfrm>
              <a:custGeom>
                <a:avLst/>
                <a:gdLst>
                  <a:gd name="connsiteX0" fmla="*/ 120839 w 355007"/>
                  <a:gd name="connsiteY0" fmla="*/ 0 h 240197"/>
                  <a:gd name="connsiteX1" fmla="*/ 234175 w 355007"/>
                  <a:gd name="connsiteY1" fmla="*/ 0 h 240197"/>
                  <a:gd name="connsiteX2" fmla="*/ 355008 w 355007"/>
                  <a:gd name="connsiteY2" fmla="*/ 120099 h 240197"/>
                  <a:gd name="connsiteX3" fmla="*/ 355008 w 355007"/>
                  <a:gd name="connsiteY3" fmla="*/ 120099 h 240197"/>
                  <a:gd name="connsiteX4" fmla="*/ 234175 w 355007"/>
                  <a:gd name="connsiteY4" fmla="*/ 240197 h 240197"/>
                  <a:gd name="connsiteX5" fmla="*/ 120839 w 355007"/>
                  <a:gd name="connsiteY5" fmla="*/ 240197 h 240197"/>
                  <a:gd name="connsiteX6" fmla="*/ 0 w 355007"/>
                  <a:gd name="connsiteY6" fmla="*/ 120099 h 240197"/>
                  <a:gd name="connsiteX7" fmla="*/ 0 w 355007"/>
                  <a:gd name="connsiteY7" fmla="*/ 120099 h 240197"/>
                  <a:gd name="connsiteX8" fmla="*/ 120839 w 355007"/>
                  <a:gd name="connsiteY8"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7">
                    <a:moveTo>
                      <a:pt x="120839" y="0"/>
                    </a:moveTo>
                    <a:lnTo>
                      <a:pt x="234175" y="0"/>
                    </a:lnTo>
                    <a:cubicBezTo>
                      <a:pt x="300788" y="-114"/>
                      <a:pt x="354893" y="53650"/>
                      <a:pt x="355008" y="120099"/>
                    </a:cubicBezTo>
                    <a:lnTo>
                      <a:pt x="355008" y="120099"/>
                    </a:lnTo>
                    <a:cubicBezTo>
                      <a:pt x="354893" y="186547"/>
                      <a:pt x="300788" y="240311"/>
                      <a:pt x="234175" y="240197"/>
                    </a:cubicBezTo>
                    <a:lnTo>
                      <a:pt x="120839" y="240197"/>
                    </a:lnTo>
                    <a:cubicBezTo>
                      <a:pt x="54220" y="240311"/>
                      <a:pt x="121" y="186547"/>
                      <a:pt x="0" y="120099"/>
                    </a:cubicBezTo>
                    <a:lnTo>
                      <a:pt x="0" y="120099"/>
                    </a:lnTo>
                    <a:cubicBezTo>
                      <a:pt x="121" y="53650"/>
                      <a:pt x="54220" y="-114"/>
                      <a:pt x="120839" y="0"/>
                    </a:cubicBezTo>
                    <a:close/>
                  </a:path>
                </a:pathLst>
              </a:custGeom>
              <a:grpFill/>
              <a:ln w="6723" cap="flat">
                <a:noFill/>
                <a:prstDash val="solid"/>
                <a:miter/>
              </a:ln>
            </p:spPr>
            <p:txBody>
              <a:bodyPr rtlCol="0" anchor="ctr"/>
              <a:lstStyle/>
              <a:p>
                <a:endParaRPr lang="en-US" sz="1249"/>
              </a:p>
            </p:txBody>
          </p:sp>
          <p:sp>
            <p:nvSpPr>
              <p:cNvPr id="31" name="Graphic 2">
                <a:extLst>
                  <a:ext uri="{FF2B5EF4-FFF2-40B4-BE49-F238E27FC236}">
                    <a16:creationId xmlns:a16="http://schemas.microsoft.com/office/drawing/2014/main" id="{9547C143-32C7-1647-B319-B485D2ED9C9D}"/>
                  </a:ext>
                </a:extLst>
              </p:cNvPr>
              <p:cNvSpPr/>
              <p:nvPr/>
            </p:nvSpPr>
            <p:spPr>
              <a:xfrm>
                <a:off x="4249552" y="3049717"/>
                <a:ext cx="1682717" cy="240190"/>
              </a:xfrm>
              <a:custGeom>
                <a:avLst/>
                <a:gdLst>
                  <a:gd name="connsiteX0" fmla="*/ 0 w 1682717"/>
                  <a:gd name="connsiteY0" fmla="*/ 240190 h 240190"/>
                  <a:gd name="connsiteX1" fmla="*/ 1561885 w 1682717"/>
                  <a:gd name="connsiteY1" fmla="*/ 240190 h 240190"/>
                  <a:gd name="connsiteX2" fmla="*/ 1682718 w 1682717"/>
                  <a:gd name="connsiteY2" fmla="*/ 120092 h 240190"/>
                  <a:gd name="connsiteX3" fmla="*/ 1682718 w 1682717"/>
                  <a:gd name="connsiteY3" fmla="*/ 120092 h 240190"/>
                  <a:gd name="connsiteX4" fmla="*/ 1561885 w 1682717"/>
                  <a:gd name="connsiteY4" fmla="*/ 0 h 240190"/>
                  <a:gd name="connsiteX5" fmla="*/ 0 w 1682717"/>
                  <a:gd name="connsiteY5"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2717" h="240190">
                    <a:moveTo>
                      <a:pt x="0" y="240190"/>
                    </a:moveTo>
                    <a:lnTo>
                      <a:pt x="1561885" y="240190"/>
                    </a:lnTo>
                    <a:cubicBezTo>
                      <a:pt x="1628498" y="240311"/>
                      <a:pt x="1682603" y="186540"/>
                      <a:pt x="1682718" y="120092"/>
                    </a:cubicBezTo>
                    <a:lnTo>
                      <a:pt x="1682718" y="120092"/>
                    </a:lnTo>
                    <a:cubicBezTo>
                      <a:pt x="1682603" y="53651"/>
                      <a:pt x="1628498" y="-121"/>
                      <a:pt x="1561885" y="0"/>
                    </a:cubicBezTo>
                    <a:lnTo>
                      <a:pt x="0" y="0"/>
                    </a:lnTo>
                    <a:close/>
                  </a:path>
                </a:pathLst>
              </a:custGeom>
              <a:grpFill/>
              <a:ln w="6723" cap="flat">
                <a:noFill/>
                <a:prstDash val="solid"/>
                <a:miter/>
              </a:ln>
            </p:spPr>
            <p:txBody>
              <a:bodyPr rtlCol="0" anchor="ctr"/>
              <a:lstStyle/>
              <a:p>
                <a:endParaRPr lang="en-US" sz="1249"/>
              </a:p>
            </p:txBody>
          </p:sp>
          <p:sp>
            <p:nvSpPr>
              <p:cNvPr id="32" name="Graphic 2">
                <a:extLst>
                  <a:ext uri="{FF2B5EF4-FFF2-40B4-BE49-F238E27FC236}">
                    <a16:creationId xmlns:a16="http://schemas.microsoft.com/office/drawing/2014/main" id="{10289EB7-03B3-B14C-8A5F-52753D38E6BC}"/>
                  </a:ext>
                </a:extLst>
              </p:cNvPr>
              <p:cNvSpPr/>
              <p:nvPr/>
            </p:nvSpPr>
            <p:spPr>
              <a:xfrm>
                <a:off x="6018994" y="3049697"/>
                <a:ext cx="502694" cy="240190"/>
              </a:xfrm>
              <a:custGeom>
                <a:avLst/>
                <a:gdLst>
                  <a:gd name="connsiteX0" fmla="*/ 120839 w 502694"/>
                  <a:gd name="connsiteY0" fmla="*/ 240190 h 240190"/>
                  <a:gd name="connsiteX1" fmla="*/ 381855 w 502694"/>
                  <a:gd name="connsiteY1" fmla="*/ 240190 h 240190"/>
                  <a:gd name="connsiteX2" fmla="*/ 502694 w 502694"/>
                  <a:gd name="connsiteY2" fmla="*/ 120099 h 240190"/>
                  <a:gd name="connsiteX3" fmla="*/ 502694 w 502694"/>
                  <a:gd name="connsiteY3" fmla="*/ 120099 h 240190"/>
                  <a:gd name="connsiteX4" fmla="*/ 381855 w 502694"/>
                  <a:gd name="connsiteY4" fmla="*/ 0 h 240190"/>
                  <a:gd name="connsiteX5" fmla="*/ 120832 w 502694"/>
                  <a:gd name="connsiteY5" fmla="*/ 0 h 240190"/>
                  <a:gd name="connsiteX6" fmla="*/ 0 w 502694"/>
                  <a:gd name="connsiteY6" fmla="*/ 120099 h 240190"/>
                  <a:gd name="connsiteX7" fmla="*/ 0 w 502694"/>
                  <a:gd name="connsiteY7" fmla="*/ 120099 h 240190"/>
                  <a:gd name="connsiteX8" fmla="*/ 120839 w 502694"/>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694" h="240190">
                    <a:moveTo>
                      <a:pt x="120839" y="240190"/>
                    </a:moveTo>
                    <a:lnTo>
                      <a:pt x="381855" y="240190"/>
                    </a:lnTo>
                    <a:cubicBezTo>
                      <a:pt x="448475" y="240311"/>
                      <a:pt x="502573" y="186540"/>
                      <a:pt x="502694" y="120099"/>
                    </a:cubicBezTo>
                    <a:lnTo>
                      <a:pt x="502694" y="120099"/>
                    </a:lnTo>
                    <a:cubicBezTo>
                      <a:pt x="502573" y="53650"/>
                      <a:pt x="448475" y="-121"/>
                      <a:pt x="381855" y="0"/>
                    </a:cubicBezTo>
                    <a:lnTo>
                      <a:pt x="120832" y="0"/>
                    </a:lnTo>
                    <a:cubicBezTo>
                      <a:pt x="54220" y="-121"/>
                      <a:pt x="114" y="53650"/>
                      <a:pt x="0" y="120099"/>
                    </a:cubicBezTo>
                    <a:lnTo>
                      <a:pt x="0" y="120099"/>
                    </a:lnTo>
                    <a:cubicBezTo>
                      <a:pt x="114" y="186540"/>
                      <a:pt x="54220" y="240311"/>
                      <a:pt x="120839" y="240190"/>
                    </a:cubicBezTo>
                    <a:close/>
                  </a:path>
                </a:pathLst>
              </a:custGeom>
              <a:grpFill/>
              <a:ln w="6723" cap="flat">
                <a:noFill/>
                <a:prstDash val="solid"/>
                <a:miter/>
              </a:ln>
            </p:spPr>
            <p:txBody>
              <a:bodyPr rtlCol="0" anchor="ctr"/>
              <a:lstStyle/>
              <a:p>
                <a:endParaRPr lang="en-US" sz="1249"/>
              </a:p>
            </p:txBody>
          </p:sp>
          <p:sp>
            <p:nvSpPr>
              <p:cNvPr id="33" name="Graphic 2">
                <a:extLst>
                  <a:ext uri="{FF2B5EF4-FFF2-40B4-BE49-F238E27FC236}">
                    <a16:creationId xmlns:a16="http://schemas.microsoft.com/office/drawing/2014/main" id="{8ABDF203-350F-964A-BD2C-581DA85F7D73}"/>
                  </a:ext>
                </a:extLst>
              </p:cNvPr>
              <p:cNvSpPr/>
              <p:nvPr/>
            </p:nvSpPr>
            <p:spPr>
              <a:xfrm>
                <a:off x="6613417" y="3049697"/>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sp>
            <p:nvSpPr>
              <p:cNvPr id="34" name="Graphic 2">
                <a:extLst>
                  <a:ext uri="{FF2B5EF4-FFF2-40B4-BE49-F238E27FC236}">
                    <a16:creationId xmlns:a16="http://schemas.microsoft.com/office/drawing/2014/main" id="{BD10A12B-82CD-E54D-B0D5-BD479CEAF522}"/>
                  </a:ext>
                </a:extLst>
              </p:cNvPr>
              <p:cNvSpPr/>
              <p:nvPr/>
            </p:nvSpPr>
            <p:spPr>
              <a:xfrm>
                <a:off x="4496930" y="2665552"/>
                <a:ext cx="1816218" cy="240190"/>
              </a:xfrm>
              <a:custGeom>
                <a:avLst/>
                <a:gdLst>
                  <a:gd name="connsiteX0" fmla="*/ 120838 w 1816218"/>
                  <a:gd name="connsiteY0" fmla="*/ 240190 h 240190"/>
                  <a:gd name="connsiteX1" fmla="*/ 1695379 w 1816218"/>
                  <a:gd name="connsiteY1" fmla="*/ 240190 h 240190"/>
                  <a:gd name="connsiteX2" fmla="*/ 1816218 w 1816218"/>
                  <a:gd name="connsiteY2" fmla="*/ 120092 h 240190"/>
                  <a:gd name="connsiteX3" fmla="*/ 1816218 w 1816218"/>
                  <a:gd name="connsiteY3" fmla="*/ 120092 h 240190"/>
                  <a:gd name="connsiteX4" fmla="*/ 1695379 w 1816218"/>
                  <a:gd name="connsiteY4" fmla="*/ 0 h 240190"/>
                  <a:gd name="connsiteX5" fmla="*/ 120838 w 1816218"/>
                  <a:gd name="connsiteY5" fmla="*/ 0 h 240190"/>
                  <a:gd name="connsiteX6" fmla="*/ 0 w 1816218"/>
                  <a:gd name="connsiteY6" fmla="*/ 120092 h 240190"/>
                  <a:gd name="connsiteX7" fmla="*/ 0 w 1816218"/>
                  <a:gd name="connsiteY7" fmla="*/ 120092 h 240190"/>
                  <a:gd name="connsiteX8" fmla="*/ 120838 w 1816218"/>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6218" h="240190">
                    <a:moveTo>
                      <a:pt x="120838" y="240190"/>
                    </a:moveTo>
                    <a:lnTo>
                      <a:pt x="1695379" y="240190"/>
                    </a:lnTo>
                    <a:cubicBezTo>
                      <a:pt x="1761998" y="240311"/>
                      <a:pt x="1816097" y="186540"/>
                      <a:pt x="1816218" y="120092"/>
                    </a:cubicBezTo>
                    <a:lnTo>
                      <a:pt x="1816218" y="120092"/>
                    </a:lnTo>
                    <a:cubicBezTo>
                      <a:pt x="1816097" y="53650"/>
                      <a:pt x="1761998" y="-121"/>
                      <a:pt x="1695379" y="0"/>
                    </a:cubicBezTo>
                    <a:lnTo>
                      <a:pt x="120838" y="0"/>
                    </a:lnTo>
                    <a:cubicBezTo>
                      <a:pt x="54220" y="-121"/>
                      <a:pt x="120" y="53650"/>
                      <a:pt x="0" y="120092"/>
                    </a:cubicBezTo>
                    <a:lnTo>
                      <a:pt x="0" y="120092"/>
                    </a:lnTo>
                    <a:cubicBezTo>
                      <a:pt x="120" y="186540"/>
                      <a:pt x="54220" y="240311"/>
                      <a:pt x="120838" y="240190"/>
                    </a:cubicBezTo>
                    <a:close/>
                  </a:path>
                </a:pathLst>
              </a:custGeom>
              <a:grpFill/>
              <a:ln w="6723" cap="flat">
                <a:noFill/>
                <a:prstDash val="solid"/>
                <a:miter/>
              </a:ln>
            </p:spPr>
            <p:txBody>
              <a:bodyPr rtlCol="0" anchor="ctr"/>
              <a:lstStyle/>
              <a:p>
                <a:endParaRPr lang="en-US" sz="1249"/>
              </a:p>
            </p:txBody>
          </p:sp>
          <p:sp>
            <p:nvSpPr>
              <p:cNvPr id="35" name="Graphic 2">
                <a:extLst>
                  <a:ext uri="{FF2B5EF4-FFF2-40B4-BE49-F238E27FC236}">
                    <a16:creationId xmlns:a16="http://schemas.microsoft.com/office/drawing/2014/main" id="{2BECF4FD-72F5-7940-AF93-C0366E3724D6}"/>
                  </a:ext>
                </a:extLst>
              </p:cNvPr>
              <p:cNvSpPr/>
              <p:nvPr/>
            </p:nvSpPr>
            <p:spPr>
              <a:xfrm>
                <a:off x="6399865" y="2665532"/>
                <a:ext cx="415370" cy="240190"/>
              </a:xfrm>
              <a:custGeom>
                <a:avLst/>
                <a:gdLst>
                  <a:gd name="connsiteX0" fmla="*/ 120839 w 415370"/>
                  <a:gd name="connsiteY0" fmla="*/ 240190 h 240190"/>
                  <a:gd name="connsiteX1" fmla="*/ 294531 w 415370"/>
                  <a:gd name="connsiteY1" fmla="*/ 240190 h 240190"/>
                  <a:gd name="connsiteX2" fmla="*/ 415370 w 415370"/>
                  <a:gd name="connsiteY2" fmla="*/ 120099 h 240190"/>
                  <a:gd name="connsiteX3" fmla="*/ 415370 w 415370"/>
                  <a:gd name="connsiteY3" fmla="*/ 120099 h 240190"/>
                  <a:gd name="connsiteX4" fmla="*/ 294531 w 415370"/>
                  <a:gd name="connsiteY4" fmla="*/ 0 h 240190"/>
                  <a:gd name="connsiteX5" fmla="*/ 120839 w 415370"/>
                  <a:gd name="connsiteY5" fmla="*/ 0 h 240190"/>
                  <a:gd name="connsiteX6" fmla="*/ 0 w 415370"/>
                  <a:gd name="connsiteY6" fmla="*/ 120099 h 240190"/>
                  <a:gd name="connsiteX7" fmla="*/ 0 w 415370"/>
                  <a:gd name="connsiteY7" fmla="*/ 120099 h 240190"/>
                  <a:gd name="connsiteX8" fmla="*/ 120839 w 415370"/>
                  <a:gd name="connsiteY8" fmla="*/ 24019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70" h="240190">
                    <a:moveTo>
                      <a:pt x="120839" y="240190"/>
                    </a:moveTo>
                    <a:lnTo>
                      <a:pt x="294531" y="240190"/>
                    </a:lnTo>
                    <a:cubicBezTo>
                      <a:pt x="361151" y="240311"/>
                      <a:pt x="415249" y="186540"/>
                      <a:pt x="415370" y="120099"/>
                    </a:cubicBezTo>
                    <a:lnTo>
                      <a:pt x="415370" y="120099"/>
                    </a:lnTo>
                    <a:cubicBezTo>
                      <a:pt x="415249" y="53650"/>
                      <a:pt x="361151" y="-121"/>
                      <a:pt x="294531" y="0"/>
                    </a:cubicBezTo>
                    <a:lnTo>
                      <a:pt x="120839" y="0"/>
                    </a:lnTo>
                    <a:cubicBezTo>
                      <a:pt x="54220" y="-121"/>
                      <a:pt x="121" y="53650"/>
                      <a:pt x="0" y="120099"/>
                    </a:cubicBezTo>
                    <a:lnTo>
                      <a:pt x="0" y="120099"/>
                    </a:lnTo>
                    <a:cubicBezTo>
                      <a:pt x="121" y="186540"/>
                      <a:pt x="54220" y="240311"/>
                      <a:pt x="120839" y="240190"/>
                    </a:cubicBezTo>
                    <a:close/>
                  </a:path>
                </a:pathLst>
              </a:custGeom>
              <a:grpFill/>
              <a:ln w="6723" cap="flat">
                <a:noFill/>
                <a:prstDash val="solid"/>
                <a:miter/>
              </a:ln>
            </p:spPr>
            <p:txBody>
              <a:bodyPr rtlCol="0" anchor="ctr"/>
              <a:lstStyle/>
              <a:p>
                <a:endParaRPr lang="en-US" sz="1249"/>
              </a:p>
            </p:txBody>
          </p:sp>
          <p:sp>
            <p:nvSpPr>
              <p:cNvPr id="36" name="Graphic 2">
                <a:extLst>
                  <a:ext uri="{FF2B5EF4-FFF2-40B4-BE49-F238E27FC236}">
                    <a16:creationId xmlns:a16="http://schemas.microsoft.com/office/drawing/2014/main" id="{90153EAF-17B8-9740-A7F2-4E70D9DD4443}"/>
                  </a:ext>
                </a:extLst>
              </p:cNvPr>
              <p:cNvSpPr/>
              <p:nvPr/>
            </p:nvSpPr>
            <p:spPr>
              <a:xfrm>
                <a:off x="6898229" y="2665532"/>
                <a:ext cx="355007" cy="240190"/>
              </a:xfrm>
              <a:custGeom>
                <a:avLst/>
                <a:gdLst>
                  <a:gd name="connsiteX0" fmla="*/ 120839 w 355007"/>
                  <a:gd name="connsiteY0" fmla="*/ 0 h 240190"/>
                  <a:gd name="connsiteX1" fmla="*/ 234169 w 355007"/>
                  <a:gd name="connsiteY1" fmla="*/ 0 h 240190"/>
                  <a:gd name="connsiteX2" fmla="*/ 355008 w 355007"/>
                  <a:gd name="connsiteY2" fmla="*/ 120099 h 240190"/>
                  <a:gd name="connsiteX3" fmla="*/ 355008 w 355007"/>
                  <a:gd name="connsiteY3" fmla="*/ 120099 h 240190"/>
                  <a:gd name="connsiteX4" fmla="*/ 234169 w 355007"/>
                  <a:gd name="connsiteY4" fmla="*/ 240190 h 240190"/>
                  <a:gd name="connsiteX5" fmla="*/ 120839 w 355007"/>
                  <a:gd name="connsiteY5" fmla="*/ 240190 h 240190"/>
                  <a:gd name="connsiteX6" fmla="*/ 0 w 355007"/>
                  <a:gd name="connsiteY6" fmla="*/ 120099 h 240190"/>
                  <a:gd name="connsiteX7" fmla="*/ 0 w 355007"/>
                  <a:gd name="connsiteY7" fmla="*/ 120099 h 240190"/>
                  <a:gd name="connsiteX8" fmla="*/ 120839 w 355007"/>
                  <a:gd name="connsiteY8" fmla="*/ 0 h 2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07" h="240190">
                    <a:moveTo>
                      <a:pt x="120839" y="0"/>
                    </a:moveTo>
                    <a:lnTo>
                      <a:pt x="234169" y="0"/>
                    </a:lnTo>
                    <a:cubicBezTo>
                      <a:pt x="300788" y="-121"/>
                      <a:pt x="354887" y="53650"/>
                      <a:pt x="355008" y="120099"/>
                    </a:cubicBezTo>
                    <a:lnTo>
                      <a:pt x="355008" y="120099"/>
                    </a:lnTo>
                    <a:cubicBezTo>
                      <a:pt x="354887" y="186540"/>
                      <a:pt x="300788" y="240311"/>
                      <a:pt x="234169" y="240190"/>
                    </a:cubicBezTo>
                    <a:lnTo>
                      <a:pt x="120839" y="240190"/>
                    </a:lnTo>
                    <a:cubicBezTo>
                      <a:pt x="54220" y="240311"/>
                      <a:pt x="121" y="186540"/>
                      <a:pt x="0" y="120099"/>
                    </a:cubicBezTo>
                    <a:lnTo>
                      <a:pt x="0" y="120099"/>
                    </a:lnTo>
                    <a:cubicBezTo>
                      <a:pt x="121" y="53650"/>
                      <a:pt x="54220" y="-121"/>
                      <a:pt x="120839" y="0"/>
                    </a:cubicBezTo>
                    <a:close/>
                  </a:path>
                </a:pathLst>
              </a:custGeom>
              <a:grpFill/>
              <a:ln w="6723" cap="flat">
                <a:noFill/>
                <a:prstDash val="solid"/>
                <a:miter/>
              </a:ln>
            </p:spPr>
            <p:txBody>
              <a:bodyPr rtlCol="0" anchor="ctr"/>
              <a:lstStyle/>
              <a:p>
                <a:endParaRPr lang="en-US" sz="1249"/>
              </a:p>
            </p:txBody>
          </p:sp>
        </p:grpSp>
        <p:sp>
          <p:nvSpPr>
            <p:cNvPr id="64" name="Graphic 56">
              <a:extLst>
                <a:ext uri="{FF2B5EF4-FFF2-40B4-BE49-F238E27FC236}">
                  <a16:creationId xmlns:a16="http://schemas.microsoft.com/office/drawing/2014/main" id="{114D2862-8E67-E54A-BCC3-08FA6EF88A28}"/>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63" name="Graphic 61">
              <a:extLst>
                <a:ext uri="{FF2B5EF4-FFF2-40B4-BE49-F238E27FC236}">
                  <a16:creationId xmlns:a16="http://schemas.microsoft.com/office/drawing/2014/main" id="{31E1DCDD-F49C-084A-85A5-EC2183D5EA92}"/>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nvGrpSpPr>
            <p:cNvPr id="37" name="4 Xs">
              <a:extLst>
                <a:ext uri="{FF2B5EF4-FFF2-40B4-BE49-F238E27FC236}">
                  <a16:creationId xmlns:a16="http://schemas.microsoft.com/office/drawing/2014/main" id="{2428E0FC-1648-9543-BAF3-57967B99CAF3}"/>
                </a:ext>
              </a:extLst>
            </p:cNvPr>
            <p:cNvGrpSpPr/>
            <p:nvPr userDrawn="1"/>
          </p:nvGrpSpPr>
          <p:grpSpPr>
            <a:xfrm>
              <a:off x="10907686" y="7556834"/>
              <a:ext cx="2503874" cy="1376481"/>
              <a:chOff x="4350238" y="4169018"/>
              <a:chExt cx="1298751" cy="713976"/>
            </a:xfrm>
            <a:solidFill>
              <a:schemeClr val="accent5">
                <a:alpha val="50000"/>
              </a:schemeClr>
            </a:solidFill>
          </p:grpSpPr>
          <p:sp>
            <p:nvSpPr>
              <p:cNvPr id="38" name="Graphic 37">
                <a:extLst>
                  <a:ext uri="{FF2B5EF4-FFF2-40B4-BE49-F238E27FC236}">
                    <a16:creationId xmlns:a16="http://schemas.microsoft.com/office/drawing/2014/main" id="{890E5B45-35A6-E24C-892F-F944E2F1576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39" name="Graphic 37">
                <a:extLst>
                  <a:ext uri="{FF2B5EF4-FFF2-40B4-BE49-F238E27FC236}">
                    <a16:creationId xmlns:a16="http://schemas.microsoft.com/office/drawing/2014/main" id="{4C913FCA-D8CF-0544-8BEA-D9483D1026D3}"/>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0" name="Graphic 37">
                <a:extLst>
                  <a:ext uri="{FF2B5EF4-FFF2-40B4-BE49-F238E27FC236}">
                    <a16:creationId xmlns:a16="http://schemas.microsoft.com/office/drawing/2014/main" id="{FE4A9092-A59B-2B4B-992A-B70F0727CE4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1" name="Graphic 37">
                <a:extLst>
                  <a:ext uri="{FF2B5EF4-FFF2-40B4-BE49-F238E27FC236}">
                    <a16:creationId xmlns:a16="http://schemas.microsoft.com/office/drawing/2014/main" id="{8885AE4E-A2DB-B34B-9080-690ED54CEB4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spTree>
    <p:extLst>
      <p:ext uri="{BB962C8B-B14F-4D97-AF65-F5344CB8AC3E}">
        <p14:creationId xmlns:p14="http://schemas.microsoft.com/office/powerpoint/2010/main" val="227461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Speak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35" name="4 Xs">
            <a:extLst>
              <a:ext uri="{FF2B5EF4-FFF2-40B4-BE49-F238E27FC236}">
                <a16:creationId xmlns:a16="http://schemas.microsoft.com/office/drawing/2014/main" id="{6B49B282-FF20-8449-BA31-484C4E7A5229}"/>
              </a:ext>
            </a:extLst>
          </p:cNvPr>
          <p:cNvGrpSpPr/>
          <p:nvPr userDrawn="1"/>
        </p:nvGrpSpPr>
        <p:grpSpPr>
          <a:xfrm>
            <a:off x="10281533" y="2246882"/>
            <a:ext cx="901927" cy="495801"/>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36" name="Graphic 37">
              <a:extLst>
                <a:ext uri="{FF2B5EF4-FFF2-40B4-BE49-F238E27FC236}">
                  <a16:creationId xmlns:a16="http://schemas.microsoft.com/office/drawing/2014/main" id="{661EFE0F-4706-A746-A1A2-76A0B3E2BC4B}"/>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7" name="Graphic 37">
              <a:extLst>
                <a:ext uri="{FF2B5EF4-FFF2-40B4-BE49-F238E27FC236}">
                  <a16:creationId xmlns:a16="http://schemas.microsoft.com/office/drawing/2014/main" id="{2DFFE081-8C15-D649-9C4F-E5218C0B12B5}"/>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8" name="Graphic 37">
              <a:extLst>
                <a:ext uri="{FF2B5EF4-FFF2-40B4-BE49-F238E27FC236}">
                  <a16:creationId xmlns:a16="http://schemas.microsoft.com/office/drawing/2014/main" id="{DEC2333C-8FFD-2146-8B36-3D41AC6EBA9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sp>
          <p:nvSpPr>
            <p:cNvPr id="39" name="Graphic 37">
              <a:extLst>
                <a:ext uri="{FF2B5EF4-FFF2-40B4-BE49-F238E27FC236}">
                  <a16:creationId xmlns:a16="http://schemas.microsoft.com/office/drawing/2014/main" id="{B036B269-2872-0B4C-B814-C430DE19CD04}"/>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latin typeface="Source Sans Pro" panose="020B0503030403020204" pitchFamily="34" charset="0"/>
              </a:endParaRPr>
            </a:p>
          </p:txBody>
        </p:sp>
      </p:grpSp>
      <p:grpSp>
        <p:nvGrpSpPr>
          <p:cNvPr id="40" name="3 Xs">
            <a:extLst>
              <a:ext uri="{FF2B5EF4-FFF2-40B4-BE49-F238E27FC236}">
                <a16:creationId xmlns:a16="http://schemas.microsoft.com/office/drawing/2014/main" id="{96DE3103-7D40-FE4A-AD21-DA0142F5FF67}"/>
              </a:ext>
            </a:extLst>
          </p:cNvPr>
          <p:cNvGrpSpPr/>
          <p:nvPr userDrawn="1"/>
        </p:nvGrpSpPr>
        <p:grpSpPr>
          <a:xfrm>
            <a:off x="4266683" y="5548188"/>
            <a:ext cx="458901" cy="367661"/>
            <a:chOff x="7760677" y="469802"/>
            <a:chExt cx="660806" cy="529450"/>
          </a:xfrm>
          <a:solidFill>
            <a:schemeClr val="accent5">
              <a:alpha val="18390"/>
            </a:schemeClr>
          </a:solidFill>
        </p:grpSpPr>
        <p:sp>
          <p:nvSpPr>
            <p:cNvPr id="41" name="Freeform 40">
              <a:extLst>
                <a:ext uri="{FF2B5EF4-FFF2-40B4-BE49-F238E27FC236}">
                  <a16:creationId xmlns:a16="http://schemas.microsoft.com/office/drawing/2014/main" id="{4B6F1A4B-8D5A-534F-9E1B-3738DE0A9383}"/>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2" name="Freeform 41">
              <a:extLst>
                <a:ext uri="{FF2B5EF4-FFF2-40B4-BE49-F238E27FC236}">
                  <a16:creationId xmlns:a16="http://schemas.microsoft.com/office/drawing/2014/main" id="{20FE6A47-4D90-7549-92DD-1166CCA3D916}"/>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sp>
          <p:nvSpPr>
            <p:cNvPr id="43" name="Freeform 42">
              <a:extLst>
                <a:ext uri="{FF2B5EF4-FFF2-40B4-BE49-F238E27FC236}">
                  <a16:creationId xmlns:a16="http://schemas.microsoft.com/office/drawing/2014/main" id="{848D65A1-2062-5D4D-A1E5-F6DA3918463E}"/>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latin typeface="Source Sans Pro" panose="020B0503030403020204" pitchFamily="34" charset="0"/>
              </a:endParaRPr>
            </a:p>
          </p:txBody>
        </p:sp>
      </p:grpSp>
      <p:grpSp>
        <p:nvGrpSpPr>
          <p:cNvPr id="44" name="waves">
            <a:extLst>
              <a:ext uri="{FF2B5EF4-FFF2-40B4-BE49-F238E27FC236}">
                <a16:creationId xmlns:a16="http://schemas.microsoft.com/office/drawing/2014/main" id="{3E36DA55-C2AD-DB4B-B056-C8D8A465ACBC}"/>
              </a:ext>
            </a:extLst>
          </p:cNvPr>
          <p:cNvGrpSpPr/>
          <p:nvPr userDrawn="1"/>
        </p:nvGrpSpPr>
        <p:grpSpPr>
          <a:xfrm>
            <a:off x="6096001" y="4542732"/>
            <a:ext cx="7779727" cy="2330729"/>
            <a:chOff x="4253152" y="151074"/>
            <a:chExt cx="6930220" cy="2076330"/>
          </a:xfrm>
        </p:grpSpPr>
        <p:sp>
          <p:nvSpPr>
            <p:cNvPr id="45" name="coral">
              <a:extLst>
                <a:ext uri="{FF2B5EF4-FFF2-40B4-BE49-F238E27FC236}">
                  <a16:creationId xmlns:a16="http://schemas.microsoft.com/office/drawing/2014/main" id="{2D6DBFE9-65EF-3D48-B26A-C68DFA974FD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latin typeface="Source Sans Pro" panose="020B0503030403020204" pitchFamily="34" charset="0"/>
              </a:endParaRPr>
            </a:p>
          </p:txBody>
        </p:sp>
        <p:sp>
          <p:nvSpPr>
            <p:cNvPr id="46" name="green">
              <a:extLst>
                <a:ext uri="{FF2B5EF4-FFF2-40B4-BE49-F238E27FC236}">
                  <a16:creationId xmlns:a16="http://schemas.microsoft.com/office/drawing/2014/main" id="{2C2D7C0F-291B-4C40-BA4D-FEDF4CBE20C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latin typeface="Source Sans Pro" panose="020B0503030403020204" pitchFamily="34" charset="0"/>
              </a:endParaRPr>
            </a:p>
          </p:txBody>
        </p:sp>
      </p:grpSp>
      <p:grpSp>
        <p:nvGrpSpPr>
          <p:cNvPr id="47" name="4 Xs">
            <a:extLst>
              <a:ext uri="{FF2B5EF4-FFF2-40B4-BE49-F238E27FC236}">
                <a16:creationId xmlns:a16="http://schemas.microsoft.com/office/drawing/2014/main" id="{FCCC3519-D4E1-5B4B-ABF9-7F03660E1A0B}"/>
              </a:ext>
            </a:extLst>
          </p:cNvPr>
          <p:cNvGrpSpPr/>
          <p:nvPr userDrawn="1"/>
        </p:nvGrpSpPr>
        <p:grpSpPr>
          <a:xfrm rot="16200000" flipH="1">
            <a:off x="7970090"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48" name="Graphic 37">
              <a:extLst>
                <a:ext uri="{FF2B5EF4-FFF2-40B4-BE49-F238E27FC236}">
                  <a16:creationId xmlns:a16="http://schemas.microsoft.com/office/drawing/2014/main" id="{8F958F55-1DC0-A84B-A3C4-95C4FAFA74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49" name="Graphic 37">
              <a:extLst>
                <a:ext uri="{FF2B5EF4-FFF2-40B4-BE49-F238E27FC236}">
                  <a16:creationId xmlns:a16="http://schemas.microsoft.com/office/drawing/2014/main" id="{CF222B64-874C-8646-9961-9C321A217BB6}"/>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sp>
          <p:nvSpPr>
            <p:cNvPr id="50" name="Graphic 37">
              <a:extLst>
                <a:ext uri="{FF2B5EF4-FFF2-40B4-BE49-F238E27FC236}">
                  <a16:creationId xmlns:a16="http://schemas.microsoft.com/office/drawing/2014/main" id="{5D03B336-2088-DE47-9BF3-5DDF1F20A0EA}"/>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latin typeface="Source Sans Pro" panose="020B0503030403020204" pitchFamily="34" charset="0"/>
              </a:endParaRPr>
            </a:p>
          </p:txBody>
        </p:sp>
      </p:grpSp>
      <p:sp>
        <p:nvSpPr>
          <p:cNvPr id="2" name="Title 1">
            <a:extLst>
              <a:ext uri="{FF2B5EF4-FFF2-40B4-BE49-F238E27FC236}">
                <a16:creationId xmlns:a16="http://schemas.microsoft.com/office/drawing/2014/main" id="{586C354E-8373-D44A-B438-5E9F46E8FB7E}"/>
              </a:ext>
            </a:extLst>
          </p:cNvPr>
          <p:cNvSpPr>
            <a:spLocks noGrp="1"/>
          </p:cNvSpPr>
          <p:nvPr>
            <p:ph type="ctrTitle" hasCustomPrompt="1"/>
          </p:nvPr>
        </p:nvSpPr>
        <p:spPr>
          <a:xfrm>
            <a:off x="4703055" y="2558866"/>
            <a:ext cx="6980716" cy="1111535"/>
          </a:xfrm>
          <a:prstGeom prst="rect">
            <a:avLst/>
          </a:prstGeom>
        </p:spPr>
        <p:txBody>
          <a:bodyPr anchor="ctr" anchorCtr="0">
            <a:normAutofit/>
          </a:bodyPr>
          <a:lstStyle>
            <a:lvl1pPr algn="l">
              <a:defRPr sz="4583">
                <a:solidFill>
                  <a:schemeClr val="accent5"/>
                </a:solidFill>
                <a:latin typeface="Source Sans Pro" panose="020B0503030403020204" pitchFamily="34" charset="0"/>
              </a:defRPr>
            </a:lvl1pPr>
          </a:lstStyle>
          <a:p>
            <a:r>
              <a:rPr lang="en-US" dirty="0"/>
              <a:t>First Last</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hasCustomPrompt="1"/>
          </p:nvPr>
        </p:nvSpPr>
        <p:spPr>
          <a:xfrm>
            <a:off x="4703055" y="3826100"/>
            <a:ext cx="6875983" cy="532587"/>
          </a:xfrm>
          <a:prstGeom prst="rect">
            <a:avLst/>
          </a:prstGeom>
        </p:spPr>
        <p:txBody>
          <a:bodyPr/>
          <a:lstStyle>
            <a:lvl1pPr marL="0" indent="0" algn="l">
              <a:buNone/>
              <a:defRPr sz="2400">
                <a:solidFill>
                  <a:schemeClr val="bg2"/>
                </a:solidFill>
                <a:latin typeface="Source Sans Pro" panose="020B0503030403020204" pitchFamily="34" charset="0"/>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Title, Company</a:t>
            </a:r>
          </a:p>
        </p:txBody>
      </p:sp>
      <p:pic>
        <p:nvPicPr>
          <p:cNvPr id="6" name="Picture 5">
            <a:extLst>
              <a:ext uri="{FF2B5EF4-FFF2-40B4-BE49-F238E27FC236}">
                <a16:creationId xmlns:a16="http://schemas.microsoft.com/office/drawing/2014/main" id="{513E09BB-3A34-7645-AFFB-D25C8E2D5F72}"/>
              </a:ext>
            </a:extLst>
          </p:cNvPr>
          <p:cNvPicPr>
            <a:picLocks noChangeAspect="1"/>
          </p:cNvPicPr>
          <p:nvPr userDrawn="1"/>
        </p:nvPicPr>
        <p:blipFill>
          <a:blip r:embed="rId2"/>
          <a:stretch>
            <a:fillRect/>
          </a:stretch>
        </p:blipFill>
        <p:spPr>
          <a:xfrm>
            <a:off x="508229" y="563421"/>
            <a:ext cx="927403" cy="927401"/>
          </a:xfrm>
          <a:prstGeom prst="rect">
            <a:avLst/>
          </a:prstGeom>
        </p:spPr>
      </p:pic>
      <p:grpSp>
        <p:nvGrpSpPr>
          <p:cNvPr id="7" name="Photo">
            <a:extLst>
              <a:ext uri="{FF2B5EF4-FFF2-40B4-BE49-F238E27FC236}">
                <a16:creationId xmlns:a16="http://schemas.microsoft.com/office/drawing/2014/main" id="{2199EC45-4F3B-724E-97CC-7FC956B4B86B}"/>
              </a:ext>
            </a:extLst>
          </p:cNvPr>
          <p:cNvGrpSpPr/>
          <p:nvPr userDrawn="1"/>
        </p:nvGrpSpPr>
        <p:grpSpPr>
          <a:xfrm>
            <a:off x="1209262" y="1953610"/>
            <a:ext cx="2952036" cy="2951885"/>
            <a:chOff x="2925896" y="913502"/>
            <a:chExt cx="3630630" cy="3630630"/>
          </a:xfrm>
        </p:grpSpPr>
        <p:sp>
          <p:nvSpPr>
            <p:cNvPr id="8" name="Oval 7">
              <a:extLst>
                <a:ext uri="{FF2B5EF4-FFF2-40B4-BE49-F238E27FC236}">
                  <a16:creationId xmlns:a16="http://schemas.microsoft.com/office/drawing/2014/main" id="{3F3B23D8-7258-B541-90BD-1AD09EC73516}"/>
                </a:ext>
              </a:extLst>
            </p:cNvPr>
            <p:cNvSpPr/>
            <p:nvPr/>
          </p:nvSpPr>
          <p:spPr>
            <a:xfrm>
              <a:off x="2925896" y="913502"/>
              <a:ext cx="3630630" cy="3630630"/>
            </a:xfrm>
            <a:prstGeom prst="ellipse">
              <a:avLst/>
            </a:prstGeom>
            <a:gradFill flip="none" rotWithShape="1">
              <a:gsLst>
                <a:gs pos="0">
                  <a:srgbClr val="4D80A4"/>
                </a:gs>
                <a:gs pos="72000">
                  <a:srgbClr val="22415F"/>
                </a:gs>
                <a:gs pos="99000">
                  <a:schemeClr val="tx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8070" rtl="0" eaLnBrk="1" fontAlgn="auto" latinLnBrk="0" hangingPunct="1">
                <a:lnSpc>
                  <a:spcPct val="100000"/>
                </a:lnSpc>
                <a:spcBef>
                  <a:spcPts val="0"/>
                </a:spcBef>
                <a:spcAft>
                  <a:spcPts val="0"/>
                </a:spcAft>
                <a:buClrTx/>
                <a:buSzTx/>
                <a:buFontTx/>
                <a:buNone/>
                <a:tabLst/>
                <a:defRPr/>
              </a:pPr>
              <a:endParaRPr kumimoji="0" lang="en-US" sz="740" u="none" strike="noStrike" kern="1200" cap="none" spc="0" normalizeH="0" baseline="0" noProof="0" dirty="0">
                <a:ln>
                  <a:noFill/>
                </a:ln>
                <a:solidFill>
                  <a:srgbClr val="F8F3EF"/>
                </a:solidFill>
                <a:effectLst/>
                <a:uLnTx/>
                <a:uFillTx/>
                <a:latin typeface="Source Sans Pro" panose="020B0503030403020204" pitchFamily="34" charset="0"/>
                <a:ea typeface="+mn-ea"/>
                <a:cs typeface="+mn-cs"/>
              </a:endParaRPr>
            </a:p>
          </p:txBody>
        </p:sp>
        <p:pic>
          <p:nvPicPr>
            <p:cNvPr id="9" name="Picture 8">
              <a:extLst>
                <a:ext uri="{FF2B5EF4-FFF2-40B4-BE49-F238E27FC236}">
                  <a16:creationId xmlns:a16="http://schemas.microsoft.com/office/drawing/2014/main" id="{309D3969-35AE-BA42-959F-89CC45BB343C}"/>
                </a:ext>
              </a:extLst>
            </p:cNvPr>
            <p:cNvPicPr>
              <a:picLocks noChangeAspect="1"/>
            </p:cNvPicPr>
            <p:nvPr/>
          </p:nvPicPr>
          <p:blipFill rotWithShape="1">
            <a:blip r:embed="rId3"/>
            <a:srcRect l="5686" t="25971" r="24859" b="20353"/>
            <a:stretch/>
          </p:blipFill>
          <p:spPr>
            <a:xfrm>
              <a:off x="2925896" y="913502"/>
              <a:ext cx="3630630" cy="3630630"/>
            </a:xfrm>
            <a:prstGeom prst="ellipse">
              <a:avLst/>
            </a:prstGeom>
          </p:spPr>
        </p:pic>
      </p:grpSp>
    </p:spTree>
    <p:extLst>
      <p:ext uri="{BB962C8B-B14F-4D97-AF65-F5344CB8AC3E}">
        <p14:creationId xmlns:p14="http://schemas.microsoft.com/office/powerpoint/2010/main" val="411408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decel="50000" fill="hold" nodeType="withEffect">
                                  <p:stCondLst>
                                    <p:cond delay="0"/>
                                  </p:stCondLst>
                                  <p:childTnLst>
                                    <p:animScale>
                                      <p:cBhvr>
                                        <p:cTn id="9" dur="5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2_Divider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2503081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Divider slide">
    <p:bg>
      <p:bgPr>
        <a:gradFill>
          <a:gsLst>
            <a:gs pos="0">
              <a:srgbClr val="163456"/>
            </a:gs>
            <a:gs pos="100000">
              <a:srgbClr val="2C1F55"/>
            </a:gs>
          </a:gsLst>
          <a:lin ang="2700000" scaled="1"/>
        </a:gradFill>
        <a:effectLst/>
      </p:bgPr>
    </p:bg>
    <p:spTree>
      <p:nvGrpSpPr>
        <p:cNvPr id="1" name=""/>
        <p:cNvGrpSpPr/>
        <p:nvPr/>
      </p:nvGrpSpPr>
      <p:grpSpPr>
        <a:xfrm>
          <a:off x="0" y="0"/>
          <a:ext cx="0" cy="0"/>
          <a:chOff x="0" y="0"/>
          <a:chExt cx="0" cy="0"/>
        </a:xfrm>
      </p:grpSpPr>
      <p:grpSp>
        <p:nvGrpSpPr>
          <p:cNvPr id="21" name="waves">
            <a:extLst>
              <a:ext uri="{FF2B5EF4-FFF2-40B4-BE49-F238E27FC236}">
                <a16:creationId xmlns:a16="http://schemas.microsoft.com/office/drawing/2014/main" id="{1260B02B-3B53-9A41-BEA1-4A9DC2F01D18}"/>
              </a:ext>
            </a:extLst>
          </p:cNvPr>
          <p:cNvGrpSpPr/>
          <p:nvPr userDrawn="1"/>
        </p:nvGrpSpPr>
        <p:grpSpPr>
          <a:xfrm>
            <a:off x="-1566254" y="5170549"/>
            <a:ext cx="17037436" cy="1687452"/>
            <a:chOff x="4253152" y="151074"/>
            <a:chExt cx="6930220" cy="2076330"/>
          </a:xfrm>
        </p:grpSpPr>
        <p:sp>
          <p:nvSpPr>
            <p:cNvPr id="39" name="coral">
              <a:extLst>
                <a:ext uri="{FF2B5EF4-FFF2-40B4-BE49-F238E27FC236}">
                  <a16:creationId xmlns:a16="http://schemas.microsoft.com/office/drawing/2014/main" id="{15488611-64D5-0E46-9F02-EA98A3FE0B49}"/>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0" name="green">
              <a:extLst>
                <a:ext uri="{FF2B5EF4-FFF2-40B4-BE49-F238E27FC236}">
                  <a16:creationId xmlns:a16="http://schemas.microsoft.com/office/drawing/2014/main" id="{B6C1B0A9-1948-FE45-AA01-FDD9BFFCA45D}"/>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41" name="waves">
            <a:extLst>
              <a:ext uri="{FF2B5EF4-FFF2-40B4-BE49-F238E27FC236}">
                <a16:creationId xmlns:a16="http://schemas.microsoft.com/office/drawing/2014/main" id="{6B8E37ED-3EE7-974A-8206-F4BF3FC0D42E}"/>
              </a:ext>
            </a:extLst>
          </p:cNvPr>
          <p:cNvGrpSpPr/>
          <p:nvPr userDrawn="1"/>
        </p:nvGrpSpPr>
        <p:grpSpPr>
          <a:xfrm>
            <a:off x="-1593149" y="5170549"/>
            <a:ext cx="17037436" cy="1687452"/>
            <a:chOff x="4253152" y="151074"/>
            <a:chExt cx="6930220" cy="2076330"/>
          </a:xfrm>
        </p:grpSpPr>
        <p:sp>
          <p:nvSpPr>
            <p:cNvPr id="42" name="coral">
              <a:extLst>
                <a:ext uri="{FF2B5EF4-FFF2-40B4-BE49-F238E27FC236}">
                  <a16:creationId xmlns:a16="http://schemas.microsoft.com/office/drawing/2014/main" id="{0F084689-C927-E747-ABE8-A25E8BE933B3}"/>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43" name="green">
              <a:extLst>
                <a:ext uri="{FF2B5EF4-FFF2-40B4-BE49-F238E27FC236}">
                  <a16:creationId xmlns:a16="http://schemas.microsoft.com/office/drawing/2014/main" id="{C06BBAB8-1392-D74C-80DE-D446B44242DB}"/>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accent5"/>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6">
              <a:alpha val="44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28529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1_Divider slide">
    <p:bg>
      <p:bgPr>
        <a:gradFill flip="none" rotWithShape="1">
          <a:gsLst>
            <a:gs pos="0">
              <a:srgbClr val="378FCE">
                <a:alpha val="14662"/>
              </a:srgbClr>
            </a:gs>
            <a:gs pos="88000">
              <a:schemeClr val="accent5"/>
            </a:gs>
          </a:gsLst>
          <a:lin ang="2700000" scaled="1"/>
          <a:tileRect/>
        </a:gra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0883345-F445-8A45-BD8F-B0EF5EF0510D}"/>
              </a:ext>
            </a:extLst>
          </p:cNvPr>
          <p:cNvSpPr/>
          <p:nvPr userDrawn="1"/>
        </p:nvSpPr>
        <p:spPr>
          <a:xfrm>
            <a:off x="94414" y="196633"/>
            <a:ext cx="2238900" cy="2238787"/>
          </a:xfrm>
          <a:prstGeom prst="ellipse">
            <a:avLst/>
          </a:prstGeom>
          <a:gradFill flip="none" rotWithShape="1">
            <a:gsLst>
              <a:gs pos="0">
                <a:schemeClr val="accent1">
                  <a:lumMod val="20000"/>
                  <a:lumOff val="80000"/>
                  <a:alpha val="53000"/>
                </a:schemeClr>
              </a:gs>
              <a:gs pos="98000">
                <a:srgbClr val="378FCE">
                  <a:alpha val="20488"/>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2" name="Title 1">
            <a:extLst>
              <a:ext uri="{FF2B5EF4-FFF2-40B4-BE49-F238E27FC236}">
                <a16:creationId xmlns:a16="http://schemas.microsoft.com/office/drawing/2014/main" id="{586C354E-8373-D44A-B438-5E9F46E8FB7E}"/>
              </a:ext>
            </a:extLst>
          </p:cNvPr>
          <p:cNvSpPr>
            <a:spLocks noGrp="1"/>
          </p:cNvSpPr>
          <p:nvPr>
            <p:ph type="ctrTitle"/>
          </p:nvPr>
        </p:nvSpPr>
        <p:spPr>
          <a:xfrm>
            <a:off x="508231" y="2095935"/>
            <a:ext cx="8216276" cy="2115120"/>
          </a:xfrm>
          <a:prstGeom prst="rect">
            <a:avLst/>
          </a:prstGeom>
        </p:spPr>
        <p:txBody>
          <a:bodyPr anchor="b">
            <a:normAutofit/>
          </a:bodyPr>
          <a:lstStyle>
            <a:lvl1pPr algn="l">
              <a:defRPr sz="5555">
                <a:solidFill>
                  <a:schemeClr val="tx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89752FD4-2B53-2041-A42C-D898B34E09B2}"/>
              </a:ext>
            </a:extLst>
          </p:cNvPr>
          <p:cNvSpPr>
            <a:spLocks noGrp="1"/>
          </p:cNvSpPr>
          <p:nvPr>
            <p:ph type="subTitle" idx="1"/>
          </p:nvPr>
        </p:nvSpPr>
        <p:spPr>
          <a:xfrm>
            <a:off x="508231" y="4303129"/>
            <a:ext cx="8216276" cy="1174763"/>
          </a:xfrm>
          <a:prstGeom prst="rect">
            <a:avLst/>
          </a:prstGeom>
        </p:spPr>
        <p:txBody>
          <a:bodyPr/>
          <a:lstStyle>
            <a:lvl1pPr marL="0" indent="0" algn="l">
              <a:buNone/>
              <a:defRPr sz="2400">
                <a:solidFill>
                  <a:schemeClr val="bg2"/>
                </a:solidFill>
              </a:defRPr>
            </a:lvl1pPr>
            <a:lvl2pPr marL="457159" indent="0" algn="ctr">
              <a:buNone/>
              <a:defRPr sz="2000"/>
            </a:lvl2pPr>
            <a:lvl3pPr marL="914318" indent="0" algn="ctr">
              <a:buNone/>
              <a:defRPr sz="1800"/>
            </a:lvl3pPr>
            <a:lvl4pPr marL="1371478" indent="0" algn="ctr">
              <a:buNone/>
              <a:defRPr sz="1600"/>
            </a:lvl4pPr>
            <a:lvl5pPr marL="1828637" indent="0" algn="ctr">
              <a:buNone/>
              <a:defRPr sz="1600"/>
            </a:lvl5pPr>
            <a:lvl6pPr marL="2285796" indent="0" algn="ctr">
              <a:buNone/>
              <a:defRPr sz="1600"/>
            </a:lvl6pPr>
            <a:lvl7pPr marL="2742955" indent="0" algn="ctr">
              <a:buNone/>
              <a:defRPr sz="1600"/>
            </a:lvl7pPr>
            <a:lvl8pPr marL="3200115" indent="0" algn="ctr">
              <a:buNone/>
              <a:defRPr sz="1600"/>
            </a:lvl8pPr>
            <a:lvl9pPr marL="3657274" indent="0" algn="ctr">
              <a:buNone/>
              <a:defRPr sz="1600"/>
            </a:lvl9pPr>
          </a:lstStyle>
          <a:p>
            <a:r>
              <a:rPr lang="en-US" dirty="0"/>
              <a:t>Click to edit Master subtitle style</a:t>
            </a:r>
          </a:p>
        </p:txBody>
      </p:sp>
      <p:grpSp>
        <p:nvGrpSpPr>
          <p:cNvPr id="23" name="4 Xs">
            <a:extLst>
              <a:ext uri="{FF2B5EF4-FFF2-40B4-BE49-F238E27FC236}">
                <a16:creationId xmlns:a16="http://schemas.microsoft.com/office/drawing/2014/main" id="{A97A4F97-595E-AB45-B8B4-1BA149A24FA7}"/>
              </a:ext>
            </a:extLst>
          </p:cNvPr>
          <p:cNvGrpSpPr/>
          <p:nvPr userDrawn="1"/>
        </p:nvGrpSpPr>
        <p:grpSpPr>
          <a:xfrm>
            <a:off x="10281533" y="2246882"/>
            <a:ext cx="901927" cy="495801"/>
            <a:chOff x="4350238" y="4169018"/>
            <a:chExt cx="1298751" cy="713976"/>
          </a:xfrm>
          <a:gradFill flip="none" rotWithShape="1">
            <a:gsLst>
              <a:gs pos="0">
                <a:schemeClr val="accent1">
                  <a:lumMod val="60000"/>
                  <a:lumOff val="40000"/>
                </a:schemeClr>
              </a:gs>
              <a:gs pos="100000">
                <a:schemeClr val="accent3">
                  <a:lumMod val="40000"/>
                  <a:lumOff val="60000"/>
                </a:schemeClr>
              </a:gs>
            </a:gsLst>
            <a:lin ang="10800000" scaled="1"/>
            <a:tileRect/>
          </a:gradFill>
        </p:grpSpPr>
        <p:sp>
          <p:nvSpPr>
            <p:cNvPr id="24" name="Graphic 37">
              <a:extLst>
                <a:ext uri="{FF2B5EF4-FFF2-40B4-BE49-F238E27FC236}">
                  <a16:creationId xmlns:a16="http://schemas.microsoft.com/office/drawing/2014/main" id="{873CFB0B-BBEB-524A-976F-147C622DBDA4}"/>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5" name="Graphic 37">
              <a:extLst>
                <a:ext uri="{FF2B5EF4-FFF2-40B4-BE49-F238E27FC236}">
                  <a16:creationId xmlns:a16="http://schemas.microsoft.com/office/drawing/2014/main" id="{4CA42B37-C2A3-564A-BC3D-6D512195FE6E}"/>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41C8F24-82B1-2D4C-A1EA-E86F1AE198D1}"/>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7DB6D4A7-29E2-0748-B002-70DE45FED422}"/>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28" name="3 Xs">
            <a:extLst>
              <a:ext uri="{FF2B5EF4-FFF2-40B4-BE49-F238E27FC236}">
                <a16:creationId xmlns:a16="http://schemas.microsoft.com/office/drawing/2014/main" id="{97A82167-14E0-1749-BEBB-E71F9BF9014F}"/>
              </a:ext>
            </a:extLst>
          </p:cNvPr>
          <p:cNvGrpSpPr/>
          <p:nvPr userDrawn="1"/>
        </p:nvGrpSpPr>
        <p:grpSpPr>
          <a:xfrm flipH="1">
            <a:off x="508000" y="631889"/>
            <a:ext cx="1033941" cy="828372"/>
            <a:chOff x="7760677" y="469802"/>
            <a:chExt cx="660806" cy="529450"/>
          </a:xfrm>
          <a:solidFill>
            <a:schemeClr val="accent5">
              <a:alpha val="92000"/>
            </a:schemeClr>
          </a:solidFill>
        </p:grpSpPr>
        <p:sp>
          <p:nvSpPr>
            <p:cNvPr id="29" name="Freeform 28">
              <a:extLst>
                <a:ext uri="{FF2B5EF4-FFF2-40B4-BE49-F238E27FC236}">
                  <a16:creationId xmlns:a16="http://schemas.microsoft.com/office/drawing/2014/main" id="{0CBD281B-CC4E-7540-BECB-D94974C7A25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0" name="Freeform 29">
              <a:extLst>
                <a:ext uri="{FF2B5EF4-FFF2-40B4-BE49-F238E27FC236}">
                  <a16:creationId xmlns:a16="http://schemas.microsoft.com/office/drawing/2014/main" id="{76B14C44-115D-4040-8397-56A3551B0CAD}"/>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1" name="Freeform 30">
              <a:extLst>
                <a:ext uri="{FF2B5EF4-FFF2-40B4-BE49-F238E27FC236}">
                  <a16:creationId xmlns:a16="http://schemas.microsoft.com/office/drawing/2014/main" id="{DEF0CDD3-C7FC-A741-B89E-C826BA6B4384}"/>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2" name="4 Xs">
            <a:extLst>
              <a:ext uri="{FF2B5EF4-FFF2-40B4-BE49-F238E27FC236}">
                <a16:creationId xmlns:a16="http://schemas.microsoft.com/office/drawing/2014/main" id="{7CDA3AE8-995B-224A-9CF6-01D529F814A4}"/>
              </a:ext>
            </a:extLst>
          </p:cNvPr>
          <p:cNvGrpSpPr/>
          <p:nvPr userDrawn="1"/>
        </p:nvGrpSpPr>
        <p:grpSpPr>
          <a:xfrm rot="16200000" flipH="1">
            <a:off x="8151519" y="4965485"/>
            <a:ext cx="1051685" cy="920753"/>
            <a:chOff x="4542959" y="3914711"/>
            <a:chExt cx="1106030" cy="968283"/>
          </a:xfrm>
          <a:gradFill flip="none" rotWithShape="1">
            <a:gsLst>
              <a:gs pos="100000">
                <a:schemeClr val="accent1">
                  <a:lumMod val="40000"/>
                  <a:lumOff val="60000"/>
                </a:schemeClr>
              </a:gs>
              <a:gs pos="0">
                <a:schemeClr val="accent3">
                  <a:lumMod val="40000"/>
                  <a:lumOff val="60000"/>
                </a:schemeClr>
              </a:gs>
            </a:gsLst>
            <a:lin ang="0" scaled="0"/>
            <a:tileRect/>
          </a:gradFill>
        </p:grpSpPr>
        <p:sp>
          <p:nvSpPr>
            <p:cNvPr id="33" name="Graphic 37">
              <a:extLst>
                <a:ext uri="{FF2B5EF4-FFF2-40B4-BE49-F238E27FC236}">
                  <a16:creationId xmlns:a16="http://schemas.microsoft.com/office/drawing/2014/main" id="{540E6892-2ACE-9A41-9BB6-87B64DFC865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4" name="Graphic 37">
              <a:extLst>
                <a:ext uri="{FF2B5EF4-FFF2-40B4-BE49-F238E27FC236}">
                  <a16:creationId xmlns:a16="http://schemas.microsoft.com/office/drawing/2014/main" id="{5F464728-0A8A-FF47-8E19-8E0CD87F051A}"/>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5" name="Graphic 37">
              <a:extLst>
                <a:ext uri="{FF2B5EF4-FFF2-40B4-BE49-F238E27FC236}">
                  <a16:creationId xmlns:a16="http://schemas.microsoft.com/office/drawing/2014/main" id="{C979A900-CCA3-834C-9952-F07DC0123BEF}"/>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grpSp>
        <p:nvGrpSpPr>
          <p:cNvPr id="44" name="Group 43">
            <a:extLst>
              <a:ext uri="{FF2B5EF4-FFF2-40B4-BE49-F238E27FC236}">
                <a16:creationId xmlns:a16="http://schemas.microsoft.com/office/drawing/2014/main" id="{9F385DED-ED43-A743-AE64-BC03522DC7DC}"/>
              </a:ext>
            </a:extLst>
          </p:cNvPr>
          <p:cNvGrpSpPr/>
          <p:nvPr userDrawn="1"/>
        </p:nvGrpSpPr>
        <p:grpSpPr>
          <a:xfrm>
            <a:off x="-733314" y="5049600"/>
            <a:ext cx="19125951" cy="1808401"/>
            <a:chOff x="7994577" y="7729729"/>
            <a:chExt cx="9753466" cy="2185140"/>
          </a:xfrm>
        </p:grpSpPr>
        <p:sp>
          <p:nvSpPr>
            <p:cNvPr id="45" name="Graphic 56">
              <a:extLst>
                <a:ext uri="{FF2B5EF4-FFF2-40B4-BE49-F238E27FC236}">
                  <a16:creationId xmlns:a16="http://schemas.microsoft.com/office/drawing/2014/main" id="{3FA4DCE2-42D3-F848-9A47-7D27C5A6AF77}"/>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46" name="Graphic 61">
              <a:extLst>
                <a:ext uri="{FF2B5EF4-FFF2-40B4-BE49-F238E27FC236}">
                  <a16:creationId xmlns:a16="http://schemas.microsoft.com/office/drawing/2014/main" id="{329069BE-19D3-3845-8A43-23C29D6BB37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55570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2"/>
                                        </p:tgtEl>
                                        <p:attrNameLst>
                                          <p:attrName>ppt_x</p:attrName>
                                          <p:attrName>ppt_y</p:attrName>
                                        </p:attrNameLst>
                                      </p:cBhvr>
                                      <p:rCtr x="0" y="1720"/>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42" presetClass="path" presetSubtype="0" decel="100000" fill="hold" grpId="1" nodeType="withEffect">
                                  <p:stCondLst>
                                    <p:cond delay="0"/>
                                  </p:stCondLst>
                                  <p:childTnLst>
                                    <p:animMotion origin="layout" path="M -1.73162E-6 -0.03456 L -1.73162E-6 -3.37406E-6 " pathEditMode="relative" rAng="0" ptsTypes="AA">
                                      <p:cBhvr>
                                        <p:cTn id="14" dur="500" fill="hold"/>
                                        <p:tgtEl>
                                          <p:spTgt spid="3"/>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50"/>
                        <p:tgtEl>
                          <p:spTgt spid="3"/>
                        </p:tgtEl>
                      </p:cBhvr>
                    </p:animEffect>
                  </p:childTnLst>
                </p:cTn>
              </p:par>
            </p:tnLst>
          </p:tmpl>
        </p:tmplLst>
      </p:bldP>
      <p:bldP spid="3" grpId="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grpSp>
        <p:nvGrpSpPr>
          <p:cNvPr id="56" name="dot and strokes">
            <a:extLst>
              <a:ext uri="{FF2B5EF4-FFF2-40B4-BE49-F238E27FC236}">
                <a16:creationId xmlns:a16="http://schemas.microsoft.com/office/drawing/2014/main" id="{777B85B1-2E82-5D42-B38D-7114B297ECC0}"/>
              </a:ext>
            </a:extLst>
          </p:cNvPr>
          <p:cNvGrpSpPr/>
          <p:nvPr userDrawn="1"/>
        </p:nvGrpSpPr>
        <p:grpSpPr>
          <a:xfrm>
            <a:off x="389550" y="4724217"/>
            <a:ext cx="1015173" cy="2143992"/>
            <a:chOff x="8220065" y="840135"/>
            <a:chExt cx="539621" cy="1139708"/>
          </a:xfrm>
          <a:gradFill>
            <a:gsLst>
              <a:gs pos="100000">
                <a:srgbClr val="F9F8F6">
                  <a:alpha val="0"/>
                </a:srgbClr>
              </a:gs>
              <a:gs pos="0">
                <a:srgbClr val="F9F8F6">
                  <a:alpha val="14955"/>
                </a:srgbClr>
              </a:gs>
            </a:gsLst>
            <a:lin ang="16200000" scaled="1"/>
          </a:gradFill>
        </p:grpSpPr>
        <p:sp>
          <p:nvSpPr>
            <p:cNvPr id="57" name="Graphic 43">
              <a:extLst>
                <a:ext uri="{FF2B5EF4-FFF2-40B4-BE49-F238E27FC236}">
                  <a16:creationId xmlns:a16="http://schemas.microsoft.com/office/drawing/2014/main" id="{0F90D69D-036E-9E44-8CA4-05F80CD58109}"/>
                </a:ext>
              </a:extLst>
            </p:cNvPr>
            <p:cNvSpPr/>
            <p:nvPr/>
          </p:nvSpPr>
          <p:spPr>
            <a:xfrm>
              <a:off x="8220065" y="840135"/>
              <a:ext cx="117197" cy="1139708"/>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pFill/>
            <a:ln w="6872" cap="flat">
              <a:noFill/>
              <a:prstDash val="solid"/>
              <a:miter/>
            </a:ln>
          </p:spPr>
          <p:txBody>
            <a:bodyPr rtlCol="0" anchor="ctr"/>
            <a:lstStyle/>
            <a:p>
              <a:endParaRPr lang="en-US" sz="1249"/>
            </a:p>
          </p:txBody>
        </p:sp>
        <p:sp>
          <p:nvSpPr>
            <p:cNvPr id="58" name="Graphic 43">
              <a:extLst>
                <a:ext uri="{FF2B5EF4-FFF2-40B4-BE49-F238E27FC236}">
                  <a16:creationId xmlns:a16="http://schemas.microsoft.com/office/drawing/2014/main" id="{262D4C59-3E26-F149-B57B-1CA347E5F237}"/>
                </a:ext>
              </a:extLst>
            </p:cNvPr>
            <p:cNvSpPr/>
            <p:nvPr/>
          </p:nvSpPr>
          <p:spPr>
            <a:xfrm>
              <a:off x="8431277" y="904252"/>
              <a:ext cx="117197" cy="1075591"/>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pFill/>
            <a:ln w="6872" cap="flat">
              <a:noFill/>
              <a:prstDash val="solid"/>
              <a:miter/>
            </a:ln>
          </p:spPr>
          <p:txBody>
            <a:bodyPr rtlCol="0" anchor="ctr"/>
            <a:lstStyle/>
            <a:p>
              <a:endParaRPr lang="en-US" sz="1249"/>
            </a:p>
          </p:txBody>
        </p:sp>
        <p:sp>
          <p:nvSpPr>
            <p:cNvPr id="59" name="Graphic 43">
              <a:extLst>
                <a:ext uri="{FF2B5EF4-FFF2-40B4-BE49-F238E27FC236}">
                  <a16:creationId xmlns:a16="http://schemas.microsoft.com/office/drawing/2014/main" id="{3BA89126-75DF-AF40-AEB6-F04F1BC8C6CC}"/>
                </a:ext>
              </a:extLst>
            </p:cNvPr>
            <p:cNvSpPr/>
            <p:nvPr/>
          </p:nvSpPr>
          <p:spPr>
            <a:xfrm>
              <a:off x="8642488" y="988262"/>
              <a:ext cx="117198" cy="99158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pFill/>
            <a:ln w="6872" cap="flat">
              <a:noFill/>
              <a:prstDash val="solid"/>
              <a:miter/>
            </a:ln>
          </p:spPr>
          <p:txBody>
            <a:bodyPr rtlCol="0" anchor="ctr"/>
            <a:lstStyle/>
            <a:p>
              <a:endParaRPr lang="en-US" sz="1249"/>
            </a:p>
          </p:txBody>
        </p:sp>
      </p:grpSp>
      <p:sp>
        <p:nvSpPr>
          <p:cNvPr id="41" name="!!Title 1">
            <a:extLst>
              <a:ext uri="{FF2B5EF4-FFF2-40B4-BE49-F238E27FC236}">
                <a16:creationId xmlns:a16="http://schemas.microsoft.com/office/drawing/2014/main" id="{20CCBE6A-1302-704E-9371-712B8AF5B5B1}"/>
              </a:ext>
            </a:extLst>
          </p:cNvPr>
          <p:cNvSpPr txBox="1">
            <a:spLocks/>
          </p:cNvSpPr>
          <p:nvPr userDrawn="1"/>
        </p:nvSpPr>
        <p:spPr>
          <a:xfrm>
            <a:off x="542903" y="538142"/>
            <a:ext cx="2771799" cy="854849"/>
          </a:xfrm>
          <a:prstGeom prst="rect">
            <a:avLst/>
          </a:prstGeom>
        </p:spPr>
        <p:txBody>
          <a:bodyPr vert="horz" wrap="square" lIns="0" tIns="0" rIns="0" bIns="0" rtlCol="0" anchor="t" anchorCtr="0">
            <a:spAutoFit/>
          </a:bodyPr>
          <a:lstStyle>
            <a:lvl1pPr algn="l" defTabSz="685800" rtl="0" eaLnBrk="1" latinLnBrk="0" hangingPunct="1">
              <a:lnSpc>
                <a:spcPct val="90000"/>
              </a:lnSpc>
              <a:spcBef>
                <a:spcPct val="0"/>
              </a:spcBef>
              <a:buNone/>
              <a:defRPr sz="2800" b="1" i="0" kern="1200">
                <a:solidFill>
                  <a:schemeClr val="tx1"/>
                </a:solidFill>
                <a:latin typeface="+mj-lt"/>
                <a:ea typeface="+mj-ea"/>
                <a:cs typeface="+mj-cs"/>
              </a:defRPr>
            </a:lvl1pPr>
          </a:lstStyle>
          <a:p>
            <a:pPr marL="0" marR="0" lvl="0" indent="0" algn="l" defTabSz="914318" rtl="0" eaLnBrk="1" fontAlgn="auto" latinLnBrk="0" hangingPunct="1">
              <a:lnSpc>
                <a:spcPct val="100000"/>
              </a:lnSpc>
              <a:spcBef>
                <a:spcPct val="0"/>
              </a:spcBef>
              <a:spcAft>
                <a:spcPts val="0"/>
              </a:spcAft>
              <a:buClrTx/>
              <a:buSzTx/>
              <a:buFontTx/>
              <a:buNone/>
              <a:tabLst/>
              <a:defRPr/>
            </a:pPr>
            <a:r>
              <a:rPr kumimoji="0" lang="en-US" sz="5555" b="1" i="0" u="none" strike="noStrike" kern="1200" cap="none" spc="0" normalizeH="0" baseline="0" noProof="0" dirty="0">
                <a:ln>
                  <a:noFill/>
                </a:ln>
                <a:solidFill>
                  <a:srgbClr val="F8F3EF"/>
                </a:solidFill>
                <a:effectLst/>
                <a:uLnTx/>
                <a:uFillTx/>
                <a:latin typeface="+mn-lt"/>
                <a:ea typeface="+mj-ea"/>
                <a:cs typeface="+mj-cs"/>
              </a:rPr>
              <a:t>Agenda</a:t>
            </a:r>
          </a:p>
        </p:txBody>
      </p:sp>
      <p:grpSp>
        <p:nvGrpSpPr>
          <p:cNvPr id="4" name="Group 3">
            <a:extLst>
              <a:ext uri="{FF2B5EF4-FFF2-40B4-BE49-F238E27FC236}">
                <a16:creationId xmlns:a16="http://schemas.microsoft.com/office/drawing/2014/main" id="{4BFCADD9-4881-604B-8EB8-6C1A2638D8E7}"/>
              </a:ext>
            </a:extLst>
          </p:cNvPr>
          <p:cNvGrpSpPr/>
          <p:nvPr userDrawn="1"/>
        </p:nvGrpSpPr>
        <p:grpSpPr>
          <a:xfrm>
            <a:off x="4172707" y="807293"/>
            <a:ext cx="7511064" cy="5370624"/>
            <a:chOff x="3147293" y="773464"/>
            <a:chExt cx="5029200" cy="3596201"/>
          </a:xfrm>
        </p:grpSpPr>
        <p:grpSp>
          <p:nvGrpSpPr>
            <p:cNvPr id="16" name="Group 15">
              <a:extLst>
                <a:ext uri="{FF2B5EF4-FFF2-40B4-BE49-F238E27FC236}">
                  <a16:creationId xmlns:a16="http://schemas.microsoft.com/office/drawing/2014/main" id="{70E88F39-C460-2540-9D74-F35CBBFA4E98}"/>
                </a:ext>
              </a:extLst>
            </p:cNvPr>
            <p:cNvGrpSpPr/>
            <p:nvPr userDrawn="1"/>
          </p:nvGrpSpPr>
          <p:grpSpPr>
            <a:xfrm>
              <a:off x="3147293" y="773464"/>
              <a:ext cx="5029200" cy="444441"/>
              <a:chOff x="3289965" y="773464"/>
              <a:chExt cx="5029200" cy="444441"/>
            </a:xfrm>
          </p:grpSpPr>
          <p:sp>
            <p:nvSpPr>
              <p:cNvPr id="17" name="Rectangle 16">
                <a:extLst>
                  <a:ext uri="{FF2B5EF4-FFF2-40B4-BE49-F238E27FC236}">
                    <a16:creationId xmlns:a16="http://schemas.microsoft.com/office/drawing/2014/main" id="{5DF7AB99-02BE-5943-B626-BE44176C382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18" name="Rectangle 17">
                <a:extLst>
                  <a:ext uri="{FF2B5EF4-FFF2-40B4-BE49-F238E27FC236}">
                    <a16:creationId xmlns:a16="http://schemas.microsoft.com/office/drawing/2014/main" id="{FEEA5CC3-760F-3A45-986F-7390E5F15629}"/>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19" name="Straight Connector 18">
                <a:extLst>
                  <a:ext uri="{FF2B5EF4-FFF2-40B4-BE49-F238E27FC236}">
                    <a16:creationId xmlns:a16="http://schemas.microsoft.com/office/drawing/2014/main" id="{ACDE1167-B544-2F44-A630-23A8276B4E38}"/>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5BE498E3-0F9B-D548-8B27-BC6DF4EC9B8B}"/>
                </a:ext>
              </a:extLst>
            </p:cNvPr>
            <p:cNvGrpSpPr/>
            <p:nvPr userDrawn="1"/>
          </p:nvGrpSpPr>
          <p:grpSpPr>
            <a:xfrm>
              <a:off x="3147293" y="1298757"/>
              <a:ext cx="5029200" cy="444441"/>
              <a:chOff x="3289965" y="773464"/>
              <a:chExt cx="5029200" cy="444441"/>
            </a:xfrm>
          </p:grpSpPr>
          <p:sp>
            <p:nvSpPr>
              <p:cNvPr id="21" name="Rectangle 20">
                <a:extLst>
                  <a:ext uri="{FF2B5EF4-FFF2-40B4-BE49-F238E27FC236}">
                    <a16:creationId xmlns:a16="http://schemas.microsoft.com/office/drawing/2014/main" id="{DCDA2227-6D8F-AC43-B17C-0F496F95681F}"/>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2" name="Rectangle 21">
                <a:extLst>
                  <a:ext uri="{FF2B5EF4-FFF2-40B4-BE49-F238E27FC236}">
                    <a16:creationId xmlns:a16="http://schemas.microsoft.com/office/drawing/2014/main" id="{CDBE0476-A6EC-DF44-ABDA-BE99371562B6}"/>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3" name="Straight Connector 22">
                <a:extLst>
                  <a:ext uri="{FF2B5EF4-FFF2-40B4-BE49-F238E27FC236}">
                    <a16:creationId xmlns:a16="http://schemas.microsoft.com/office/drawing/2014/main" id="{2CBE9C63-E0CE-2E43-8C2E-C35ADF208BB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8D8D7322-B958-964E-8B8C-9192588194CA}"/>
                </a:ext>
              </a:extLst>
            </p:cNvPr>
            <p:cNvGrpSpPr/>
            <p:nvPr userDrawn="1"/>
          </p:nvGrpSpPr>
          <p:grpSpPr>
            <a:xfrm>
              <a:off x="3147293" y="1824051"/>
              <a:ext cx="5029200" cy="444441"/>
              <a:chOff x="3289965" y="773464"/>
              <a:chExt cx="5029200" cy="444441"/>
            </a:xfrm>
          </p:grpSpPr>
          <p:sp>
            <p:nvSpPr>
              <p:cNvPr id="25" name="Rectangle 24">
                <a:extLst>
                  <a:ext uri="{FF2B5EF4-FFF2-40B4-BE49-F238E27FC236}">
                    <a16:creationId xmlns:a16="http://schemas.microsoft.com/office/drawing/2014/main" id="{C791330F-BDF6-2E49-85E0-1C48472A201B}"/>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6" name="Rectangle 25">
                <a:extLst>
                  <a:ext uri="{FF2B5EF4-FFF2-40B4-BE49-F238E27FC236}">
                    <a16:creationId xmlns:a16="http://schemas.microsoft.com/office/drawing/2014/main" id="{5B2F4183-33A8-224A-A443-8F2527418F0C}"/>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7" name="Straight Connector 26">
                <a:extLst>
                  <a:ext uri="{FF2B5EF4-FFF2-40B4-BE49-F238E27FC236}">
                    <a16:creationId xmlns:a16="http://schemas.microsoft.com/office/drawing/2014/main" id="{E9E735A5-C4E1-2F4B-BDED-418827467CAD}"/>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A330632E-6C0F-6C4D-B1FE-F7EDC5F4D184}"/>
                </a:ext>
              </a:extLst>
            </p:cNvPr>
            <p:cNvGrpSpPr/>
            <p:nvPr userDrawn="1"/>
          </p:nvGrpSpPr>
          <p:grpSpPr>
            <a:xfrm>
              <a:off x="3147293" y="2349344"/>
              <a:ext cx="5029200" cy="444441"/>
              <a:chOff x="3289965" y="773464"/>
              <a:chExt cx="5029200" cy="444441"/>
            </a:xfrm>
          </p:grpSpPr>
          <p:sp>
            <p:nvSpPr>
              <p:cNvPr id="29" name="Rectangle 28">
                <a:extLst>
                  <a:ext uri="{FF2B5EF4-FFF2-40B4-BE49-F238E27FC236}">
                    <a16:creationId xmlns:a16="http://schemas.microsoft.com/office/drawing/2014/main" id="{50C1BABE-EBEC-9B4E-9E43-DC7585F46A58}"/>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0" name="Rectangle 29">
                <a:extLst>
                  <a:ext uri="{FF2B5EF4-FFF2-40B4-BE49-F238E27FC236}">
                    <a16:creationId xmlns:a16="http://schemas.microsoft.com/office/drawing/2014/main" id="{5B6F25F9-E801-AB42-BE21-F9E1408A4E0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1" name="Straight Connector 30">
                <a:extLst>
                  <a:ext uri="{FF2B5EF4-FFF2-40B4-BE49-F238E27FC236}">
                    <a16:creationId xmlns:a16="http://schemas.microsoft.com/office/drawing/2014/main" id="{C208CCBF-FCE0-6143-9629-AD31C02BB80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01BBE74D-B5EC-9443-9C9A-4BD991427D8F}"/>
                </a:ext>
              </a:extLst>
            </p:cNvPr>
            <p:cNvGrpSpPr/>
            <p:nvPr userDrawn="1"/>
          </p:nvGrpSpPr>
          <p:grpSpPr>
            <a:xfrm>
              <a:off x="3147293" y="2874637"/>
              <a:ext cx="5029200" cy="444441"/>
              <a:chOff x="3289965" y="773464"/>
              <a:chExt cx="5029200" cy="444441"/>
            </a:xfrm>
          </p:grpSpPr>
          <p:sp>
            <p:nvSpPr>
              <p:cNvPr id="33" name="Rectangle 32">
                <a:extLst>
                  <a:ext uri="{FF2B5EF4-FFF2-40B4-BE49-F238E27FC236}">
                    <a16:creationId xmlns:a16="http://schemas.microsoft.com/office/drawing/2014/main" id="{6C145362-781B-0449-8DA6-5B30A6E1ADD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4" name="Rectangle 33">
                <a:extLst>
                  <a:ext uri="{FF2B5EF4-FFF2-40B4-BE49-F238E27FC236}">
                    <a16:creationId xmlns:a16="http://schemas.microsoft.com/office/drawing/2014/main" id="{C17FE23F-751A-2E43-8393-8780EF906E6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5" name="Straight Connector 34">
                <a:extLst>
                  <a:ext uri="{FF2B5EF4-FFF2-40B4-BE49-F238E27FC236}">
                    <a16:creationId xmlns:a16="http://schemas.microsoft.com/office/drawing/2014/main" id="{AC49855D-1F75-7A44-B1AB-4C19DF741BC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2FCC83A-22AF-3441-B243-A44A4B8146E4}"/>
                </a:ext>
              </a:extLst>
            </p:cNvPr>
            <p:cNvGrpSpPr/>
            <p:nvPr userDrawn="1"/>
          </p:nvGrpSpPr>
          <p:grpSpPr>
            <a:xfrm>
              <a:off x="3147293" y="3393446"/>
              <a:ext cx="5029200" cy="444441"/>
              <a:chOff x="3289965" y="773464"/>
              <a:chExt cx="5029200" cy="444441"/>
            </a:xfrm>
          </p:grpSpPr>
          <p:sp>
            <p:nvSpPr>
              <p:cNvPr id="37" name="Rectangle 36">
                <a:extLst>
                  <a:ext uri="{FF2B5EF4-FFF2-40B4-BE49-F238E27FC236}">
                    <a16:creationId xmlns:a16="http://schemas.microsoft.com/office/drawing/2014/main" id="{1E045387-A767-EA44-8486-5E8171EFA239}"/>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8" name="Rectangle 37">
                <a:extLst>
                  <a:ext uri="{FF2B5EF4-FFF2-40B4-BE49-F238E27FC236}">
                    <a16:creationId xmlns:a16="http://schemas.microsoft.com/office/drawing/2014/main" id="{B8D58236-0418-D747-BAD3-43F04C594E1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9" name="Straight Connector 38">
                <a:extLst>
                  <a:ext uri="{FF2B5EF4-FFF2-40B4-BE49-F238E27FC236}">
                    <a16:creationId xmlns:a16="http://schemas.microsoft.com/office/drawing/2014/main" id="{EBF363B8-2878-2044-B1AC-6737706B5FB3}"/>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B022F0C3-B8F9-7543-98A7-F67CA8C3FD38}"/>
                </a:ext>
              </a:extLst>
            </p:cNvPr>
            <p:cNvGrpSpPr/>
            <p:nvPr userDrawn="1"/>
          </p:nvGrpSpPr>
          <p:grpSpPr>
            <a:xfrm>
              <a:off x="3147293" y="3925224"/>
              <a:ext cx="5029200" cy="444441"/>
              <a:chOff x="3289965" y="773464"/>
              <a:chExt cx="5029200" cy="444441"/>
            </a:xfrm>
          </p:grpSpPr>
          <p:sp>
            <p:nvSpPr>
              <p:cNvPr id="42" name="Rectangle 41">
                <a:extLst>
                  <a:ext uri="{FF2B5EF4-FFF2-40B4-BE49-F238E27FC236}">
                    <a16:creationId xmlns:a16="http://schemas.microsoft.com/office/drawing/2014/main" id="{763C5C9A-E187-414D-B0C1-06E6F2FFC731}"/>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43" name="Rectangle 42">
                <a:extLst>
                  <a:ext uri="{FF2B5EF4-FFF2-40B4-BE49-F238E27FC236}">
                    <a16:creationId xmlns:a16="http://schemas.microsoft.com/office/drawing/2014/main" id="{3ABE93C9-68C2-C84D-83F8-CCF17419700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44" name="Straight Connector 43">
                <a:extLst>
                  <a:ext uri="{FF2B5EF4-FFF2-40B4-BE49-F238E27FC236}">
                    <a16:creationId xmlns:a16="http://schemas.microsoft.com/office/drawing/2014/main" id="{D4DCE20A-7D09-E447-9DF9-7502974647F0}"/>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0" name="one hump">
            <a:extLst>
              <a:ext uri="{FF2B5EF4-FFF2-40B4-BE49-F238E27FC236}">
                <a16:creationId xmlns:a16="http://schemas.microsoft.com/office/drawing/2014/main" id="{21E1BD3D-DFAF-6749-B9A7-D4B5A6014991}"/>
              </a:ext>
            </a:extLst>
          </p:cNvPr>
          <p:cNvSpPr/>
          <p:nvPr userDrawn="1"/>
        </p:nvSpPr>
        <p:spPr>
          <a:xfrm>
            <a:off x="1" y="3995061"/>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1249" dirty="0"/>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800547" y="4071512"/>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90634056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41"/>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BE92D8BB-EA7F-DB42-896F-417FCFEA167C}"/>
              </a:ext>
            </a:extLst>
          </p:cNvPr>
          <p:cNvSpPr/>
          <p:nvPr userDrawn="1"/>
        </p:nvSpPr>
        <p:spPr>
          <a:xfrm flipH="1">
            <a:off x="-1194343" y="3423382"/>
            <a:ext cx="4109992" cy="4109785"/>
          </a:xfrm>
          <a:prstGeom prst="ellipse">
            <a:avLst/>
          </a:prstGeom>
          <a:gradFill flip="none" rotWithShape="1">
            <a:gsLst>
              <a:gs pos="50000">
                <a:schemeClr val="accent1">
                  <a:lumMod val="75000"/>
                  <a:alpha val="18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2" y="5394434"/>
            <a:ext cx="5282068" cy="277804"/>
          </a:xfrm>
        </p:spPr>
        <p:txBody>
          <a:bodyPr>
            <a:noAutofit/>
          </a:bodyPr>
          <a:lstStyle>
            <a:lvl1pPr>
              <a:defRPr sz="2223">
                <a:solidFill>
                  <a:schemeClr val="tx2"/>
                </a:solidFill>
              </a:defRPr>
            </a:lvl1pPr>
          </a:lstStyle>
          <a:p>
            <a:r>
              <a:rPr lang="en-US" dirty="0"/>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2" y="1498157"/>
            <a:ext cx="7386348" cy="3444388"/>
          </a:xfrm>
        </p:spPr>
        <p:txBody>
          <a:bodyPr>
            <a:normAutofit/>
          </a:bodyPr>
          <a:lstStyle>
            <a:lvl1pPr>
              <a:defRPr sz="3333"/>
            </a:lvl1pPr>
          </a:lstStyle>
          <a:p>
            <a:endParaRPr lang="en-US" dirty="0"/>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401052"/>
            <a:chOff x="5283035" y="1188441"/>
            <a:chExt cx="1038225" cy="1203159"/>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8"/>
              <a:ext cx="570673" cy="886852"/>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6111" dirty="0">
                  <a:solidFill>
                    <a:srgbClr val="FF6D70"/>
                  </a:solidFill>
                  <a:latin typeface="+mn-lt"/>
                </a:rPr>
                <a:t>“</a:t>
              </a:r>
              <a:endParaRPr lang="en-US" sz="7985" dirty="0">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0" y="825520"/>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4" name="waves">
            <a:extLst>
              <a:ext uri="{FF2B5EF4-FFF2-40B4-BE49-F238E27FC236}">
                <a16:creationId xmlns:a16="http://schemas.microsoft.com/office/drawing/2014/main" id="{90AB9E35-83B3-FE47-AC3F-0AC4CC70C1D3}"/>
              </a:ext>
            </a:extLst>
          </p:cNvPr>
          <p:cNvGrpSpPr/>
          <p:nvPr userDrawn="1"/>
        </p:nvGrpSpPr>
        <p:grpSpPr>
          <a:xfrm rot="5400000">
            <a:off x="-2804257" y="2453977"/>
            <a:ext cx="7120597" cy="1687452"/>
            <a:chOff x="4253152" y="151074"/>
            <a:chExt cx="6930220" cy="2076330"/>
          </a:xfrm>
        </p:grpSpPr>
        <p:sp>
          <p:nvSpPr>
            <p:cNvPr id="35" name="coral">
              <a:extLst>
                <a:ext uri="{FF2B5EF4-FFF2-40B4-BE49-F238E27FC236}">
                  <a16:creationId xmlns:a16="http://schemas.microsoft.com/office/drawing/2014/main" id="{8303D869-46DF-1C40-BBF8-3AED65A75F8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6" name="green">
              <a:extLst>
                <a:ext uri="{FF2B5EF4-FFF2-40B4-BE49-F238E27FC236}">
                  <a16:creationId xmlns:a16="http://schemas.microsoft.com/office/drawing/2014/main" id="{E35618F7-242C-4148-A231-0E9002E01B7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7" name="Text Placeholder 6">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7"/>
            <a:ext cx="2330580" cy="1436420"/>
          </a:xfrm>
        </p:spPr>
        <p:txBody>
          <a:bodyPr>
            <a:noAutofit/>
          </a:bodyPr>
          <a:lstStyle>
            <a:lvl1pPr>
              <a:defRPr sz="5555" b="1">
                <a:solidFill>
                  <a:schemeClr val="accent5"/>
                </a:solidFill>
              </a:defRPr>
            </a:lvl1pPr>
          </a:lstStyle>
          <a:p>
            <a:pPr lvl="0"/>
            <a:r>
              <a:rPr lang="en-US" dirty="0"/>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967131" y="5478273"/>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71633304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B21F15D-4C86-994E-9C88-03FF050C1F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43600" y="6378047"/>
            <a:ext cx="321733" cy="321733"/>
          </a:xfrm>
          <a:prstGeom prst="rect">
            <a:avLst/>
          </a:prstGeom>
        </p:spPr>
      </p:pic>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grpSp>
        <p:nvGrpSpPr>
          <p:cNvPr id="56" name="dot and strokes">
            <a:extLst>
              <a:ext uri="{FF2B5EF4-FFF2-40B4-BE49-F238E27FC236}">
                <a16:creationId xmlns:a16="http://schemas.microsoft.com/office/drawing/2014/main" id="{777B85B1-2E82-5D42-B38D-7114B297ECC0}"/>
              </a:ext>
            </a:extLst>
          </p:cNvPr>
          <p:cNvGrpSpPr/>
          <p:nvPr userDrawn="1"/>
        </p:nvGrpSpPr>
        <p:grpSpPr>
          <a:xfrm>
            <a:off x="389550" y="4724217"/>
            <a:ext cx="1015173" cy="2143992"/>
            <a:chOff x="8220065" y="840135"/>
            <a:chExt cx="539621" cy="1139708"/>
          </a:xfrm>
          <a:gradFill>
            <a:gsLst>
              <a:gs pos="100000">
                <a:srgbClr val="F9F8F6">
                  <a:alpha val="0"/>
                </a:srgbClr>
              </a:gs>
              <a:gs pos="0">
                <a:srgbClr val="F9F8F6">
                  <a:alpha val="14955"/>
                </a:srgbClr>
              </a:gs>
            </a:gsLst>
            <a:lin ang="16200000" scaled="1"/>
          </a:gradFill>
        </p:grpSpPr>
        <p:sp>
          <p:nvSpPr>
            <p:cNvPr id="57" name="Graphic 43">
              <a:extLst>
                <a:ext uri="{FF2B5EF4-FFF2-40B4-BE49-F238E27FC236}">
                  <a16:creationId xmlns:a16="http://schemas.microsoft.com/office/drawing/2014/main" id="{0F90D69D-036E-9E44-8CA4-05F80CD58109}"/>
                </a:ext>
              </a:extLst>
            </p:cNvPr>
            <p:cNvSpPr/>
            <p:nvPr/>
          </p:nvSpPr>
          <p:spPr>
            <a:xfrm>
              <a:off x="8220065" y="840135"/>
              <a:ext cx="117197" cy="1139708"/>
            </a:xfrm>
            <a:custGeom>
              <a:avLst/>
              <a:gdLst>
                <a:gd name="connsiteX0" fmla="*/ 117198 w 117197"/>
                <a:gd name="connsiteY0" fmla="*/ 872734 h 1139708"/>
                <a:gd name="connsiteX1" fmla="*/ 68912 w 117197"/>
                <a:gd name="connsiteY1" fmla="*/ 815090 h 1139708"/>
                <a:gd name="connsiteX2" fmla="*/ 68912 w 117197"/>
                <a:gd name="connsiteY2" fmla="*/ 0 h 1139708"/>
                <a:gd name="connsiteX3" fmla="*/ 48295 w 117197"/>
                <a:gd name="connsiteY3" fmla="*/ 0 h 1139708"/>
                <a:gd name="connsiteX4" fmla="*/ 48295 w 117197"/>
                <a:gd name="connsiteY4" fmla="*/ 815090 h 1139708"/>
                <a:gd name="connsiteX5" fmla="*/ 915 w 117197"/>
                <a:gd name="connsiteY5" fmla="*/ 882983 h 1139708"/>
                <a:gd name="connsiteX6" fmla="*/ 48295 w 117197"/>
                <a:gd name="connsiteY6" fmla="*/ 930379 h 1139708"/>
                <a:gd name="connsiteX7" fmla="*/ 48295 w 117197"/>
                <a:gd name="connsiteY7" fmla="*/ 1139709 h 1139708"/>
                <a:gd name="connsiteX8" fmla="*/ 68912 w 117197"/>
                <a:gd name="connsiteY8" fmla="*/ 1139709 h 1139708"/>
                <a:gd name="connsiteX9" fmla="*/ 68912 w 117197"/>
                <a:gd name="connsiteY9" fmla="*/ 930379 h 1139708"/>
                <a:gd name="connsiteX10" fmla="*/ 117198 w 117197"/>
                <a:gd name="connsiteY10" fmla="*/ 872734 h 113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139708">
                  <a:moveTo>
                    <a:pt x="117198" y="872734"/>
                  </a:moveTo>
                  <a:cubicBezTo>
                    <a:pt x="117184" y="844359"/>
                    <a:pt x="96841" y="820067"/>
                    <a:pt x="68912" y="815090"/>
                  </a:cubicBezTo>
                  <a:lnTo>
                    <a:pt x="68912" y="0"/>
                  </a:lnTo>
                  <a:lnTo>
                    <a:pt x="48295" y="0"/>
                  </a:lnTo>
                  <a:lnTo>
                    <a:pt x="48295" y="815090"/>
                  </a:lnTo>
                  <a:cubicBezTo>
                    <a:pt x="16466" y="820747"/>
                    <a:pt x="-4747" y="851151"/>
                    <a:pt x="915" y="882983"/>
                  </a:cubicBezTo>
                  <a:cubicBezTo>
                    <a:pt x="5213" y="907152"/>
                    <a:pt x="24130" y="926076"/>
                    <a:pt x="48295" y="930379"/>
                  </a:cubicBezTo>
                  <a:lnTo>
                    <a:pt x="48295" y="1139709"/>
                  </a:lnTo>
                  <a:lnTo>
                    <a:pt x="68912" y="1139709"/>
                  </a:lnTo>
                  <a:lnTo>
                    <a:pt x="68912" y="930379"/>
                  </a:lnTo>
                  <a:cubicBezTo>
                    <a:pt x="96841" y="925395"/>
                    <a:pt x="117185" y="901110"/>
                    <a:pt x="117198" y="872734"/>
                  </a:cubicBezTo>
                  <a:close/>
                </a:path>
              </a:pathLst>
            </a:custGeom>
            <a:grpFill/>
            <a:ln w="6872" cap="flat">
              <a:noFill/>
              <a:prstDash val="solid"/>
              <a:miter/>
            </a:ln>
          </p:spPr>
          <p:txBody>
            <a:bodyPr rtlCol="0" anchor="ctr"/>
            <a:lstStyle/>
            <a:p>
              <a:endParaRPr lang="en-US" sz="1249"/>
            </a:p>
          </p:txBody>
        </p:sp>
        <p:sp>
          <p:nvSpPr>
            <p:cNvPr id="58" name="Graphic 43">
              <a:extLst>
                <a:ext uri="{FF2B5EF4-FFF2-40B4-BE49-F238E27FC236}">
                  <a16:creationId xmlns:a16="http://schemas.microsoft.com/office/drawing/2014/main" id="{262D4C59-3E26-F149-B57B-1CA347E5F237}"/>
                </a:ext>
              </a:extLst>
            </p:cNvPr>
            <p:cNvSpPr/>
            <p:nvPr/>
          </p:nvSpPr>
          <p:spPr>
            <a:xfrm>
              <a:off x="8431277" y="904252"/>
              <a:ext cx="117197" cy="1075591"/>
            </a:xfrm>
            <a:custGeom>
              <a:avLst/>
              <a:gdLst>
                <a:gd name="connsiteX0" fmla="*/ 117197 w 117197"/>
                <a:gd name="connsiteY0" fmla="*/ 389037 h 1075591"/>
                <a:gd name="connsiteX1" fmla="*/ 68912 w 117197"/>
                <a:gd name="connsiteY1" fmla="*/ 331393 h 1075591"/>
                <a:gd name="connsiteX2" fmla="*/ 68912 w 117197"/>
                <a:gd name="connsiteY2" fmla="*/ 0 h 1075591"/>
                <a:gd name="connsiteX3" fmla="*/ 48295 w 117197"/>
                <a:gd name="connsiteY3" fmla="*/ 0 h 1075591"/>
                <a:gd name="connsiteX4" fmla="*/ 48295 w 117197"/>
                <a:gd name="connsiteY4" fmla="*/ 331393 h 1075591"/>
                <a:gd name="connsiteX5" fmla="*/ 915 w 117197"/>
                <a:gd name="connsiteY5" fmla="*/ 399291 h 1075591"/>
                <a:gd name="connsiteX6" fmla="*/ 48295 w 117197"/>
                <a:gd name="connsiteY6" fmla="*/ 446681 h 1075591"/>
                <a:gd name="connsiteX7" fmla="*/ 48295 w 117197"/>
                <a:gd name="connsiteY7" fmla="*/ 1075592 h 1075591"/>
                <a:gd name="connsiteX8" fmla="*/ 68912 w 117197"/>
                <a:gd name="connsiteY8" fmla="*/ 1075592 h 1075591"/>
                <a:gd name="connsiteX9" fmla="*/ 68912 w 117197"/>
                <a:gd name="connsiteY9" fmla="*/ 446681 h 1075591"/>
                <a:gd name="connsiteX10" fmla="*/ 117197 w 117197"/>
                <a:gd name="connsiteY10" fmla="*/ 389037 h 10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7" h="1075591">
                  <a:moveTo>
                    <a:pt x="117197" y="389037"/>
                  </a:moveTo>
                  <a:cubicBezTo>
                    <a:pt x="117185" y="360662"/>
                    <a:pt x="96841" y="336375"/>
                    <a:pt x="68912" y="331393"/>
                  </a:cubicBezTo>
                  <a:lnTo>
                    <a:pt x="68912" y="0"/>
                  </a:lnTo>
                  <a:lnTo>
                    <a:pt x="48295" y="0"/>
                  </a:lnTo>
                  <a:lnTo>
                    <a:pt x="48295" y="331393"/>
                  </a:lnTo>
                  <a:cubicBezTo>
                    <a:pt x="16466" y="337056"/>
                    <a:pt x="-4747" y="367455"/>
                    <a:pt x="915" y="399291"/>
                  </a:cubicBezTo>
                  <a:cubicBezTo>
                    <a:pt x="5213" y="423461"/>
                    <a:pt x="24130" y="442382"/>
                    <a:pt x="48295" y="446681"/>
                  </a:cubicBezTo>
                  <a:lnTo>
                    <a:pt x="48295" y="1075592"/>
                  </a:lnTo>
                  <a:lnTo>
                    <a:pt x="68912" y="1075592"/>
                  </a:lnTo>
                  <a:lnTo>
                    <a:pt x="68912" y="446681"/>
                  </a:lnTo>
                  <a:cubicBezTo>
                    <a:pt x="96841" y="441699"/>
                    <a:pt x="117184" y="417412"/>
                    <a:pt x="117197" y="389037"/>
                  </a:cubicBezTo>
                  <a:close/>
                </a:path>
              </a:pathLst>
            </a:custGeom>
            <a:grpFill/>
            <a:ln w="6872" cap="flat">
              <a:noFill/>
              <a:prstDash val="solid"/>
              <a:miter/>
            </a:ln>
          </p:spPr>
          <p:txBody>
            <a:bodyPr rtlCol="0" anchor="ctr"/>
            <a:lstStyle/>
            <a:p>
              <a:endParaRPr lang="en-US" sz="1249"/>
            </a:p>
          </p:txBody>
        </p:sp>
        <p:sp>
          <p:nvSpPr>
            <p:cNvPr id="59" name="Graphic 43">
              <a:extLst>
                <a:ext uri="{FF2B5EF4-FFF2-40B4-BE49-F238E27FC236}">
                  <a16:creationId xmlns:a16="http://schemas.microsoft.com/office/drawing/2014/main" id="{3BA89126-75DF-AF40-AEB6-F04F1BC8C6CC}"/>
                </a:ext>
              </a:extLst>
            </p:cNvPr>
            <p:cNvSpPr/>
            <p:nvPr/>
          </p:nvSpPr>
          <p:spPr>
            <a:xfrm>
              <a:off x="8642488" y="988262"/>
              <a:ext cx="117198" cy="991581"/>
            </a:xfrm>
            <a:custGeom>
              <a:avLst/>
              <a:gdLst>
                <a:gd name="connsiteX0" fmla="*/ 117198 w 117198"/>
                <a:gd name="connsiteY0" fmla="*/ 518575 h 991581"/>
                <a:gd name="connsiteX1" fmla="*/ 68913 w 117198"/>
                <a:gd name="connsiteY1" fmla="*/ 460930 h 991581"/>
                <a:gd name="connsiteX2" fmla="*/ 68913 w 117198"/>
                <a:gd name="connsiteY2" fmla="*/ 0 h 991581"/>
                <a:gd name="connsiteX3" fmla="*/ 48295 w 117198"/>
                <a:gd name="connsiteY3" fmla="*/ 0 h 991581"/>
                <a:gd name="connsiteX4" fmla="*/ 48295 w 117198"/>
                <a:gd name="connsiteY4" fmla="*/ 460930 h 991581"/>
                <a:gd name="connsiteX5" fmla="*/ 915 w 117198"/>
                <a:gd name="connsiteY5" fmla="*/ 528828 h 991581"/>
                <a:gd name="connsiteX6" fmla="*/ 48295 w 117198"/>
                <a:gd name="connsiteY6" fmla="*/ 576221 h 991581"/>
                <a:gd name="connsiteX7" fmla="*/ 48295 w 117198"/>
                <a:gd name="connsiteY7" fmla="*/ 991582 h 991581"/>
                <a:gd name="connsiteX8" fmla="*/ 68913 w 117198"/>
                <a:gd name="connsiteY8" fmla="*/ 991582 h 991581"/>
                <a:gd name="connsiteX9" fmla="*/ 68913 w 117198"/>
                <a:gd name="connsiteY9" fmla="*/ 576221 h 991581"/>
                <a:gd name="connsiteX10" fmla="*/ 117198 w 117198"/>
                <a:gd name="connsiteY10" fmla="*/ 518575 h 99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198" h="991581">
                  <a:moveTo>
                    <a:pt x="117198" y="518575"/>
                  </a:moveTo>
                  <a:cubicBezTo>
                    <a:pt x="117185" y="490199"/>
                    <a:pt x="96842" y="465913"/>
                    <a:pt x="68913" y="460930"/>
                  </a:cubicBezTo>
                  <a:lnTo>
                    <a:pt x="68913" y="0"/>
                  </a:lnTo>
                  <a:lnTo>
                    <a:pt x="48295" y="0"/>
                  </a:lnTo>
                  <a:lnTo>
                    <a:pt x="48295" y="460930"/>
                  </a:lnTo>
                  <a:cubicBezTo>
                    <a:pt x="16466" y="466594"/>
                    <a:pt x="-4747" y="496993"/>
                    <a:pt x="915" y="528828"/>
                  </a:cubicBezTo>
                  <a:cubicBezTo>
                    <a:pt x="5213" y="553001"/>
                    <a:pt x="24130" y="571918"/>
                    <a:pt x="48295" y="576221"/>
                  </a:cubicBezTo>
                  <a:lnTo>
                    <a:pt x="48295" y="991582"/>
                  </a:lnTo>
                  <a:lnTo>
                    <a:pt x="68913" y="991582"/>
                  </a:lnTo>
                  <a:lnTo>
                    <a:pt x="68913" y="576221"/>
                  </a:lnTo>
                  <a:cubicBezTo>
                    <a:pt x="96842" y="571237"/>
                    <a:pt x="117185" y="546952"/>
                    <a:pt x="117198" y="518575"/>
                  </a:cubicBezTo>
                  <a:close/>
                </a:path>
              </a:pathLst>
            </a:custGeom>
            <a:grpFill/>
            <a:ln w="6872" cap="flat">
              <a:noFill/>
              <a:prstDash val="solid"/>
              <a:miter/>
            </a:ln>
          </p:spPr>
          <p:txBody>
            <a:bodyPr rtlCol="0" anchor="ctr"/>
            <a:lstStyle/>
            <a:p>
              <a:endParaRPr lang="en-US" sz="1249"/>
            </a:p>
          </p:txBody>
        </p:sp>
      </p:grpSp>
      <p:sp>
        <p:nvSpPr>
          <p:cNvPr id="41" name="!!Title 1">
            <a:extLst>
              <a:ext uri="{FF2B5EF4-FFF2-40B4-BE49-F238E27FC236}">
                <a16:creationId xmlns:a16="http://schemas.microsoft.com/office/drawing/2014/main" id="{20CCBE6A-1302-704E-9371-712B8AF5B5B1}"/>
              </a:ext>
            </a:extLst>
          </p:cNvPr>
          <p:cNvSpPr txBox="1">
            <a:spLocks/>
          </p:cNvSpPr>
          <p:nvPr userDrawn="1"/>
        </p:nvSpPr>
        <p:spPr>
          <a:xfrm>
            <a:off x="542903" y="538142"/>
            <a:ext cx="2771799" cy="854849"/>
          </a:xfrm>
          <a:prstGeom prst="rect">
            <a:avLst/>
          </a:prstGeom>
        </p:spPr>
        <p:txBody>
          <a:bodyPr vert="horz" wrap="square" lIns="0" tIns="0" rIns="0" bIns="0" rtlCol="0" anchor="t" anchorCtr="0">
            <a:spAutoFit/>
          </a:bodyPr>
          <a:lstStyle>
            <a:lvl1pPr algn="l" defTabSz="685800" rtl="0" eaLnBrk="1" latinLnBrk="0" hangingPunct="1">
              <a:lnSpc>
                <a:spcPct val="90000"/>
              </a:lnSpc>
              <a:spcBef>
                <a:spcPct val="0"/>
              </a:spcBef>
              <a:buNone/>
              <a:defRPr sz="2800" b="1" i="0" kern="1200">
                <a:solidFill>
                  <a:schemeClr val="tx1"/>
                </a:solidFill>
                <a:latin typeface="+mj-lt"/>
                <a:ea typeface="+mj-ea"/>
                <a:cs typeface="+mj-cs"/>
              </a:defRPr>
            </a:lvl1pPr>
          </a:lstStyle>
          <a:p>
            <a:pPr marL="0" marR="0" lvl="0" indent="0" algn="l" defTabSz="914318" rtl="0" eaLnBrk="1" fontAlgn="auto" latinLnBrk="0" hangingPunct="1">
              <a:lnSpc>
                <a:spcPct val="100000"/>
              </a:lnSpc>
              <a:spcBef>
                <a:spcPct val="0"/>
              </a:spcBef>
              <a:spcAft>
                <a:spcPts val="0"/>
              </a:spcAft>
              <a:buClrTx/>
              <a:buSzTx/>
              <a:buFontTx/>
              <a:buNone/>
              <a:tabLst/>
              <a:defRPr/>
            </a:pPr>
            <a:r>
              <a:rPr kumimoji="0" lang="en-US" sz="5555" b="1" i="0" u="none" strike="noStrike" kern="1200" cap="none" spc="0" normalizeH="0" baseline="0" noProof="0" dirty="0">
                <a:ln>
                  <a:noFill/>
                </a:ln>
                <a:solidFill>
                  <a:srgbClr val="F8F3EF"/>
                </a:solidFill>
                <a:effectLst/>
                <a:uLnTx/>
                <a:uFillTx/>
                <a:latin typeface="+mn-lt"/>
                <a:ea typeface="+mj-ea"/>
                <a:cs typeface="+mj-cs"/>
              </a:rPr>
              <a:t>Agenda</a:t>
            </a:r>
          </a:p>
        </p:txBody>
      </p:sp>
      <p:grpSp>
        <p:nvGrpSpPr>
          <p:cNvPr id="4" name="Group 3">
            <a:extLst>
              <a:ext uri="{FF2B5EF4-FFF2-40B4-BE49-F238E27FC236}">
                <a16:creationId xmlns:a16="http://schemas.microsoft.com/office/drawing/2014/main" id="{4BFCADD9-4881-604B-8EB8-6C1A2638D8E7}"/>
              </a:ext>
            </a:extLst>
          </p:cNvPr>
          <p:cNvGrpSpPr/>
          <p:nvPr userDrawn="1"/>
        </p:nvGrpSpPr>
        <p:grpSpPr>
          <a:xfrm>
            <a:off x="4172707" y="807293"/>
            <a:ext cx="7511064" cy="5370624"/>
            <a:chOff x="3147293" y="773464"/>
            <a:chExt cx="5029200" cy="3596201"/>
          </a:xfrm>
        </p:grpSpPr>
        <p:grpSp>
          <p:nvGrpSpPr>
            <p:cNvPr id="16" name="Group 15">
              <a:extLst>
                <a:ext uri="{FF2B5EF4-FFF2-40B4-BE49-F238E27FC236}">
                  <a16:creationId xmlns:a16="http://schemas.microsoft.com/office/drawing/2014/main" id="{70E88F39-C460-2540-9D74-F35CBBFA4E98}"/>
                </a:ext>
              </a:extLst>
            </p:cNvPr>
            <p:cNvGrpSpPr/>
            <p:nvPr userDrawn="1"/>
          </p:nvGrpSpPr>
          <p:grpSpPr>
            <a:xfrm>
              <a:off x="3147293" y="773464"/>
              <a:ext cx="5029200" cy="444441"/>
              <a:chOff x="3289965" y="773464"/>
              <a:chExt cx="5029200" cy="444441"/>
            </a:xfrm>
          </p:grpSpPr>
          <p:sp>
            <p:nvSpPr>
              <p:cNvPr id="17" name="Rectangle 16">
                <a:extLst>
                  <a:ext uri="{FF2B5EF4-FFF2-40B4-BE49-F238E27FC236}">
                    <a16:creationId xmlns:a16="http://schemas.microsoft.com/office/drawing/2014/main" id="{5DF7AB99-02BE-5943-B626-BE44176C382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18" name="Rectangle 17">
                <a:extLst>
                  <a:ext uri="{FF2B5EF4-FFF2-40B4-BE49-F238E27FC236}">
                    <a16:creationId xmlns:a16="http://schemas.microsoft.com/office/drawing/2014/main" id="{FEEA5CC3-760F-3A45-986F-7390E5F15629}"/>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19" name="Straight Connector 18">
                <a:extLst>
                  <a:ext uri="{FF2B5EF4-FFF2-40B4-BE49-F238E27FC236}">
                    <a16:creationId xmlns:a16="http://schemas.microsoft.com/office/drawing/2014/main" id="{ACDE1167-B544-2F44-A630-23A8276B4E38}"/>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5BE498E3-0F9B-D548-8B27-BC6DF4EC9B8B}"/>
                </a:ext>
              </a:extLst>
            </p:cNvPr>
            <p:cNvGrpSpPr/>
            <p:nvPr userDrawn="1"/>
          </p:nvGrpSpPr>
          <p:grpSpPr>
            <a:xfrm>
              <a:off x="3147293" y="1298757"/>
              <a:ext cx="5029200" cy="444441"/>
              <a:chOff x="3289965" y="773464"/>
              <a:chExt cx="5029200" cy="444441"/>
            </a:xfrm>
          </p:grpSpPr>
          <p:sp>
            <p:nvSpPr>
              <p:cNvPr id="21" name="Rectangle 20">
                <a:extLst>
                  <a:ext uri="{FF2B5EF4-FFF2-40B4-BE49-F238E27FC236}">
                    <a16:creationId xmlns:a16="http://schemas.microsoft.com/office/drawing/2014/main" id="{DCDA2227-6D8F-AC43-B17C-0F496F95681F}"/>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2" name="Rectangle 21">
                <a:extLst>
                  <a:ext uri="{FF2B5EF4-FFF2-40B4-BE49-F238E27FC236}">
                    <a16:creationId xmlns:a16="http://schemas.microsoft.com/office/drawing/2014/main" id="{CDBE0476-A6EC-DF44-ABDA-BE99371562B6}"/>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3" name="Straight Connector 22">
                <a:extLst>
                  <a:ext uri="{FF2B5EF4-FFF2-40B4-BE49-F238E27FC236}">
                    <a16:creationId xmlns:a16="http://schemas.microsoft.com/office/drawing/2014/main" id="{2CBE9C63-E0CE-2E43-8C2E-C35ADF208BB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8D8D7322-B958-964E-8B8C-9192588194CA}"/>
                </a:ext>
              </a:extLst>
            </p:cNvPr>
            <p:cNvGrpSpPr/>
            <p:nvPr userDrawn="1"/>
          </p:nvGrpSpPr>
          <p:grpSpPr>
            <a:xfrm>
              <a:off x="3147293" y="1824051"/>
              <a:ext cx="5029200" cy="444441"/>
              <a:chOff x="3289965" y="773464"/>
              <a:chExt cx="5029200" cy="444441"/>
            </a:xfrm>
          </p:grpSpPr>
          <p:sp>
            <p:nvSpPr>
              <p:cNvPr id="25" name="Rectangle 24">
                <a:extLst>
                  <a:ext uri="{FF2B5EF4-FFF2-40B4-BE49-F238E27FC236}">
                    <a16:creationId xmlns:a16="http://schemas.microsoft.com/office/drawing/2014/main" id="{C791330F-BDF6-2E49-85E0-1C48472A201B}"/>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26" name="Rectangle 25">
                <a:extLst>
                  <a:ext uri="{FF2B5EF4-FFF2-40B4-BE49-F238E27FC236}">
                    <a16:creationId xmlns:a16="http://schemas.microsoft.com/office/drawing/2014/main" id="{5B2F4183-33A8-224A-A443-8F2527418F0C}"/>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27" name="Straight Connector 26">
                <a:extLst>
                  <a:ext uri="{FF2B5EF4-FFF2-40B4-BE49-F238E27FC236}">
                    <a16:creationId xmlns:a16="http://schemas.microsoft.com/office/drawing/2014/main" id="{E9E735A5-C4E1-2F4B-BDED-418827467CAD}"/>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A330632E-6C0F-6C4D-B1FE-F7EDC5F4D184}"/>
                </a:ext>
              </a:extLst>
            </p:cNvPr>
            <p:cNvGrpSpPr/>
            <p:nvPr userDrawn="1"/>
          </p:nvGrpSpPr>
          <p:grpSpPr>
            <a:xfrm>
              <a:off x="3147293" y="2349344"/>
              <a:ext cx="5029200" cy="444441"/>
              <a:chOff x="3289965" y="773464"/>
              <a:chExt cx="5029200" cy="444441"/>
            </a:xfrm>
          </p:grpSpPr>
          <p:sp>
            <p:nvSpPr>
              <p:cNvPr id="29" name="Rectangle 28">
                <a:extLst>
                  <a:ext uri="{FF2B5EF4-FFF2-40B4-BE49-F238E27FC236}">
                    <a16:creationId xmlns:a16="http://schemas.microsoft.com/office/drawing/2014/main" id="{50C1BABE-EBEC-9B4E-9E43-DC7585F46A58}"/>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0" name="Rectangle 29">
                <a:extLst>
                  <a:ext uri="{FF2B5EF4-FFF2-40B4-BE49-F238E27FC236}">
                    <a16:creationId xmlns:a16="http://schemas.microsoft.com/office/drawing/2014/main" id="{5B6F25F9-E801-AB42-BE21-F9E1408A4E0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1" name="Straight Connector 30">
                <a:extLst>
                  <a:ext uri="{FF2B5EF4-FFF2-40B4-BE49-F238E27FC236}">
                    <a16:creationId xmlns:a16="http://schemas.microsoft.com/office/drawing/2014/main" id="{C208CCBF-FCE0-6143-9629-AD31C02BB80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01BBE74D-B5EC-9443-9C9A-4BD991427D8F}"/>
                </a:ext>
              </a:extLst>
            </p:cNvPr>
            <p:cNvGrpSpPr/>
            <p:nvPr userDrawn="1"/>
          </p:nvGrpSpPr>
          <p:grpSpPr>
            <a:xfrm>
              <a:off x="3147293" y="2874637"/>
              <a:ext cx="5029200" cy="444441"/>
              <a:chOff x="3289965" y="773464"/>
              <a:chExt cx="5029200" cy="444441"/>
            </a:xfrm>
          </p:grpSpPr>
          <p:sp>
            <p:nvSpPr>
              <p:cNvPr id="33" name="Rectangle 32">
                <a:extLst>
                  <a:ext uri="{FF2B5EF4-FFF2-40B4-BE49-F238E27FC236}">
                    <a16:creationId xmlns:a16="http://schemas.microsoft.com/office/drawing/2014/main" id="{6C145362-781B-0449-8DA6-5B30A6E1ADD0}"/>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4" name="Rectangle 33">
                <a:extLst>
                  <a:ext uri="{FF2B5EF4-FFF2-40B4-BE49-F238E27FC236}">
                    <a16:creationId xmlns:a16="http://schemas.microsoft.com/office/drawing/2014/main" id="{C17FE23F-751A-2E43-8393-8780EF906E68}"/>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5" name="Straight Connector 34">
                <a:extLst>
                  <a:ext uri="{FF2B5EF4-FFF2-40B4-BE49-F238E27FC236}">
                    <a16:creationId xmlns:a16="http://schemas.microsoft.com/office/drawing/2014/main" id="{AC49855D-1F75-7A44-B1AB-4C19DF741BC9}"/>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2FCC83A-22AF-3441-B243-A44A4B8146E4}"/>
                </a:ext>
              </a:extLst>
            </p:cNvPr>
            <p:cNvGrpSpPr/>
            <p:nvPr userDrawn="1"/>
          </p:nvGrpSpPr>
          <p:grpSpPr>
            <a:xfrm>
              <a:off x="3147293" y="3393446"/>
              <a:ext cx="5029200" cy="444441"/>
              <a:chOff x="3289965" y="773464"/>
              <a:chExt cx="5029200" cy="444441"/>
            </a:xfrm>
          </p:grpSpPr>
          <p:sp>
            <p:nvSpPr>
              <p:cNvPr id="37" name="Rectangle 36">
                <a:extLst>
                  <a:ext uri="{FF2B5EF4-FFF2-40B4-BE49-F238E27FC236}">
                    <a16:creationId xmlns:a16="http://schemas.microsoft.com/office/drawing/2014/main" id="{1E045387-A767-EA44-8486-5E8171EFA239}"/>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38" name="Rectangle 37">
                <a:extLst>
                  <a:ext uri="{FF2B5EF4-FFF2-40B4-BE49-F238E27FC236}">
                    <a16:creationId xmlns:a16="http://schemas.microsoft.com/office/drawing/2014/main" id="{B8D58236-0418-D747-BAD3-43F04C594E1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39" name="Straight Connector 38">
                <a:extLst>
                  <a:ext uri="{FF2B5EF4-FFF2-40B4-BE49-F238E27FC236}">
                    <a16:creationId xmlns:a16="http://schemas.microsoft.com/office/drawing/2014/main" id="{EBF363B8-2878-2044-B1AC-6737706B5FB3}"/>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B022F0C3-B8F9-7543-98A7-F67CA8C3FD38}"/>
                </a:ext>
              </a:extLst>
            </p:cNvPr>
            <p:cNvGrpSpPr/>
            <p:nvPr userDrawn="1"/>
          </p:nvGrpSpPr>
          <p:grpSpPr>
            <a:xfrm>
              <a:off x="3147293" y="3925224"/>
              <a:ext cx="5029200" cy="444441"/>
              <a:chOff x="3289965" y="773464"/>
              <a:chExt cx="5029200" cy="444441"/>
            </a:xfrm>
          </p:grpSpPr>
          <p:sp>
            <p:nvSpPr>
              <p:cNvPr id="42" name="Rectangle 41">
                <a:extLst>
                  <a:ext uri="{FF2B5EF4-FFF2-40B4-BE49-F238E27FC236}">
                    <a16:creationId xmlns:a16="http://schemas.microsoft.com/office/drawing/2014/main" id="{763C5C9A-E187-414D-B0C1-06E6F2FFC731}"/>
                  </a:ext>
                </a:extLst>
              </p:cNvPr>
              <p:cNvSpPr/>
              <p:nvPr/>
            </p:nvSpPr>
            <p:spPr>
              <a:xfrm>
                <a:off x="3352919" y="773464"/>
                <a:ext cx="2434234" cy="336655"/>
              </a:xfrm>
              <a:prstGeom prst="rect">
                <a:avLst/>
              </a:prstGeom>
            </p:spPr>
            <p:txBody>
              <a:bodyPr wrap="square">
                <a:spAutoFit/>
              </a:bodyPr>
              <a:lstStyle/>
              <a:p>
                <a:pPr marL="0" marR="0" lvl="0" indent="0" algn="l" defTabSz="317472" rtl="0" eaLnBrk="1" fontAlgn="base" latinLnBrk="0" hangingPunct="1">
                  <a:lnSpc>
                    <a:spcPct val="100000"/>
                  </a:lnSpc>
                  <a:spcBef>
                    <a:spcPts val="0"/>
                  </a:spcBef>
                  <a:spcAft>
                    <a:spcPts val="0"/>
                  </a:spcAft>
                  <a:buClrTx/>
                  <a:buSzTx/>
                  <a:buFontTx/>
                  <a:buNone/>
                  <a:tabLst/>
                  <a:defRPr/>
                </a:pPr>
                <a:r>
                  <a:rPr kumimoji="0" lang="en-US" sz="2667" b="1"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Item</a:t>
                </a:r>
              </a:p>
            </p:txBody>
          </p:sp>
          <p:sp>
            <p:nvSpPr>
              <p:cNvPr id="43" name="Rectangle 42">
                <a:extLst>
                  <a:ext uri="{FF2B5EF4-FFF2-40B4-BE49-F238E27FC236}">
                    <a16:creationId xmlns:a16="http://schemas.microsoft.com/office/drawing/2014/main" id="{3ABE93C9-68C2-C84D-83F8-CCF174197003}"/>
                  </a:ext>
                </a:extLst>
              </p:cNvPr>
              <p:cNvSpPr/>
              <p:nvPr/>
            </p:nvSpPr>
            <p:spPr>
              <a:xfrm>
                <a:off x="5884931" y="793343"/>
                <a:ext cx="2434234" cy="290886"/>
              </a:xfrm>
              <a:prstGeom prst="rect">
                <a:avLst/>
              </a:prstGeom>
            </p:spPr>
            <p:txBody>
              <a:bodyPr wrap="square">
                <a:spAutoFit/>
              </a:bodyPr>
              <a:lstStyle/>
              <a:p>
                <a:pPr marL="0" marR="0" lvl="0" indent="0" algn="r" defTabSz="317472" rtl="0" eaLnBrk="1" fontAlgn="base" latinLnBrk="0" hangingPunct="1">
                  <a:lnSpc>
                    <a:spcPct val="100000"/>
                  </a:lnSpc>
                  <a:spcBef>
                    <a:spcPts val="0"/>
                  </a:spcBef>
                  <a:spcAft>
                    <a:spcPts val="0"/>
                  </a:spcAft>
                  <a:buClrTx/>
                  <a:buSzTx/>
                  <a:buFontTx/>
                  <a:buNone/>
                  <a:tabLst/>
                  <a:defRPr/>
                </a:pPr>
                <a:r>
                  <a:rPr kumimoji="0" lang="en-US" sz="2223" u="none" strike="noStrike" kern="1200" cap="none" spc="0" normalizeH="0" baseline="0" noProof="0" dirty="0">
                    <a:ln>
                      <a:noFill/>
                    </a:ln>
                    <a:solidFill>
                      <a:srgbClr val="323E48"/>
                    </a:solidFill>
                    <a:effectLst/>
                    <a:uLnTx/>
                    <a:uFillTx/>
                    <a:latin typeface="+mn-lt"/>
                    <a:ea typeface="Source Sans Pro" panose="020B0503030403020204" pitchFamily="34" charset="0"/>
                    <a:cs typeface="+mn-cs"/>
                  </a:rPr>
                  <a:t>First Last, </a:t>
                </a:r>
                <a:r>
                  <a:rPr kumimoji="0" lang="en-US" sz="2223" u="none" strike="noStrike" kern="1200" cap="none" spc="0" normalizeH="0" baseline="0" noProof="0" dirty="0">
                    <a:ln>
                      <a:noFill/>
                    </a:ln>
                    <a:solidFill>
                      <a:schemeClr val="tx2"/>
                    </a:solidFill>
                    <a:effectLst/>
                    <a:uLnTx/>
                    <a:uFillTx/>
                    <a:latin typeface="+mn-lt"/>
                    <a:ea typeface="Source Sans Pro" panose="020B0503030403020204" pitchFamily="34" charset="0"/>
                    <a:cs typeface="+mn-cs"/>
                  </a:rPr>
                  <a:t>TITLE</a:t>
                </a:r>
              </a:p>
            </p:txBody>
          </p:sp>
          <p:cxnSp>
            <p:nvCxnSpPr>
              <p:cNvPr id="44" name="Straight Connector 43">
                <a:extLst>
                  <a:ext uri="{FF2B5EF4-FFF2-40B4-BE49-F238E27FC236}">
                    <a16:creationId xmlns:a16="http://schemas.microsoft.com/office/drawing/2014/main" id="{D4DCE20A-7D09-E447-9DF9-7502974647F0}"/>
                  </a:ext>
                </a:extLst>
              </p:cNvPr>
              <p:cNvCxnSpPr/>
              <p:nvPr/>
            </p:nvCxnSpPr>
            <p:spPr>
              <a:xfrm>
                <a:off x="3289965" y="1217905"/>
                <a:ext cx="5029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0" name="one hump">
            <a:extLst>
              <a:ext uri="{FF2B5EF4-FFF2-40B4-BE49-F238E27FC236}">
                <a16:creationId xmlns:a16="http://schemas.microsoft.com/office/drawing/2014/main" id="{21E1BD3D-DFAF-6749-B9A7-D4B5A6014991}"/>
              </a:ext>
            </a:extLst>
          </p:cNvPr>
          <p:cNvSpPr/>
          <p:nvPr userDrawn="1"/>
        </p:nvSpPr>
        <p:spPr>
          <a:xfrm>
            <a:off x="1" y="3995061"/>
            <a:ext cx="2318753" cy="2862940"/>
          </a:xfrm>
          <a:custGeom>
            <a:avLst/>
            <a:gdLst>
              <a:gd name="connsiteX0" fmla="*/ 1905757 w 1905757"/>
              <a:gd name="connsiteY0" fmla="*/ 2347751 h 2353136"/>
              <a:gd name="connsiteX1" fmla="*/ 1905757 w 1905757"/>
              <a:gd name="connsiteY1" fmla="*/ 953530 h 2353136"/>
              <a:gd name="connsiteX2" fmla="*/ 952882 w 1905757"/>
              <a:gd name="connsiteY2" fmla="*/ 0 h 2353136"/>
              <a:gd name="connsiteX3" fmla="*/ 0 w 1905757"/>
              <a:gd name="connsiteY3" fmla="*/ 953530 h 2353136"/>
              <a:gd name="connsiteX4" fmla="*/ 0 w 1905757"/>
              <a:gd name="connsiteY4" fmla="*/ 2353136 h 235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757" h="2353136">
                <a:moveTo>
                  <a:pt x="1905757" y="2347751"/>
                </a:moveTo>
                <a:lnTo>
                  <a:pt x="1905757" y="953530"/>
                </a:lnTo>
                <a:cubicBezTo>
                  <a:pt x="1905757" y="426909"/>
                  <a:pt x="1479142" y="0"/>
                  <a:pt x="952882" y="0"/>
                </a:cubicBezTo>
                <a:cubicBezTo>
                  <a:pt x="426618" y="0"/>
                  <a:pt x="0" y="426909"/>
                  <a:pt x="0" y="953530"/>
                </a:cubicBezTo>
                <a:lnTo>
                  <a:pt x="0" y="2353136"/>
                </a:lnTo>
                <a:close/>
              </a:path>
            </a:pathLst>
          </a:custGeom>
          <a:blipFill dpi="0" rotWithShape="1">
            <a:blip r:embed="rId4">
              <a:alphaModFix amt="10000"/>
              <a:extLst>
                <a:ext uri="{BEBA8EAE-BF5A-486C-A8C5-ECC9F3942E4B}">
                  <a14:imgProps xmlns:a14="http://schemas.microsoft.com/office/drawing/2010/main">
                    <a14:imgLayer r:embed="rId5">
                      <a14:imgEffect>
                        <a14:sharpenSoften amount="65000"/>
                      </a14:imgEffect>
                      <a14:imgEffect>
                        <a14:colorTemperature colorTemp="2823"/>
                      </a14:imgEffect>
                    </a14:imgLayer>
                  </a14:imgProps>
                </a:ext>
              </a:extLst>
            </a:blip>
            <a:srcRect/>
            <a:tile tx="0" ty="0" sx="15000" sy="15000" flip="none" algn="ctr"/>
          </a:blipFill>
          <a:ln w="6877" cap="flat">
            <a:noFill/>
            <a:prstDash val="solid"/>
            <a:miter/>
          </a:ln>
        </p:spPr>
        <p:txBody>
          <a:bodyPr rtlCol="0" anchor="ctr"/>
          <a:lstStyle/>
          <a:p>
            <a:endParaRPr lang="en-US" sz="1249" dirty="0"/>
          </a:p>
        </p:txBody>
      </p:sp>
      <p:grpSp>
        <p:nvGrpSpPr>
          <p:cNvPr id="45" name="4 Xs">
            <a:extLst>
              <a:ext uri="{FF2B5EF4-FFF2-40B4-BE49-F238E27FC236}">
                <a16:creationId xmlns:a16="http://schemas.microsoft.com/office/drawing/2014/main" id="{AF2B753E-1B98-2142-B6CA-7D3D7ECEEC99}"/>
              </a:ext>
            </a:extLst>
          </p:cNvPr>
          <p:cNvGrpSpPr/>
          <p:nvPr userDrawn="1"/>
        </p:nvGrpSpPr>
        <p:grpSpPr>
          <a:xfrm>
            <a:off x="800547" y="4071512"/>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46" name="Graphic 37">
              <a:extLst>
                <a:ext uri="{FF2B5EF4-FFF2-40B4-BE49-F238E27FC236}">
                  <a16:creationId xmlns:a16="http://schemas.microsoft.com/office/drawing/2014/main" id="{AA74210D-4AD3-3F4E-9E4F-65AEAD9B2F62}"/>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47" name="Graphic 37">
              <a:extLst>
                <a:ext uri="{FF2B5EF4-FFF2-40B4-BE49-F238E27FC236}">
                  <a16:creationId xmlns:a16="http://schemas.microsoft.com/office/drawing/2014/main" id="{A4C3EBDE-ADCC-FC42-B3DA-9D4AC04761A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48" name="Graphic 37">
              <a:extLst>
                <a:ext uri="{FF2B5EF4-FFF2-40B4-BE49-F238E27FC236}">
                  <a16:creationId xmlns:a16="http://schemas.microsoft.com/office/drawing/2014/main" id="{4EB6F85D-E047-9041-82D4-E3EFCF67BDC4}"/>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49" name="Graphic 37">
              <a:extLst>
                <a:ext uri="{FF2B5EF4-FFF2-40B4-BE49-F238E27FC236}">
                  <a16:creationId xmlns:a16="http://schemas.microsoft.com/office/drawing/2014/main" id="{70AD1A4D-ED32-A149-960C-582898DE04F8}"/>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20617764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1.73162E-6 -0.03456 L -1.73162E-6 -3.37406E-6 " pathEditMode="relative" rAng="0" ptsTypes="AA">
                                      <p:cBhvr>
                                        <p:cTn id="9" dur="500" fill="hold"/>
                                        <p:tgtEl>
                                          <p:spTgt spid="41"/>
                                        </p:tgtEl>
                                        <p:attrNameLst>
                                          <p:attrName>ppt_x</p:attrName>
                                          <p:attrName>ppt_y</p:attrName>
                                        </p:attrNameLst>
                                      </p:cBhvr>
                                      <p:rCtr x="0" y="17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1"/>
            <a:ext cx="5427349" cy="2913763"/>
          </a:xfrm>
        </p:spPr>
        <p:txBody>
          <a:bodyPr anchor="ctr" anchorCtr="0">
            <a:noAutofit/>
          </a:bodyPr>
          <a:lstStyle>
            <a:lvl1pPr algn="r">
              <a:defRPr sz="23887" b="1">
                <a:solidFill>
                  <a:schemeClr val="bg1"/>
                </a:solidFill>
                <a:latin typeface="+mn-lt"/>
              </a:defRPr>
            </a:lvl1pPr>
            <a:lvl2pPr algn="r">
              <a:defRPr/>
            </a:lvl2pPr>
            <a:lvl3pPr algn="r">
              <a:defRPr/>
            </a:lvl3pPr>
            <a:lvl4pPr algn="r">
              <a:defRPr/>
            </a:lvl4pPr>
            <a:lvl5pPr algn="r">
              <a:defRPr/>
            </a:lvl5pPr>
          </a:lstStyle>
          <a:p>
            <a:pPr lvl="0"/>
            <a:r>
              <a:rPr lang="en-US" dirty="0"/>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2" y="1972671"/>
            <a:ext cx="1791325" cy="2913763"/>
          </a:xfrm>
        </p:spPr>
        <p:txBody>
          <a:bodyPr anchor="ctr" anchorCtr="0">
            <a:noAutofit/>
          </a:bodyPr>
          <a:lstStyle>
            <a:lvl1pPr algn="l">
              <a:defRPr sz="11944"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dirty="0"/>
              <a:t>it</a:t>
            </a:r>
          </a:p>
        </p:txBody>
      </p:sp>
      <p:grpSp>
        <p:nvGrpSpPr>
          <p:cNvPr id="20" name="waves">
            <a:extLst>
              <a:ext uri="{FF2B5EF4-FFF2-40B4-BE49-F238E27FC236}">
                <a16:creationId xmlns:a16="http://schemas.microsoft.com/office/drawing/2014/main" id="{091EAC0F-F6B6-804E-81C1-DC14DB0CFEB4}"/>
              </a:ext>
            </a:extLst>
          </p:cNvPr>
          <p:cNvGrpSpPr/>
          <p:nvPr userDrawn="1"/>
        </p:nvGrpSpPr>
        <p:grpSpPr>
          <a:xfrm>
            <a:off x="2563907" y="4742329"/>
            <a:ext cx="11311821" cy="2131131"/>
            <a:chOff x="4253152" y="151074"/>
            <a:chExt cx="6930220" cy="2076330"/>
          </a:xfrm>
        </p:grpSpPr>
        <p:sp>
          <p:nvSpPr>
            <p:cNvPr id="21" name="coral">
              <a:extLst>
                <a:ext uri="{FF2B5EF4-FFF2-40B4-BE49-F238E27FC236}">
                  <a16:creationId xmlns:a16="http://schemas.microsoft.com/office/drawing/2014/main" id="{5544ED0D-A342-F44A-8373-4300D2A9FC5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6981805-0618-3A4E-BF33-F709D396003A}"/>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7" y="1490445"/>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7" y="5369819"/>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5" y="5396784"/>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112909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Oval 6">
            <a:extLst>
              <a:ext uri="{FF2B5EF4-FFF2-40B4-BE49-F238E27FC236}">
                <a16:creationId xmlns:a16="http://schemas.microsoft.com/office/drawing/2014/main" id="{26F17582-2F62-A148-8696-1C39223CE799}"/>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285896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all to Action ">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9268B40-4CED-5446-BECA-119CE8F3CD72}"/>
              </a:ext>
            </a:extLst>
          </p:cNvPr>
          <p:cNvSpPr/>
          <p:nvPr userDrawn="1"/>
        </p:nvSpPr>
        <p:spPr>
          <a:xfrm>
            <a:off x="94414" y="196633"/>
            <a:ext cx="2238900" cy="2238787"/>
          </a:xfrm>
          <a:prstGeom prst="ellipse">
            <a:avLst/>
          </a:prstGeom>
          <a:gradFill flip="none" rotWithShape="1">
            <a:gsLst>
              <a:gs pos="50000">
                <a:schemeClr val="accent1">
                  <a:lumMod val="20000"/>
                  <a:lumOff val="80000"/>
                  <a:alpha val="6000"/>
                </a:schemeClr>
              </a:gs>
              <a:gs pos="99000">
                <a:schemeClr val="accent1">
                  <a:lumMod val="60000"/>
                  <a:lumOff val="40000"/>
                  <a:alpha val="59712"/>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6" name="Text Placeholder 9">
            <a:extLst>
              <a:ext uri="{FF2B5EF4-FFF2-40B4-BE49-F238E27FC236}">
                <a16:creationId xmlns:a16="http://schemas.microsoft.com/office/drawing/2014/main" id="{8123375F-9B17-6448-9B8E-33BB1F1DA2E4}"/>
              </a:ext>
            </a:extLst>
          </p:cNvPr>
          <p:cNvSpPr>
            <a:spLocks noGrp="1"/>
          </p:cNvSpPr>
          <p:nvPr>
            <p:ph type="body" sz="quarter" idx="10"/>
          </p:nvPr>
        </p:nvSpPr>
        <p:spPr>
          <a:xfrm>
            <a:off x="6096551" y="736401"/>
            <a:ext cx="5587219" cy="4070377"/>
          </a:xfrm>
        </p:spPr>
        <p:txBody>
          <a:bodyPr>
            <a:normAutofit/>
          </a:bodyPr>
          <a:lstStyle>
            <a:lvl1pPr marL="0" indent="432115">
              <a:spcAft>
                <a:spcPts val="1249"/>
              </a:spcAft>
              <a:buFontTx/>
              <a:buBlip>
                <a:blip r:embed="rId2"/>
              </a:buBlip>
              <a:tabLst/>
              <a:defRPr sz="2500">
                <a:solidFill>
                  <a:schemeClr val="accent5"/>
                </a:solidFill>
                <a:latin typeface="+mn-lt"/>
              </a:defRPr>
            </a:lvl1pPr>
            <a:lvl2pPr marL="0" indent="432115">
              <a:spcAft>
                <a:spcPts val="1249"/>
              </a:spcAft>
              <a:buFontTx/>
              <a:buBlip>
                <a:blip r:embed="rId2"/>
              </a:buBlip>
              <a:tabLst/>
              <a:defRPr sz="2500">
                <a:solidFill>
                  <a:schemeClr val="accent5"/>
                </a:solidFill>
                <a:latin typeface="+mn-lt"/>
              </a:defRPr>
            </a:lvl2pPr>
            <a:lvl3pPr marL="0" indent="432115">
              <a:spcAft>
                <a:spcPts val="1249"/>
              </a:spcAft>
              <a:buFontTx/>
              <a:buBlip>
                <a:blip r:embed="rId2"/>
              </a:buBlip>
              <a:tabLst/>
              <a:defRPr sz="2500">
                <a:solidFill>
                  <a:schemeClr val="accent5"/>
                </a:solidFill>
                <a:latin typeface="+mn-lt"/>
              </a:defRPr>
            </a:lvl3pPr>
            <a:lvl4pPr marL="0" indent="432115">
              <a:spcAft>
                <a:spcPts val="1249"/>
              </a:spcAft>
              <a:buFontTx/>
              <a:buBlip>
                <a:blip r:embed="rId2"/>
              </a:buBlip>
              <a:tabLst/>
              <a:defRPr sz="2500">
                <a:solidFill>
                  <a:schemeClr val="accent5"/>
                </a:solidFill>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8" name="3 Xs">
            <a:extLst>
              <a:ext uri="{FF2B5EF4-FFF2-40B4-BE49-F238E27FC236}">
                <a16:creationId xmlns:a16="http://schemas.microsoft.com/office/drawing/2014/main" id="{41CADA79-152E-724D-8B57-FD7B7338D609}"/>
              </a:ext>
            </a:extLst>
          </p:cNvPr>
          <p:cNvGrpSpPr/>
          <p:nvPr userDrawn="1"/>
        </p:nvGrpSpPr>
        <p:grpSpPr>
          <a:xfrm flipH="1">
            <a:off x="508000" y="631889"/>
            <a:ext cx="1033941" cy="828372"/>
            <a:chOff x="7760677" y="469802"/>
            <a:chExt cx="660806" cy="529450"/>
          </a:xfrm>
          <a:solidFill>
            <a:schemeClr val="accent5">
              <a:alpha val="18390"/>
            </a:schemeClr>
          </a:solidFill>
        </p:grpSpPr>
        <p:sp>
          <p:nvSpPr>
            <p:cNvPr id="9" name="Freeform 8">
              <a:extLst>
                <a:ext uri="{FF2B5EF4-FFF2-40B4-BE49-F238E27FC236}">
                  <a16:creationId xmlns:a16="http://schemas.microsoft.com/office/drawing/2014/main" id="{048E5BB7-1C8E-6C4D-B676-D37BA28DDBD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10" name="Freeform 9">
              <a:extLst>
                <a:ext uri="{FF2B5EF4-FFF2-40B4-BE49-F238E27FC236}">
                  <a16:creationId xmlns:a16="http://schemas.microsoft.com/office/drawing/2014/main" id="{2D574E84-0116-584A-8A38-A4721963F891}"/>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11" name="Freeform 10">
              <a:extLst>
                <a:ext uri="{FF2B5EF4-FFF2-40B4-BE49-F238E27FC236}">
                  <a16:creationId xmlns:a16="http://schemas.microsoft.com/office/drawing/2014/main" id="{BB7A9C06-6BC6-A345-80A2-F3C9B691A533}"/>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12" name="waves">
            <a:extLst>
              <a:ext uri="{FF2B5EF4-FFF2-40B4-BE49-F238E27FC236}">
                <a16:creationId xmlns:a16="http://schemas.microsoft.com/office/drawing/2014/main" id="{3E4D22DA-B8A9-E145-96CD-B6DB0DC8938E}"/>
              </a:ext>
            </a:extLst>
          </p:cNvPr>
          <p:cNvGrpSpPr/>
          <p:nvPr userDrawn="1"/>
        </p:nvGrpSpPr>
        <p:grpSpPr>
          <a:xfrm>
            <a:off x="-1566254" y="5170549"/>
            <a:ext cx="17037436" cy="1687452"/>
            <a:chOff x="4253152" y="151074"/>
            <a:chExt cx="6930220" cy="2076330"/>
          </a:xfrm>
        </p:grpSpPr>
        <p:sp>
          <p:nvSpPr>
            <p:cNvPr id="13" name="coral">
              <a:extLst>
                <a:ext uri="{FF2B5EF4-FFF2-40B4-BE49-F238E27FC236}">
                  <a16:creationId xmlns:a16="http://schemas.microsoft.com/office/drawing/2014/main" id="{B9771CB8-12FA-784A-AECA-8BC3A090C0BB}"/>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14" name="green">
              <a:extLst>
                <a:ext uri="{FF2B5EF4-FFF2-40B4-BE49-F238E27FC236}">
                  <a16:creationId xmlns:a16="http://schemas.microsoft.com/office/drawing/2014/main" id="{46B1457C-FFC3-C246-942B-EE7D10188734}"/>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Tree>
    <p:extLst>
      <p:ext uri="{BB962C8B-B14F-4D97-AF65-F5344CB8AC3E}">
        <p14:creationId xmlns:p14="http://schemas.microsoft.com/office/powerpoint/2010/main" val="107951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tx1">
                    <a:lumMod val="50000"/>
                  </a:schemeClr>
                </a:solidFill>
                <a:latin typeface="+mn-lt"/>
              </a:defRPr>
            </a:lvl1pPr>
          </a:lstStyle>
          <a:p>
            <a:r>
              <a:rPr lang="en-US" dirty="0"/>
              <a:t>Click to edit master title style</a:t>
            </a:r>
            <a:endParaRPr lang="en-ID" dirty="0"/>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tx1"/>
                </a:solidFill>
              </a:defRPr>
            </a:lvl1pPr>
            <a:lvl2pPr marL="320779" indent="-320779">
              <a:buClr>
                <a:schemeClr val="tx2"/>
              </a:buClr>
              <a:buSzPct val="80000"/>
              <a:buFont typeface="System Font Regular"/>
              <a:buChar char="→"/>
              <a:tabLst/>
              <a:defRPr>
                <a:solidFill>
                  <a:schemeClr val="tx1"/>
                </a:solidFill>
              </a:defRPr>
            </a:lvl2pPr>
            <a:lvl3pPr marL="477311" indent="-156531">
              <a:buClr>
                <a:schemeClr val="tx2"/>
              </a:buClr>
              <a:buSzPct val="80000"/>
              <a:tabLst/>
              <a:defRPr>
                <a:solidFill>
                  <a:schemeClr val="tx1"/>
                </a:solidFill>
              </a:defRPr>
            </a:lvl3pPr>
            <a:lvl4pPr marL="642660" indent="-165351">
              <a:buClr>
                <a:schemeClr val="tx2"/>
              </a:buClr>
              <a:buSzPct val="80000"/>
              <a:tabLst/>
              <a:defRPr>
                <a:solidFill>
                  <a:schemeClr val="tx1"/>
                </a:solidFill>
              </a:defRPr>
            </a:lvl4pPr>
            <a:lvl5pPr marL="799192" indent="-156531">
              <a:buClr>
                <a:schemeClr val="tx2"/>
              </a:buClr>
              <a:buSzPct val="80000"/>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grpSp>
        <p:nvGrpSpPr>
          <p:cNvPr id="4" name="Group 3">
            <a:extLst>
              <a:ext uri="{FF2B5EF4-FFF2-40B4-BE49-F238E27FC236}">
                <a16:creationId xmlns:a16="http://schemas.microsoft.com/office/drawing/2014/main" id="{8759F189-1BF3-AA45-9AF7-14A7CDA4BF30}"/>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2E7BC4C-EB01-B545-B29B-6E21E0F8191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2B550610-FC85-9243-B201-759EB69E165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615003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w/ Subhead and cont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noFill/>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tx1"/>
                </a:solidFill>
                <a:latin typeface="+mn-lt"/>
                <a:ea typeface="Source Sans Pro" panose="020B0503030403020204" pitchFamily="34" charset="0"/>
                <a:cs typeface="Calibri" charset="0"/>
              </a:defRPr>
            </a:lvl1pPr>
            <a:lvl2pPr>
              <a:buClr>
                <a:schemeClr val="tx2"/>
              </a:buClr>
              <a:defRPr b="0" i="0">
                <a:solidFill>
                  <a:schemeClr val="tx1"/>
                </a:solidFill>
                <a:latin typeface="+mn-lt"/>
                <a:ea typeface="Source Sans Pro" panose="020B0503030403020204" pitchFamily="34" charset="0"/>
                <a:cs typeface="Calibri" charset="0"/>
              </a:defRPr>
            </a:lvl2pPr>
            <a:lvl3pPr>
              <a:buClr>
                <a:schemeClr val="tx2"/>
              </a:buClr>
              <a:defRPr b="0" i="0">
                <a:solidFill>
                  <a:schemeClr val="tx1"/>
                </a:solidFill>
                <a:latin typeface="+mn-lt"/>
                <a:ea typeface="Source Sans Pro" panose="020B0503030403020204" pitchFamily="34" charset="0"/>
                <a:cs typeface="Calibri" charset="0"/>
              </a:defRPr>
            </a:lvl3pPr>
            <a:lvl4pPr>
              <a:buClr>
                <a:schemeClr val="tx2"/>
              </a:buClr>
              <a:defRPr b="0" i="0">
                <a:solidFill>
                  <a:schemeClr val="tx1"/>
                </a:solidFill>
                <a:latin typeface="+mn-lt"/>
                <a:ea typeface="Source Sans Pro" panose="020B0503030403020204" pitchFamily="34" charset="0"/>
                <a:cs typeface="Calibri" charset="0"/>
              </a:defRPr>
            </a:lvl4pPr>
            <a:lvl5pPr marL="634944" indent="-114642">
              <a:buClr>
                <a:schemeClr val="tx2"/>
              </a:buCl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2" name="Group 11">
            <a:extLst>
              <a:ext uri="{FF2B5EF4-FFF2-40B4-BE49-F238E27FC236}">
                <a16:creationId xmlns:a16="http://schemas.microsoft.com/office/drawing/2014/main" id="{AD64F5A1-A640-E844-9E78-830AFB890A35}"/>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328A6A6E-C9D1-7540-B098-48DF62DBBE4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975356DA-58EE-4842-95C2-AD3C95182A55}"/>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81453696"/>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wo Columns no Sub">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6097251-0BC9-3B48-9D63-54BA96B226AD}"/>
              </a:ext>
            </a:extLst>
          </p:cNvPr>
          <p:cNvGrpSpPr/>
          <p:nvPr userDrawn="1"/>
        </p:nvGrpSpPr>
        <p:grpSpPr>
          <a:xfrm>
            <a:off x="-733314" y="5049600"/>
            <a:ext cx="19125951" cy="1808401"/>
            <a:chOff x="7994577" y="7729729"/>
            <a:chExt cx="9753466" cy="2185140"/>
          </a:xfrm>
        </p:grpSpPr>
        <p:sp>
          <p:nvSpPr>
            <p:cNvPr id="9" name="Graphic 56">
              <a:extLst>
                <a:ext uri="{FF2B5EF4-FFF2-40B4-BE49-F238E27FC236}">
                  <a16:creationId xmlns:a16="http://schemas.microsoft.com/office/drawing/2014/main" id="{000DC3E1-4FC5-1F48-BCCC-44434BF66E91}"/>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0D7B494F-2F55-C343-B20A-793DC30992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6789552"/>
      </p:ext>
    </p:extLst>
  </p:cSld>
  <p:clrMapOvr>
    <a:masterClrMapping/>
  </p:clrMapOvr>
  <p:transition spd="slow">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s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6888"/>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835568" indent="-192909">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320779" indent="-307551">
              <a:buClr>
                <a:schemeClr val="tx2"/>
              </a:buClr>
              <a:buFont typeface="System Font Regular"/>
              <a:buChar char="→"/>
              <a:tabLst/>
              <a:defRPr b="0" i="0">
                <a:solidFill>
                  <a:schemeClr val="tx1"/>
                </a:solidFill>
                <a:latin typeface="+mn-lt"/>
                <a:ea typeface="Source Sans Pro" panose="020B0503030403020204" pitchFamily="34" charset="0"/>
                <a:cs typeface="Calibri" charset="0"/>
              </a:defRPr>
            </a:lvl2pPr>
            <a:lvl3pPr marL="477311"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42660" indent="-16535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799192" indent="-156531">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6F063466-9513-DD44-BC04-A34C2BC0DFA7}"/>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4BB90C37-31EB-A64C-82CF-857AD4828F5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F860CFC4-C1CB-CC45-AB17-40B9553A1A73}"/>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604136099"/>
      </p:ext>
    </p:extLst>
  </p:cSld>
  <p:clrMapOvr>
    <a:masterClrMapping/>
  </p:clrMapOvr>
  <p:transition spd="slow">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ne Column no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tx1"/>
                </a:solidFill>
                <a:latin typeface="+mn-lt"/>
                <a:ea typeface="Source Sans Pro" panose="020B0503030403020204" pitchFamily="34" charset="0"/>
                <a:cs typeface="Calibri" charset="0"/>
              </a:defRPr>
            </a:lvl1pPr>
            <a:lvl2pPr marL="237046"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2pPr>
            <a:lvl3pPr marL="461392" indent="-2243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3pPr>
            <a:lvl4pPr marL="687856" indent="-226464">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4pPr>
            <a:lvl5pPr marL="924902" indent="-237046">
              <a:buClr>
                <a:schemeClr val="tx2"/>
              </a:buClr>
              <a:buFont typeface="Arial" panose="020B0604020202020204" pitchFamily="34" charset="0"/>
              <a:buChar char="•"/>
              <a:tabLst/>
              <a:defRPr b="0" i="0">
                <a:solidFill>
                  <a:schemeClr val="tx1"/>
                </a:solidFill>
                <a:latin typeface="+mn-lt"/>
                <a:ea typeface="Source Sans Pro" panose="020B0503030403020204" pitchFamily="34" charset="0"/>
                <a:cs typeface="Calibri" charset="0"/>
              </a:defRPr>
            </a:lvl5pPr>
          </a:lstStyle>
          <a:p>
            <a:pPr marL="0" marR="0" lvl="0" indent="0" algn="l" defTabSz="914318" rtl="0" eaLnBrk="1" fontAlgn="auto" latinLnBrk="0" hangingPunct="1">
              <a:lnSpc>
                <a:spcPct val="90000"/>
              </a:lnSpc>
              <a:spcBef>
                <a:spcPts val="1000"/>
              </a:spcBef>
              <a:spcAft>
                <a:spcPts val="0"/>
              </a:spcAft>
              <a:buClr>
                <a:srgbClr val="FF6D70"/>
              </a:buClr>
              <a:buSzPct val="80000"/>
              <a:buFont typeface="+mj-lt"/>
              <a:buNone/>
              <a:tabLst/>
              <a:defRPr/>
            </a:pPr>
            <a:r>
              <a:rPr kumimoji="0" lang="en-US" sz="2667" b="0" i="0" u="none" strike="noStrike" kern="1200" cap="none" spc="0" normalizeH="0" baseline="0" noProof="0" dirty="0">
                <a:ln>
                  <a:noFill/>
                </a:ln>
                <a:solidFill>
                  <a:srgbClr val="323E48"/>
                </a:solidFill>
                <a:effectLst/>
                <a:uLnTx/>
                <a:uFillTx/>
                <a:latin typeface="Calibri" panose="020F0502020204030204"/>
                <a:ea typeface="+mn-ea"/>
                <a:cs typeface="+mn-cs"/>
              </a:rPr>
              <a:t>Click to edit master text styles</a:t>
            </a:r>
          </a:p>
          <a:p>
            <a:pPr marL="320779" marR="0" lvl="1" indent="-307551" algn="l" defTabSz="914318" rtl="0" eaLnBrk="1" fontAlgn="auto" latinLnBrk="0" hangingPunct="1">
              <a:lnSpc>
                <a:spcPct val="90000"/>
              </a:lnSpc>
              <a:spcBef>
                <a:spcPts val="500"/>
              </a:spcBef>
              <a:spcAft>
                <a:spcPts val="0"/>
              </a:spcAft>
              <a:buClr>
                <a:srgbClr val="FF6D70"/>
              </a:buClr>
              <a:buSzPct val="80000"/>
              <a:buFont typeface="System Font Regular"/>
              <a:buChar char="→"/>
              <a:tabLst/>
              <a:defRPr/>
            </a:pPr>
            <a:r>
              <a:rPr kumimoji="0" lang="en-US" sz="2400" b="0" i="0" u="none" strike="noStrike" kern="1200" cap="none" spc="0" normalizeH="0" baseline="0" noProof="0" dirty="0">
                <a:ln>
                  <a:noFill/>
                </a:ln>
                <a:solidFill>
                  <a:srgbClr val="323E48"/>
                </a:solidFill>
                <a:effectLst/>
                <a:uLnTx/>
                <a:uFillTx/>
                <a:latin typeface="Calibri" panose="020F0502020204030204"/>
                <a:ea typeface="+mn-ea"/>
                <a:cs typeface="+mn-cs"/>
              </a:rPr>
              <a:t>Second level</a:t>
            </a:r>
          </a:p>
          <a:p>
            <a:pPr marL="477311" marR="0" lvl="2" indent="-15653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srgbClr val="323E48"/>
                </a:solidFill>
                <a:effectLst/>
                <a:uLnTx/>
                <a:uFillTx/>
                <a:latin typeface="Calibri" panose="020F0502020204030204"/>
                <a:ea typeface="+mn-ea"/>
                <a:cs typeface="+mn-cs"/>
              </a:rPr>
              <a:t>Third level</a:t>
            </a:r>
          </a:p>
          <a:p>
            <a:pPr marL="642660" marR="0" lvl="3" indent="-165351"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ourth level</a:t>
            </a:r>
          </a:p>
          <a:p>
            <a:pPr marL="799192" marR="0" lvl="4" indent="-120154" algn="l" defTabSz="914318" rtl="0" eaLnBrk="1" fontAlgn="auto" latinLnBrk="0" hangingPunct="1">
              <a:lnSpc>
                <a:spcPct val="90000"/>
              </a:lnSpc>
              <a:spcBef>
                <a:spcPts val="500"/>
              </a:spcBef>
              <a:spcAft>
                <a:spcPts val="0"/>
              </a:spcAft>
              <a:buClr>
                <a:srgbClr val="FF6D70"/>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323E48"/>
                </a:solidFill>
                <a:effectLst/>
                <a:uLnTx/>
                <a:uFillTx/>
                <a:latin typeface="Calibri" panose="020F0502020204030204"/>
                <a:ea typeface="+mn-ea"/>
                <a:cs typeface="+mn-cs"/>
              </a:rPr>
              <a:t>Fifth level</a:t>
            </a:r>
          </a:p>
        </p:txBody>
      </p:sp>
      <p:grpSp>
        <p:nvGrpSpPr>
          <p:cNvPr id="11" name="Group 10">
            <a:extLst>
              <a:ext uri="{FF2B5EF4-FFF2-40B4-BE49-F238E27FC236}">
                <a16:creationId xmlns:a16="http://schemas.microsoft.com/office/drawing/2014/main" id="{38E300BC-74FB-B94A-B9D2-B47024C40ED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1DEB5F64-C556-3147-9575-DB7125440025}"/>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A906501C-2072-1942-B9F8-6E5D4A9DCC3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406138921"/>
      </p:ext>
    </p:extLst>
  </p:cSld>
  <p:clrMapOvr>
    <a:masterClrMapping/>
  </p:clrMapOvr>
  <p:transition spd="slow">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11" name="Group 10">
            <a:extLst>
              <a:ext uri="{FF2B5EF4-FFF2-40B4-BE49-F238E27FC236}">
                <a16:creationId xmlns:a16="http://schemas.microsoft.com/office/drawing/2014/main" id="{8ED639B5-8120-2845-9975-60E54A1E23E9}"/>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4037486C-72E5-A047-8369-596D613A0F62}"/>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69C83946-7678-3C4A-AA9D-30D625944E9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579438417"/>
      </p:ext>
    </p:extLst>
  </p:cSld>
  <p:clrMapOvr>
    <a:masterClrMapping/>
  </p:clrMapOvr>
  <p:transition spd="slow">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Title + Sub">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7" name="Group 6">
            <a:extLst>
              <a:ext uri="{FF2B5EF4-FFF2-40B4-BE49-F238E27FC236}">
                <a16:creationId xmlns:a16="http://schemas.microsoft.com/office/drawing/2014/main" id="{34407DF6-37E6-EA4F-AD60-CA3C749E0206}"/>
              </a:ext>
            </a:extLst>
          </p:cNvPr>
          <p:cNvGrpSpPr/>
          <p:nvPr userDrawn="1"/>
        </p:nvGrpSpPr>
        <p:grpSpPr>
          <a:xfrm>
            <a:off x="-733314" y="5049600"/>
            <a:ext cx="19125951" cy="1808401"/>
            <a:chOff x="7994577" y="7729729"/>
            <a:chExt cx="9753466" cy="2185140"/>
          </a:xfrm>
        </p:grpSpPr>
        <p:sp>
          <p:nvSpPr>
            <p:cNvPr id="8" name="Graphic 56">
              <a:extLst>
                <a:ext uri="{FF2B5EF4-FFF2-40B4-BE49-F238E27FC236}">
                  <a16:creationId xmlns:a16="http://schemas.microsoft.com/office/drawing/2014/main" id="{C5EAA965-D0C2-0643-92E6-6C7DA18EA92C}"/>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9" name="Graphic 61">
              <a:extLst>
                <a:ext uri="{FF2B5EF4-FFF2-40B4-BE49-F238E27FC236}">
                  <a16:creationId xmlns:a16="http://schemas.microsoft.com/office/drawing/2014/main" id="{9E8AD697-3AF6-7D41-A26D-4D64AE8B043A}"/>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699799501"/>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BE92D8BB-EA7F-DB42-896F-417FCFEA167C}"/>
              </a:ext>
            </a:extLst>
          </p:cNvPr>
          <p:cNvSpPr/>
          <p:nvPr userDrawn="1"/>
        </p:nvSpPr>
        <p:spPr>
          <a:xfrm flipH="1">
            <a:off x="-1194343" y="3423382"/>
            <a:ext cx="4109992" cy="4109785"/>
          </a:xfrm>
          <a:prstGeom prst="ellipse">
            <a:avLst/>
          </a:prstGeom>
          <a:gradFill flip="none" rotWithShape="1">
            <a:gsLst>
              <a:gs pos="50000">
                <a:schemeClr val="accent1">
                  <a:lumMod val="75000"/>
                  <a:alpha val="18000"/>
                </a:schemeClr>
              </a:gs>
              <a:gs pos="99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p>
        </p:txBody>
      </p:sp>
      <p:sp>
        <p:nvSpPr>
          <p:cNvPr id="3" name="Rectangle 2">
            <a:extLst>
              <a:ext uri="{FF2B5EF4-FFF2-40B4-BE49-F238E27FC236}">
                <a16:creationId xmlns:a16="http://schemas.microsoft.com/office/drawing/2014/main" id="{BE3A4AA6-2E7E-3942-A02E-089B0C36965D}"/>
              </a:ext>
            </a:extLst>
          </p:cNvPr>
          <p:cNvSpPr/>
          <p:nvPr userDrawn="1"/>
        </p:nvSpPr>
        <p:spPr>
          <a:xfrm>
            <a:off x="3314702" y="0"/>
            <a:ext cx="8877300" cy="6858000"/>
          </a:xfrm>
          <a:prstGeom prst="rect">
            <a:avLst/>
          </a:prstGeom>
          <a:gradFill flip="none" rotWithShape="1">
            <a:gsLst>
              <a:gs pos="0">
                <a:srgbClr val="F8F3EF"/>
              </a:gs>
              <a:gs pos="99000">
                <a:schemeClr val="bg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dirty="0">
              <a:latin typeface="+mn-lt"/>
            </a:endParaRPr>
          </a:p>
        </p:txBody>
      </p:sp>
      <p:sp>
        <p:nvSpPr>
          <p:cNvPr id="48" name="Text Placeholder 33">
            <a:extLst>
              <a:ext uri="{FF2B5EF4-FFF2-40B4-BE49-F238E27FC236}">
                <a16:creationId xmlns:a16="http://schemas.microsoft.com/office/drawing/2014/main" id="{84640C75-0D19-9C4C-837B-3FE61F595601}"/>
              </a:ext>
            </a:extLst>
          </p:cNvPr>
          <p:cNvSpPr>
            <a:spLocks noGrp="1"/>
          </p:cNvSpPr>
          <p:nvPr>
            <p:ph type="body" sz="quarter" idx="12" hasCustomPrompt="1"/>
          </p:nvPr>
        </p:nvSpPr>
        <p:spPr>
          <a:xfrm>
            <a:off x="4297422" y="5394434"/>
            <a:ext cx="5282068" cy="277804"/>
          </a:xfrm>
        </p:spPr>
        <p:txBody>
          <a:bodyPr>
            <a:noAutofit/>
          </a:bodyPr>
          <a:lstStyle>
            <a:lvl1pPr>
              <a:defRPr sz="2223">
                <a:solidFill>
                  <a:schemeClr val="tx2"/>
                </a:solidFill>
              </a:defRPr>
            </a:lvl1pPr>
          </a:lstStyle>
          <a:p>
            <a:r>
              <a:rPr lang="en-US" dirty="0"/>
              <a:t>Name, Title</a:t>
            </a:r>
          </a:p>
        </p:txBody>
      </p:sp>
      <p:sp>
        <p:nvSpPr>
          <p:cNvPr id="49" name="Text Placeholder 31">
            <a:extLst>
              <a:ext uri="{FF2B5EF4-FFF2-40B4-BE49-F238E27FC236}">
                <a16:creationId xmlns:a16="http://schemas.microsoft.com/office/drawing/2014/main" id="{FECAD303-4539-3248-BF00-5960967FE0D4}"/>
              </a:ext>
            </a:extLst>
          </p:cNvPr>
          <p:cNvSpPr>
            <a:spLocks noGrp="1"/>
          </p:cNvSpPr>
          <p:nvPr>
            <p:ph type="body" sz="quarter" idx="11"/>
          </p:nvPr>
        </p:nvSpPr>
        <p:spPr>
          <a:xfrm>
            <a:off x="4297422" y="1498157"/>
            <a:ext cx="7386348" cy="3444388"/>
          </a:xfrm>
        </p:spPr>
        <p:txBody>
          <a:bodyPr>
            <a:normAutofit/>
          </a:bodyPr>
          <a:lstStyle>
            <a:lvl1pPr>
              <a:defRPr sz="3333"/>
            </a:lvl1pPr>
          </a:lstStyle>
          <a:p>
            <a:endParaRPr lang="en-US" dirty="0"/>
          </a:p>
        </p:txBody>
      </p:sp>
      <p:grpSp>
        <p:nvGrpSpPr>
          <p:cNvPr id="5" name="Group 4">
            <a:extLst>
              <a:ext uri="{FF2B5EF4-FFF2-40B4-BE49-F238E27FC236}">
                <a16:creationId xmlns:a16="http://schemas.microsoft.com/office/drawing/2014/main" id="{B4C0678B-2AF5-4D4A-8220-A61576084C9A}"/>
              </a:ext>
            </a:extLst>
          </p:cNvPr>
          <p:cNvGrpSpPr/>
          <p:nvPr userDrawn="1"/>
        </p:nvGrpSpPr>
        <p:grpSpPr>
          <a:xfrm>
            <a:off x="3692897" y="499339"/>
            <a:ext cx="1209051" cy="1401052"/>
            <a:chOff x="5283035" y="1188441"/>
            <a:chExt cx="1038225" cy="1203159"/>
          </a:xfrm>
        </p:grpSpPr>
        <p:sp>
          <p:nvSpPr>
            <p:cNvPr id="53" name="Title 1">
              <a:extLst>
                <a:ext uri="{FF2B5EF4-FFF2-40B4-BE49-F238E27FC236}">
                  <a16:creationId xmlns:a16="http://schemas.microsoft.com/office/drawing/2014/main" id="{AE034BCA-8087-EC4B-806E-A579300D6DE2}"/>
                </a:ext>
              </a:extLst>
            </p:cNvPr>
            <p:cNvSpPr txBox="1">
              <a:spLocks/>
            </p:cNvSpPr>
            <p:nvPr userDrawn="1"/>
          </p:nvSpPr>
          <p:spPr>
            <a:xfrm>
              <a:off x="5502937" y="1504748"/>
              <a:ext cx="570673" cy="886852"/>
            </a:xfrm>
            <a:prstGeom prst="rect">
              <a:avLst/>
            </a:prstGeom>
          </p:spPr>
          <p:txBody>
            <a:bodyPr vert="horz" wrap="square">
              <a:spAutoFit/>
            </a:bodyPr>
            <a:lstStyle>
              <a:lvl1pPr algn="l" defTabSz="685800" rtl="0" eaLnBrk="1" latinLnBrk="0" hangingPunct="1">
                <a:lnSpc>
                  <a:spcPct val="90000"/>
                </a:lnSpc>
                <a:spcBef>
                  <a:spcPct val="0"/>
                </a:spcBef>
                <a:buNone/>
                <a:defRPr sz="2800" b="0" i="0" kern="1200">
                  <a:solidFill>
                    <a:schemeClr val="tx1"/>
                  </a:solidFill>
                  <a:latin typeface="+mj-lt"/>
                  <a:ea typeface="+mj-ea"/>
                  <a:cs typeface="+mj-cs"/>
                </a:defRPr>
              </a:lvl1pPr>
            </a:lstStyle>
            <a:p>
              <a:pPr algn="ctr">
                <a:lnSpc>
                  <a:spcPct val="100000"/>
                </a:lnSpc>
              </a:pPr>
              <a:r>
                <a:rPr lang="en-US" sz="6111" dirty="0">
                  <a:solidFill>
                    <a:srgbClr val="FF6D70"/>
                  </a:solidFill>
                  <a:latin typeface="+mn-lt"/>
                </a:rPr>
                <a:t>“</a:t>
              </a:r>
              <a:endParaRPr lang="en-US" sz="7985" dirty="0">
                <a:solidFill>
                  <a:srgbClr val="FF6D70"/>
                </a:solidFill>
                <a:latin typeface="+mn-lt"/>
              </a:endParaRPr>
            </a:p>
          </p:txBody>
        </p:sp>
        <p:sp>
          <p:nvSpPr>
            <p:cNvPr id="54" name="Oval 53">
              <a:extLst>
                <a:ext uri="{FF2B5EF4-FFF2-40B4-BE49-F238E27FC236}">
                  <a16:creationId xmlns:a16="http://schemas.microsoft.com/office/drawing/2014/main" id="{19318F0C-1A56-AF45-BE2B-422E35C90799}"/>
                </a:ext>
              </a:extLst>
            </p:cNvPr>
            <p:cNvSpPr/>
            <p:nvPr userDrawn="1"/>
          </p:nvSpPr>
          <p:spPr>
            <a:xfrm>
              <a:off x="5283035" y="1188441"/>
              <a:ext cx="1038225" cy="1038225"/>
            </a:xfrm>
            <a:prstGeom prst="ellipse">
              <a:avLst/>
            </a:prstGeom>
            <a:noFill/>
            <a:ln w="15875">
              <a:gradFill flip="none" rotWithShape="1">
                <a:gsLst>
                  <a:gs pos="0">
                    <a:schemeClr val="tx2"/>
                  </a:gs>
                  <a:gs pos="71000">
                    <a:schemeClr val="tx2">
                      <a:alpha val="2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a:ln w="12700">
                  <a:solidFill>
                    <a:srgbClr val="FF6D70"/>
                  </a:solidFill>
                </a:ln>
                <a:noFill/>
                <a:latin typeface="+mn-lt"/>
              </a:endParaRPr>
            </a:p>
          </p:txBody>
        </p:sp>
      </p:grpSp>
      <p:grpSp>
        <p:nvGrpSpPr>
          <p:cNvPr id="15" name="3 Xs">
            <a:extLst>
              <a:ext uri="{FF2B5EF4-FFF2-40B4-BE49-F238E27FC236}">
                <a16:creationId xmlns:a16="http://schemas.microsoft.com/office/drawing/2014/main" id="{4CCD28AC-8AFF-2944-B748-057D87E56457}"/>
              </a:ext>
            </a:extLst>
          </p:cNvPr>
          <p:cNvGrpSpPr/>
          <p:nvPr userDrawn="1"/>
        </p:nvGrpSpPr>
        <p:grpSpPr>
          <a:xfrm>
            <a:off x="2379910" y="825520"/>
            <a:ext cx="458901" cy="367661"/>
            <a:chOff x="7760677" y="469802"/>
            <a:chExt cx="660806" cy="529450"/>
          </a:xfrm>
          <a:solidFill>
            <a:schemeClr val="accent5">
              <a:alpha val="14979"/>
            </a:schemeClr>
          </a:solidFill>
        </p:grpSpPr>
        <p:sp>
          <p:nvSpPr>
            <p:cNvPr id="18" name="Freeform 17">
              <a:extLst>
                <a:ext uri="{FF2B5EF4-FFF2-40B4-BE49-F238E27FC236}">
                  <a16:creationId xmlns:a16="http://schemas.microsoft.com/office/drawing/2014/main" id="{0765D46E-D1AB-A845-834A-A2A13A5E6EBC}"/>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22" name="Freeform 21">
              <a:extLst>
                <a:ext uri="{FF2B5EF4-FFF2-40B4-BE49-F238E27FC236}">
                  <a16:creationId xmlns:a16="http://schemas.microsoft.com/office/drawing/2014/main" id="{B14CC47E-EE21-B241-A9A4-001787849C8B}"/>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23" name="Freeform 22">
              <a:extLst>
                <a:ext uri="{FF2B5EF4-FFF2-40B4-BE49-F238E27FC236}">
                  <a16:creationId xmlns:a16="http://schemas.microsoft.com/office/drawing/2014/main" id="{500D7890-93AC-6F48-91F3-35CF5600BD22}"/>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4" name="waves">
            <a:extLst>
              <a:ext uri="{FF2B5EF4-FFF2-40B4-BE49-F238E27FC236}">
                <a16:creationId xmlns:a16="http://schemas.microsoft.com/office/drawing/2014/main" id="{90AB9E35-83B3-FE47-AC3F-0AC4CC70C1D3}"/>
              </a:ext>
            </a:extLst>
          </p:cNvPr>
          <p:cNvGrpSpPr/>
          <p:nvPr userDrawn="1"/>
        </p:nvGrpSpPr>
        <p:grpSpPr>
          <a:xfrm rot="5400000">
            <a:off x="-2804257" y="2453977"/>
            <a:ext cx="7120597" cy="1687452"/>
            <a:chOff x="4253152" y="151074"/>
            <a:chExt cx="6930220" cy="2076330"/>
          </a:xfrm>
        </p:grpSpPr>
        <p:sp>
          <p:nvSpPr>
            <p:cNvPr id="35" name="coral">
              <a:extLst>
                <a:ext uri="{FF2B5EF4-FFF2-40B4-BE49-F238E27FC236}">
                  <a16:creationId xmlns:a16="http://schemas.microsoft.com/office/drawing/2014/main" id="{8303D869-46DF-1C40-BBF8-3AED65A75F88}"/>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36" name="green">
              <a:extLst>
                <a:ext uri="{FF2B5EF4-FFF2-40B4-BE49-F238E27FC236}">
                  <a16:creationId xmlns:a16="http://schemas.microsoft.com/office/drawing/2014/main" id="{E35618F7-242C-4148-A231-0E9002E01B7E}"/>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sp>
        <p:nvSpPr>
          <p:cNvPr id="7" name="Text Placeholder 6">
            <a:extLst>
              <a:ext uri="{FF2B5EF4-FFF2-40B4-BE49-F238E27FC236}">
                <a16:creationId xmlns:a16="http://schemas.microsoft.com/office/drawing/2014/main" id="{032F6AF5-ADD3-C840-9E09-A9BD7AC345C6}"/>
              </a:ext>
            </a:extLst>
          </p:cNvPr>
          <p:cNvSpPr>
            <a:spLocks noGrp="1"/>
          </p:cNvSpPr>
          <p:nvPr>
            <p:ph type="body" sz="quarter" idx="13" hasCustomPrompt="1"/>
          </p:nvPr>
        </p:nvSpPr>
        <p:spPr>
          <a:xfrm>
            <a:off x="508231" y="1498157"/>
            <a:ext cx="2330580" cy="1436420"/>
          </a:xfrm>
        </p:spPr>
        <p:txBody>
          <a:bodyPr>
            <a:noAutofit/>
          </a:bodyPr>
          <a:lstStyle>
            <a:lvl1pPr>
              <a:defRPr sz="5555" b="1">
                <a:solidFill>
                  <a:schemeClr val="accent5"/>
                </a:solidFill>
              </a:defRPr>
            </a:lvl1pPr>
          </a:lstStyle>
          <a:p>
            <a:pPr lvl="0"/>
            <a:r>
              <a:rPr lang="en-US" dirty="0"/>
              <a:t>Text</a:t>
            </a:r>
          </a:p>
        </p:txBody>
      </p:sp>
      <p:grpSp>
        <p:nvGrpSpPr>
          <p:cNvPr id="24" name="4 Xs">
            <a:extLst>
              <a:ext uri="{FF2B5EF4-FFF2-40B4-BE49-F238E27FC236}">
                <a16:creationId xmlns:a16="http://schemas.microsoft.com/office/drawing/2014/main" id="{6802F822-3F43-924E-A891-5C2A7581B635}"/>
              </a:ext>
            </a:extLst>
          </p:cNvPr>
          <p:cNvGrpSpPr/>
          <p:nvPr userDrawn="1"/>
        </p:nvGrpSpPr>
        <p:grpSpPr>
          <a:xfrm>
            <a:off x="967131" y="5478273"/>
            <a:ext cx="1555188" cy="854907"/>
            <a:chOff x="4350238" y="4169018"/>
            <a:chExt cx="1298751" cy="713976"/>
          </a:xfrm>
          <a:gradFill flip="none" rotWithShape="1">
            <a:gsLst>
              <a:gs pos="0">
                <a:schemeClr val="tx2">
                  <a:alpha val="24864"/>
                </a:schemeClr>
              </a:gs>
              <a:gs pos="97000">
                <a:schemeClr val="accent1">
                  <a:lumMod val="40000"/>
                  <a:lumOff val="60000"/>
                </a:schemeClr>
              </a:gs>
            </a:gsLst>
            <a:lin ang="0" scaled="1"/>
            <a:tileRect/>
          </a:gradFill>
        </p:grpSpPr>
        <p:sp>
          <p:nvSpPr>
            <p:cNvPr id="25" name="Graphic 37">
              <a:extLst>
                <a:ext uri="{FF2B5EF4-FFF2-40B4-BE49-F238E27FC236}">
                  <a16:creationId xmlns:a16="http://schemas.microsoft.com/office/drawing/2014/main" id="{A2FA5C95-C3E7-084A-A79A-4D0B1C28B2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6" name="Graphic 37">
              <a:extLst>
                <a:ext uri="{FF2B5EF4-FFF2-40B4-BE49-F238E27FC236}">
                  <a16:creationId xmlns:a16="http://schemas.microsoft.com/office/drawing/2014/main" id="{495940B5-4975-CD4D-BC1A-FF1F507A5FDA}"/>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7" name="Graphic 37">
              <a:extLst>
                <a:ext uri="{FF2B5EF4-FFF2-40B4-BE49-F238E27FC236}">
                  <a16:creationId xmlns:a16="http://schemas.microsoft.com/office/drawing/2014/main" id="{80CFB564-0850-A44A-BE98-D9AF257CA059}"/>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79EC1C8D-BC10-2645-B223-5B15D873064F}"/>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90077035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2.22222E-6 -0.03457 L -2.22222E-6 -1.85185E-6 " pathEditMode="relative" rAng="0" ptsTypes="AA">
                                      <p:cBhvr>
                                        <p:cTn id="9" dur="500" fill="hold"/>
                                        <p:tgtEl>
                                          <p:spTgt spid="5"/>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6" name="Group 5">
            <a:extLst>
              <a:ext uri="{FF2B5EF4-FFF2-40B4-BE49-F238E27FC236}">
                <a16:creationId xmlns:a16="http://schemas.microsoft.com/office/drawing/2014/main" id="{D76051AA-9C2D-8C43-AF09-1E6B18B30A5D}"/>
              </a:ext>
            </a:extLst>
          </p:cNvPr>
          <p:cNvGrpSpPr/>
          <p:nvPr userDrawn="1"/>
        </p:nvGrpSpPr>
        <p:grpSpPr>
          <a:xfrm>
            <a:off x="-733314" y="5049600"/>
            <a:ext cx="19125951" cy="1808401"/>
            <a:chOff x="7994577" y="7729729"/>
            <a:chExt cx="9753466" cy="2185140"/>
          </a:xfrm>
        </p:grpSpPr>
        <p:sp>
          <p:nvSpPr>
            <p:cNvPr id="7" name="Graphic 56">
              <a:extLst>
                <a:ext uri="{FF2B5EF4-FFF2-40B4-BE49-F238E27FC236}">
                  <a16:creationId xmlns:a16="http://schemas.microsoft.com/office/drawing/2014/main" id="{F3C9DC2F-356D-DD47-AD36-0F2AA59DC60F}"/>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8" name="Graphic 61">
              <a:extLst>
                <a:ext uri="{FF2B5EF4-FFF2-40B4-BE49-F238E27FC236}">
                  <a16:creationId xmlns:a16="http://schemas.microsoft.com/office/drawing/2014/main" id="{5D6171E4-29D4-DB41-B1FB-920130A16DAC}"/>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162010277"/>
      </p:ext>
    </p:extLst>
  </p:cSld>
  <p:clrMapOvr>
    <a:masterClrMapping/>
  </p:clrMapOvr>
  <p:transition spd="slow">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548"/>
            <a:ext cx="11176000" cy="1325563"/>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grpSp>
        <p:nvGrpSpPr>
          <p:cNvPr id="10" name="Group 9">
            <a:extLst>
              <a:ext uri="{FF2B5EF4-FFF2-40B4-BE49-F238E27FC236}">
                <a16:creationId xmlns:a16="http://schemas.microsoft.com/office/drawing/2014/main" id="{D25EE490-49CA-374A-9E36-16876715193F}"/>
              </a:ext>
            </a:extLst>
          </p:cNvPr>
          <p:cNvGrpSpPr/>
          <p:nvPr userDrawn="1"/>
        </p:nvGrpSpPr>
        <p:grpSpPr>
          <a:xfrm>
            <a:off x="8283136" y="5958226"/>
            <a:ext cx="4137369" cy="926879"/>
            <a:chOff x="7994577" y="7729729"/>
            <a:chExt cx="9753466" cy="2185140"/>
          </a:xfrm>
        </p:grpSpPr>
        <p:sp>
          <p:nvSpPr>
            <p:cNvPr id="11" name="Graphic 56">
              <a:extLst>
                <a:ext uri="{FF2B5EF4-FFF2-40B4-BE49-F238E27FC236}">
                  <a16:creationId xmlns:a16="http://schemas.microsoft.com/office/drawing/2014/main" id="{D4F387D8-2D74-1849-8404-55A7A059226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2" name="Graphic 61">
              <a:extLst>
                <a:ext uri="{FF2B5EF4-FFF2-40B4-BE49-F238E27FC236}">
                  <a16:creationId xmlns:a16="http://schemas.microsoft.com/office/drawing/2014/main" id="{5945B192-BCFF-CC45-ADBE-584BE3751059}"/>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581428635"/>
      </p:ext>
    </p:extLst>
  </p:cSld>
  <p:clrMapOvr>
    <a:masterClrMapping/>
  </p:clrMapOvr>
  <p:transition spd="slow">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ustomer Lis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28" name="Text Placeholder 5">
            <a:extLst>
              <a:ext uri="{FF2B5EF4-FFF2-40B4-BE49-F238E27FC236}">
                <a16:creationId xmlns:a16="http://schemas.microsoft.com/office/drawing/2014/main" id="{9A38BC63-F7F4-8C41-97BC-0140ADEE4173}"/>
              </a:ext>
            </a:extLst>
          </p:cNvPr>
          <p:cNvSpPr>
            <a:spLocks noGrp="1"/>
          </p:cNvSpPr>
          <p:nvPr>
            <p:ph type="body" sz="quarter" idx="10" hasCustomPrompt="1"/>
          </p:nvPr>
        </p:nvSpPr>
        <p:spPr>
          <a:xfrm>
            <a:off x="508002" y="1763849"/>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29" name="Text Placeholder 4">
            <a:extLst>
              <a:ext uri="{FF2B5EF4-FFF2-40B4-BE49-F238E27FC236}">
                <a16:creationId xmlns:a16="http://schemas.microsoft.com/office/drawing/2014/main" id="{6C13FDC1-9BBE-384A-AFA5-8C43E0454C50}"/>
              </a:ext>
            </a:extLst>
          </p:cNvPr>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tabLst>
                <a:tab pos="2259782" algn="l"/>
              </a:tabLst>
              <a:defRPr sz="2400" b="1" i="0">
                <a:solidFill>
                  <a:schemeClr val="tx1">
                    <a:lumMod val="50000"/>
                  </a:schemeClr>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30" name="Text Placeholder 5">
            <a:extLst>
              <a:ext uri="{FF2B5EF4-FFF2-40B4-BE49-F238E27FC236}">
                <a16:creationId xmlns:a16="http://schemas.microsoft.com/office/drawing/2014/main" id="{C9193154-DCD8-3A41-B762-E4083EF93906}"/>
              </a:ext>
            </a:extLst>
          </p:cNvPr>
          <p:cNvSpPr>
            <a:spLocks noGrp="1"/>
          </p:cNvSpPr>
          <p:nvPr>
            <p:ph type="body" sz="quarter" idx="12" hasCustomPrompt="1"/>
          </p:nvPr>
        </p:nvSpPr>
        <p:spPr>
          <a:xfrm>
            <a:off x="508002" y="2525791"/>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1" name="Text Placeholder 5">
            <a:extLst>
              <a:ext uri="{FF2B5EF4-FFF2-40B4-BE49-F238E27FC236}">
                <a16:creationId xmlns:a16="http://schemas.microsoft.com/office/drawing/2014/main" id="{95CC6ACE-F68C-3747-8A12-34C73CBFBD5C}"/>
              </a:ext>
            </a:extLst>
          </p:cNvPr>
          <p:cNvSpPr>
            <a:spLocks noGrp="1"/>
          </p:cNvSpPr>
          <p:nvPr>
            <p:ph type="body" sz="quarter" idx="13" hasCustomPrompt="1"/>
          </p:nvPr>
        </p:nvSpPr>
        <p:spPr>
          <a:xfrm>
            <a:off x="508002" y="326099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a:t>Click to edit master text styles</a:t>
            </a:r>
          </a:p>
        </p:txBody>
      </p:sp>
      <p:sp>
        <p:nvSpPr>
          <p:cNvPr id="32" name="Text Placeholder 5">
            <a:extLst>
              <a:ext uri="{FF2B5EF4-FFF2-40B4-BE49-F238E27FC236}">
                <a16:creationId xmlns:a16="http://schemas.microsoft.com/office/drawing/2014/main" id="{9F99C333-1B5F-D64E-8617-475CA692747D}"/>
              </a:ext>
            </a:extLst>
          </p:cNvPr>
          <p:cNvSpPr>
            <a:spLocks noGrp="1"/>
          </p:cNvSpPr>
          <p:nvPr>
            <p:ph type="body" sz="quarter" idx="14" hasCustomPrompt="1"/>
          </p:nvPr>
        </p:nvSpPr>
        <p:spPr>
          <a:xfrm>
            <a:off x="508002" y="399331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3" name="Text Placeholder 5">
            <a:extLst>
              <a:ext uri="{FF2B5EF4-FFF2-40B4-BE49-F238E27FC236}">
                <a16:creationId xmlns:a16="http://schemas.microsoft.com/office/drawing/2014/main" id="{DFCEFBDF-2EA7-5E42-B544-804D34ABD676}"/>
              </a:ext>
            </a:extLst>
          </p:cNvPr>
          <p:cNvSpPr>
            <a:spLocks noGrp="1"/>
          </p:cNvSpPr>
          <p:nvPr>
            <p:ph type="body" sz="quarter" idx="15" hasCustomPrompt="1"/>
          </p:nvPr>
        </p:nvSpPr>
        <p:spPr>
          <a:xfrm>
            <a:off x="508002" y="4725630"/>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sp>
        <p:nvSpPr>
          <p:cNvPr id="39" name="Text Placeholder 5">
            <a:extLst>
              <a:ext uri="{FF2B5EF4-FFF2-40B4-BE49-F238E27FC236}">
                <a16:creationId xmlns:a16="http://schemas.microsoft.com/office/drawing/2014/main" id="{49EF8C99-400D-3D4D-9A5F-D46AD22CBD6D}"/>
              </a:ext>
            </a:extLst>
          </p:cNvPr>
          <p:cNvSpPr>
            <a:spLocks noGrp="1"/>
          </p:cNvSpPr>
          <p:nvPr>
            <p:ph type="body" sz="quarter" idx="16" hasCustomPrompt="1"/>
          </p:nvPr>
        </p:nvSpPr>
        <p:spPr>
          <a:xfrm>
            <a:off x="508002" y="5468254"/>
            <a:ext cx="2447700" cy="203132"/>
          </a:xfrm>
          <a:prstGeom prst="rect">
            <a:avLst/>
          </a:prstGeom>
        </p:spPr>
        <p:txBody>
          <a:bodyPr wrap="square" tIns="0" bIns="0">
            <a:normAutofit/>
          </a:bodyPr>
          <a:lstStyle>
            <a:lvl1pPr marL="0" indent="0" algn="r">
              <a:buNone/>
              <a:defRPr sz="1400" b="0" i="0">
                <a:solidFill>
                  <a:schemeClr val="tx1"/>
                </a:solidFill>
                <a:latin typeface="+mn-lt"/>
                <a:ea typeface="Source Sans Pro" panose="020B0503030403020204" pitchFamily="34" charset="0"/>
                <a:cs typeface="Calibri" charset="0"/>
              </a:defRPr>
            </a:lvl1pPr>
            <a:lvl3pPr marL="1149249" indent="-234930">
              <a:buFont typeface="Arial" charset="0"/>
              <a:buChar char="•"/>
              <a:tabLst/>
              <a:defRPr/>
            </a:lvl3pPr>
          </a:lstStyle>
          <a:p>
            <a:pPr lvl="0"/>
            <a:r>
              <a:rPr lang="en-US" dirty="0"/>
              <a:t>Click to edit master text styles</a:t>
            </a:r>
          </a:p>
        </p:txBody>
      </p:sp>
      <p:cxnSp>
        <p:nvCxnSpPr>
          <p:cNvPr id="40" name="Straight Connector 39">
            <a:extLst>
              <a:ext uri="{FF2B5EF4-FFF2-40B4-BE49-F238E27FC236}">
                <a16:creationId xmlns:a16="http://schemas.microsoft.com/office/drawing/2014/main" id="{9125FB73-B304-CD4E-B058-E9C347C99C84}"/>
              </a:ext>
            </a:extLst>
          </p:cNvPr>
          <p:cNvCxnSpPr/>
          <p:nvPr userDrawn="1"/>
        </p:nvCxnSpPr>
        <p:spPr>
          <a:xfrm>
            <a:off x="508000" y="224720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0347020-7C4F-8D40-A3C7-CC2ABFB838A7}"/>
              </a:ext>
            </a:extLst>
          </p:cNvPr>
          <p:cNvCxnSpPr/>
          <p:nvPr userDrawn="1"/>
        </p:nvCxnSpPr>
        <p:spPr>
          <a:xfrm>
            <a:off x="508000" y="298848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BE1F1-A4B7-A541-911E-D68F740D0B47}"/>
              </a:ext>
            </a:extLst>
          </p:cNvPr>
          <p:cNvCxnSpPr/>
          <p:nvPr userDrawn="1"/>
        </p:nvCxnSpPr>
        <p:spPr>
          <a:xfrm>
            <a:off x="508000" y="3729776"/>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FF053B6-1D8E-B149-B710-EEAC6CBE7EBB}"/>
              </a:ext>
            </a:extLst>
          </p:cNvPr>
          <p:cNvCxnSpPr/>
          <p:nvPr userDrawn="1"/>
        </p:nvCxnSpPr>
        <p:spPr>
          <a:xfrm>
            <a:off x="508000" y="4471063"/>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DEE9869-3E71-764A-B14D-ACACEC6B741F}"/>
              </a:ext>
            </a:extLst>
          </p:cNvPr>
          <p:cNvCxnSpPr/>
          <p:nvPr userDrawn="1"/>
        </p:nvCxnSpPr>
        <p:spPr>
          <a:xfrm>
            <a:off x="508000" y="5212349"/>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BF3EBEB-33A5-0649-924B-94F0867923DC}"/>
              </a:ext>
            </a:extLst>
          </p:cNvPr>
          <p:cNvCxnSpPr/>
          <p:nvPr userDrawn="1"/>
        </p:nvCxnSpPr>
        <p:spPr>
          <a:xfrm>
            <a:off x="508000" y="5953637"/>
            <a:ext cx="10805547" cy="0"/>
          </a:xfrm>
          <a:prstGeom prst="line">
            <a:avLst/>
          </a:prstGeom>
          <a:ln w="12700">
            <a:gradFill flip="none" rotWithShape="1">
              <a:gsLst>
                <a:gs pos="0">
                  <a:srgbClr val="FF6D70"/>
                </a:gs>
                <a:gs pos="100000">
                  <a:srgbClr val="F79B3F"/>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962357"/>
      </p:ext>
    </p:extLst>
  </p:cSld>
  <p:clrMapOvr>
    <a:masterClrMapping/>
  </p:clrMapOvr>
  <p:transition spd="slow">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hree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9" name="Text Placeholder 5"/>
          <p:cNvSpPr>
            <a:spLocks noGrp="1"/>
          </p:cNvSpPr>
          <p:nvPr>
            <p:ph type="body" sz="quarter" idx="10" hasCustomPrompt="1"/>
          </p:nvPr>
        </p:nvSpPr>
        <p:spPr>
          <a:xfrm>
            <a:off x="50800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23" name="Text Placeholder 5">
            <a:extLst>
              <a:ext uri="{FF2B5EF4-FFF2-40B4-BE49-F238E27FC236}">
                <a16:creationId xmlns:a16="http://schemas.microsoft.com/office/drawing/2014/main" id="{782F6130-624B-C94C-9345-64A60B72D3C4}"/>
              </a:ext>
            </a:extLst>
          </p:cNvPr>
          <p:cNvSpPr>
            <a:spLocks noGrp="1"/>
          </p:cNvSpPr>
          <p:nvPr>
            <p:ph type="body" sz="quarter" idx="12" hasCustomPrompt="1"/>
          </p:nvPr>
        </p:nvSpPr>
        <p:spPr>
          <a:xfrm>
            <a:off x="4441373"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5" name="Text Placeholder 5">
            <a:extLst>
              <a:ext uri="{FF2B5EF4-FFF2-40B4-BE49-F238E27FC236}">
                <a16:creationId xmlns:a16="http://schemas.microsoft.com/office/drawing/2014/main" id="{59B4166D-BAA9-A841-87DF-92E32A96E696}"/>
              </a:ext>
            </a:extLst>
          </p:cNvPr>
          <p:cNvSpPr>
            <a:spLocks noGrp="1"/>
          </p:cNvSpPr>
          <p:nvPr>
            <p:ph type="body" sz="quarter" idx="14" hasCustomPrompt="1"/>
          </p:nvPr>
        </p:nvSpPr>
        <p:spPr>
          <a:xfrm>
            <a:off x="8370512" y="2125801"/>
            <a:ext cx="3309257"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Tree>
    <p:extLst>
      <p:ext uri="{BB962C8B-B14F-4D97-AF65-F5344CB8AC3E}">
        <p14:creationId xmlns:p14="http://schemas.microsoft.com/office/powerpoint/2010/main" val="927472831"/>
      </p:ext>
    </p:extLst>
  </p:cSld>
  <p:clrMapOvr>
    <a:masterClrMapping/>
  </p:clrMapOvr>
  <p:transition spd="slow">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Four categorie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15" name="Text Placeholder 5">
            <a:extLst>
              <a:ext uri="{FF2B5EF4-FFF2-40B4-BE49-F238E27FC236}">
                <a16:creationId xmlns:a16="http://schemas.microsoft.com/office/drawing/2014/main" id="{1DBEBA93-80C3-964D-AF2C-2D8C9BF3CFE4}"/>
              </a:ext>
            </a:extLst>
          </p:cNvPr>
          <p:cNvSpPr>
            <a:spLocks noGrp="1"/>
          </p:cNvSpPr>
          <p:nvPr>
            <p:ph type="body" sz="quarter" idx="22" hasCustomPrompt="1"/>
          </p:nvPr>
        </p:nvSpPr>
        <p:spPr>
          <a:xfrm>
            <a:off x="617935"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dirty="0"/>
              <a:t>Click to edit master text styles</a:t>
            </a:r>
          </a:p>
        </p:txBody>
      </p:sp>
      <p:sp>
        <p:nvSpPr>
          <p:cNvPr id="16" name="Text Placeholder 5">
            <a:extLst>
              <a:ext uri="{FF2B5EF4-FFF2-40B4-BE49-F238E27FC236}">
                <a16:creationId xmlns:a16="http://schemas.microsoft.com/office/drawing/2014/main" id="{4CD20D2B-0F2E-4043-9739-90A491FA2E51}"/>
              </a:ext>
            </a:extLst>
          </p:cNvPr>
          <p:cNvSpPr>
            <a:spLocks noGrp="1"/>
          </p:cNvSpPr>
          <p:nvPr>
            <p:ph type="body" sz="quarter" idx="23" hasCustomPrompt="1"/>
          </p:nvPr>
        </p:nvSpPr>
        <p:spPr>
          <a:xfrm>
            <a:off x="3484250"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17" name="Text Placeholder 5">
            <a:extLst>
              <a:ext uri="{FF2B5EF4-FFF2-40B4-BE49-F238E27FC236}">
                <a16:creationId xmlns:a16="http://schemas.microsoft.com/office/drawing/2014/main" id="{A9A47F79-BE94-BA47-A2CB-5FD3DBEA1A1B}"/>
              </a:ext>
            </a:extLst>
          </p:cNvPr>
          <p:cNvSpPr>
            <a:spLocks noGrp="1"/>
          </p:cNvSpPr>
          <p:nvPr>
            <p:ph type="body" sz="quarter" idx="24" hasCustomPrompt="1"/>
          </p:nvPr>
        </p:nvSpPr>
        <p:spPr>
          <a:xfrm>
            <a:off x="6350564"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
        <p:nvSpPr>
          <p:cNvPr id="20" name="Text Placeholder 5">
            <a:extLst>
              <a:ext uri="{FF2B5EF4-FFF2-40B4-BE49-F238E27FC236}">
                <a16:creationId xmlns:a16="http://schemas.microsoft.com/office/drawing/2014/main" id="{525435F3-50E5-4F4F-8287-EC37BD8C5FBA}"/>
              </a:ext>
            </a:extLst>
          </p:cNvPr>
          <p:cNvSpPr>
            <a:spLocks noGrp="1"/>
          </p:cNvSpPr>
          <p:nvPr>
            <p:ph type="body" sz="quarter" idx="25" hasCustomPrompt="1"/>
          </p:nvPr>
        </p:nvSpPr>
        <p:spPr>
          <a:xfrm>
            <a:off x="9216879" y="2125801"/>
            <a:ext cx="2345453" cy="3669675"/>
          </a:xfrm>
          <a:prstGeom prst="rect">
            <a:avLst/>
          </a:prstGeom>
          <a:noFill/>
          <a:ln w="34136" cap="flat">
            <a:gradFill flip="none" rotWithShape="1">
              <a:gsLst>
                <a:gs pos="0">
                  <a:srgbClr val="1F558C"/>
                </a:gs>
                <a:gs pos="32000">
                  <a:srgbClr val="422F82"/>
                </a:gs>
                <a:gs pos="66000">
                  <a:srgbClr val="FF6D70"/>
                </a:gs>
                <a:gs pos="100000">
                  <a:srgbClr val="F79B3F"/>
                </a:gs>
              </a:gsLst>
              <a:lin ang="16200000" scaled="1"/>
              <a:tileRect/>
            </a:gradFill>
            <a:prstDash val="solid"/>
            <a:round/>
          </a:ln>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lvl1pPr>
              <a:defRPr lang="en-US" sz="2400"/>
            </a:lvl1pPr>
          </a:lstStyle>
          <a:p>
            <a:pPr lvl="0" defTabSz="609546"/>
            <a:r>
              <a:rPr lang="en-US"/>
              <a:t>Click to edit master text styles</a:t>
            </a:r>
          </a:p>
        </p:txBody>
      </p:sp>
    </p:spTree>
    <p:extLst>
      <p:ext uri="{BB962C8B-B14F-4D97-AF65-F5344CB8AC3E}">
        <p14:creationId xmlns:p14="http://schemas.microsoft.com/office/powerpoint/2010/main" val="3438256406"/>
      </p:ext>
    </p:extLst>
  </p:cSld>
  <p:clrMapOvr>
    <a:masterClrMapping/>
  </p:clrMapOvr>
  <p:transition spd="slow">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Numbers + Three Stats">
    <p:bg>
      <p:bgPr>
        <a:solidFill>
          <a:schemeClr val="accent5"/>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87F0B90B-8C4B-46FD-9ABA-ABAC12327BE3}"/>
              </a:ext>
            </a:extLst>
          </p:cNvPr>
          <p:cNvSpPr/>
          <p:nvPr userDrawn="1"/>
        </p:nvSpPr>
        <p:spPr>
          <a:xfrm>
            <a:off x="829493" y="1631395"/>
            <a:ext cx="2746103" cy="2746103"/>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2" name="Oval 21">
            <a:extLst>
              <a:ext uri="{FF2B5EF4-FFF2-40B4-BE49-F238E27FC236}">
                <a16:creationId xmlns:a16="http://schemas.microsoft.com/office/drawing/2014/main" id="{A340EA5C-70F1-4C5E-B694-DEBBAA74234C}"/>
              </a:ext>
            </a:extLst>
          </p:cNvPr>
          <p:cNvSpPr/>
          <p:nvPr userDrawn="1"/>
        </p:nvSpPr>
        <p:spPr>
          <a:xfrm>
            <a:off x="4719321" y="1631395"/>
            <a:ext cx="2746103" cy="2746103"/>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3" name="Oval 22">
            <a:extLst>
              <a:ext uri="{FF2B5EF4-FFF2-40B4-BE49-F238E27FC236}">
                <a16:creationId xmlns:a16="http://schemas.microsoft.com/office/drawing/2014/main" id="{77C6CF2B-D27F-4BF4-937E-26BB630C822C}"/>
              </a:ext>
            </a:extLst>
          </p:cNvPr>
          <p:cNvSpPr/>
          <p:nvPr userDrawn="1"/>
        </p:nvSpPr>
        <p:spPr>
          <a:xfrm>
            <a:off x="8507550" y="1631395"/>
            <a:ext cx="2746103" cy="2746103"/>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9" name="Text Placeholder 5"/>
          <p:cNvSpPr>
            <a:spLocks noGrp="1"/>
          </p:cNvSpPr>
          <p:nvPr>
            <p:ph type="body" sz="quarter" idx="10" hasCustomPrompt="1"/>
          </p:nvPr>
        </p:nvSpPr>
        <p:spPr>
          <a:xfrm>
            <a:off x="617948"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10" name="Text Placeholder 5"/>
          <p:cNvSpPr>
            <a:spLocks noGrp="1"/>
          </p:cNvSpPr>
          <p:nvPr>
            <p:ph type="body" sz="quarter" idx="11" hasCustomPrompt="1"/>
          </p:nvPr>
        </p:nvSpPr>
        <p:spPr>
          <a:xfrm>
            <a:off x="76200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100%</a:t>
            </a:r>
          </a:p>
        </p:txBody>
      </p:sp>
      <p:sp>
        <p:nvSpPr>
          <p:cNvPr id="11" name="Text Placeholder 5"/>
          <p:cNvSpPr>
            <a:spLocks noGrp="1"/>
          </p:cNvSpPr>
          <p:nvPr>
            <p:ph type="body" sz="quarter" idx="12" hasCustomPrompt="1"/>
          </p:nvPr>
        </p:nvSpPr>
        <p:spPr>
          <a:xfrm>
            <a:off x="892959"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3" name="Text Placeholder 5"/>
          <p:cNvSpPr>
            <a:spLocks noGrp="1"/>
          </p:cNvSpPr>
          <p:nvPr>
            <p:ph type="body" sz="quarter" idx="13" hasCustomPrompt="1"/>
          </p:nvPr>
        </p:nvSpPr>
        <p:spPr>
          <a:xfrm>
            <a:off x="4507777" y="4576675"/>
            <a:ext cx="3169193" cy="992992"/>
          </a:xfrm>
        </p:spPr>
        <p:txBody>
          <a:bodyPr tIns="0" bIns="0">
            <a:no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4" name="Text Placeholder 5"/>
          <p:cNvSpPr>
            <a:spLocks noGrp="1"/>
          </p:cNvSpPr>
          <p:nvPr>
            <p:ph type="body" sz="quarter" idx="14" hasCustomPrompt="1"/>
          </p:nvPr>
        </p:nvSpPr>
        <p:spPr>
          <a:xfrm>
            <a:off x="4651830"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5" name="Text Placeholder 5"/>
          <p:cNvSpPr>
            <a:spLocks noGrp="1"/>
          </p:cNvSpPr>
          <p:nvPr>
            <p:ph type="body" sz="quarter" idx="15" hasCustomPrompt="1"/>
          </p:nvPr>
        </p:nvSpPr>
        <p:spPr>
          <a:xfrm>
            <a:off x="4782788"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7" name="Text Placeholder 5"/>
          <p:cNvSpPr>
            <a:spLocks noGrp="1"/>
          </p:cNvSpPr>
          <p:nvPr>
            <p:ph type="body" sz="quarter" idx="16" hasCustomPrompt="1"/>
          </p:nvPr>
        </p:nvSpPr>
        <p:spPr>
          <a:xfrm>
            <a:off x="8296005" y="4576675"/>
            <a:ext cx="316919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8" name="Text Placeholder 5"/>
          <p:cNvSpPr>
            <a:spLocks noGrp="1"/>
          </p:cNvSpPr>
          <p:nvPr>
            <p:ph type="body" sz="quarter" idx="17" hasCustomPrompt="1"/>
          </p:nvPr>
        </p:nvSpPr>
        <p:spPr>
          <a:xfrm>
            <a:off x="8440058" y="2394841"/>
            <a:ext cx="2881085" cy="711207"/>
          </a:xfrm>
        </p:spPr>
        <p:txBody>
          <a:bodyPr tIns="0" bIns="0">
            <a:normAutofit/>
          </a:bodyPr>
          <a:lstStyle>
            <a:lvl1pPr marL="0" indent="0" algn="ctr">
              <a:buFontTx/>
              <a:buNone/>
              <a:defRPr sz="5867" b="1">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9" name="Text Placeholder 5"/>
          <p:cNvSpPr>
            <a:spLocks noGrp="1"/>
          </p:cNvSpPr>
          <p:nvPr>
            <p:ph type="body" sz="quarter" idx="18" hasCustomPrompt="1"/>
          </p:nvPr>
        </p:nvSpPr>
        <p:spPr>
          <a:xfrm>
            <a:off x="8571016" y="3098523"/>
            <a:ext cx="2619168"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itle 1">
            <a:extLst>
              <a:ext uri="{FF2B5EF4-FFF2-40B4-BE49-F238E27FC236}">
                <a16:creationId xmlns:a16="http://schemas.microsoft.com/office/drawing/2014/main" id="{6FB7F2F0-3C2E-407D-A68F-D3D89252F21F}"/>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3961022366"/>
      </p:ext>
    </p:extLst>
  </p:cSld>
  <p:clrMapOvr>
    <a:masterClrMapping/>
  </p:clrMapOvr>
  <p:transition spd="slow">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Numbers + Four Stats">
    <p:bg>
      <p:bgPr>
        <a:solidFill>
          <a:schemeClr val="accent5"/>
        </a:soli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FAA74FCB-F0AE-436D-9371-588D5655D148}"/>
              </a:ext>
            </a:extLst>
          </p:cNvPr>
          <p:cNvSpPr/>
          <p:nvPr userDrawn="1"/>
        </p:nvSpPr>
        <p:spPr>
          <a:xfrm>
            <a:off x="623431" y="1863387"/>
            <a:ext cx="2339972" cy="2339972"/>
          </a:xfrm>
          <a:prstGeom prst="ellipse">
            <a:avLst/>
          </a:prstGeom>
          <a:solidFill>
            <a:srgbClr val="06273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5" name="Oval 34">
            <a:extLst>
              <a:ext uri="{FF2B5EF4-FFF2-40B4-BE49-F238E27FC236}">
                <a16:creationId xmlns:a16="http://schemas.microsoft.com/office/drawing/2014/main" id="{62BDEED5-F962-4D02-94C8-D36F92D39D1C}"/>
              </a:ext>
            </a:extLst>
          </p:cNvPr>
          <p:cNvSpPr/>
          <p:nvPr userDrawn="1"/>
        </p:nvSpPr>
        <p:spPr>
          <a:xfrm>
            <a:off x="3491821" y="1863387"/>
            <a:ext cx="2339972" cy="2339972"/>
          </a:xfrm>
          <a:prstGeom prst="ellipse">
            <a:avLst/>
          </a:prstGeom>
          <a:solidFill>
            <a:srgbClr val="422F8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36" name="Oval 35">
            <a:extLst>
              <a:ext uri="{FF2B5EF4-FFF2-40B4-BE49-F238E27FC236}">
                <a16:creationId xmlns:a16="http://schemas.microsoft.com/office/drawing/2014/main" id="{C29FC565-BFF2-4618-92A7-080870EC7C50}"/>
              </a:ext>
            </a:extLst>
          </p:cNvPr>
          <p:cNvSpPr/>
          <p:nvPr userDrawn="1"/>
        </p:nvSpPr>
        <p:spPr>
          <a:xfrm>
            <a:off x="6360210" y="1863387"/>
            <a:ext cx="2339972" cy="2339972"/>
          </a:xfrm>
          <a:prstGeom prst="ellipse">
            <a:avLst/>
          </a:prstGeom>
          <a:solidFill>
            <a:srgbClr val="FF6D7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37" name="Oval 36">
            <a:extLst>
              <a:ext uri="{FF2B5EF4-FFF2-40B4-BE49-F238E27FC236}">
                <a16:creationId xmlns:a16="http://schemas.microsoft.com/office/drawing/2014/main" id="{50017439-FA79-4AF1-8E3A-E4AEAD1D05ED}"/>
              </a:ext>
            </a:extLst>
          </p:cNvPr>
          <p:cNvSpPr/>
          <p:nvPr userDrawn="1"/>
        </p:nvSpPr>
        <p:spPr>
          <a:xfrm>
            <a:off x="9228601" y="1863387"/>
            <a:ext cx="2339972" cy="2339972"/>
          </a:xfrm>
          <a:prstGeom prst="ellipse">
            <a:avLst/>
          </a:prstGeom>
          <a:solidFill>
            <a:srgbClr val="F79B3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9" name="Text Placeholder 5"/>
          <p:cNvSpPr>
            <a:spLocks noGrp="1"/>
          </p:cNvSpPr>
          <p:nvPr>
            <p:ph type="body" sz="quarter" idx="10" hasCustomPrompt="1"/>
          </p:nvPr>
        </p:nvSpPr>
        <p:spPr>
          <a:xfrm>
            <a:off x="61794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10" name="Text Placeholder 5"/>
          <p:cNvSpPr>
            <a:spLocks noGrp="1"/>
          </p:cNvSpPr>
          <p:nvPr>
            <p:ph type="body" sz="quarter" idx="11" hasCustomPrompt="1"/>
          </p:nvPr>
        </p:nvSpPr>
        <p:spPr>
          <a:xfrm>
            <a:off x="837274"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11" name="Text Placeholder 5"/>
          <p:cNvSpPr>
            <a:spLocks noGrp="1"/>
          </p:cNvSpPr>
          <p:nvPr>
            <p:ph type="body" sz="quarter" idx="12" hasCustomPrompt="1"/>
          </p:nvPr>
        </p:nvSpPr>
        <p:spPr>
          <a:xfrm>
            <a:off x="837274"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dirty="0"/>
              <a:t>Click to edit master text styles</a:t>
            </a:r>
          </a:p>
        </p:txBody>
      </p:sp>
      <p:sp>
        <p:nvSpPr>
          <p:cNvPr id="3" name="Oval 2"/>
          <p:cNvSpPr/>
          <p:nvPr/>
        </p:nvSpPr>
        <p:spPr>
          <a:xfrm>
            <a:off x="62343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PT Sans Regular" charset="-52"/>
            </a:endParaRPr>
          </a:p>
        </p:txBody>
      </p:sp>
      <p:sp>
        <p:nvSpPr>
          <p:cNvPr id="21" name="Oval 20"/>
          <p:cNvSpPr/>
          <p:nvPr/>
        </p:nvSpPr>
        <p:spPr>
          <a:xfrm>
            <a:off x="9228601" y="1863387"/>
            <a:ext cx="2339972" cy="2339972"/>
          </a:xfrm>
          <a:prstGeom prst="ellipse">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solidFill>
                <a:schemeClr val="tx1"/>
              </a:solidFill>
              <a:latin typeface="PT Sans Regular" charset="-52"/>
            </a:endParaRPr>
          </a:p>
        </p:txBody>
      </p:sp>
      <p:sp>
        <p:nvSpPr>
          <p:cNvPr id="22" name="Text Placeholder 5"/>
          <p:cNvSpPr>
            <a:spLocks noGrp="1"/>
          </p:cNvSpPr>
          <p:nvPr>
            <p:ph type="body" sz="quarter" idx="13" hasCustomPrompt="1"/>
          </p:nvPr>
        </p:nvSpPr>
        <p:spPr>
          <a:xfrm>
            <a:off x="3486336"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3" name="Text Placeholder 5"/>
          <p:cNvSpPr>
            <a:spLocks noGrp="1"/>
          </p:cNvSpPr>
          <p:nvPr>
            <p:ph type="body" sz="quarter" idx="14" hasCustomPrompt="1"/>
          </p:nvPr>
        </p:nvSpPr>
        <p:spPr>
          <a:xfrm>
            <a:off x="3705662"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4" name="Text Placeholder 5"/>
          <p:cNvSpPr>
            <a:spLocks noGrp="1"/>
          </p:cNvSpPr>
          <p:nvPr>
            <p:ph type="body" sz="quarter" idx="15" hasCustomPrompt="1"/>
          </p:nvPr>
        </p:nvSpPr>
        <p:spPr>
          <a:xfrm>
            <a:off x="3705662"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5" name="Text Placeholder 5"/>
          <p:cNvSpPr>
            <a:spLocks noGrp="1"/>
          </p:cNvSpPr>
          <p:nvPr>
            <p:ph type="body" sz="quarter" idx="16" hasCustomPrompt="1"/>
          </p:nvPr>
        </p:nvSpPr>
        <p:spPr>
          <a:xfrm>
            <a:off x="6354727"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6" name="Text Placeholder 5"/>
          <p:cNvSpPr>
            <a:spLocks noGrp="1"/>
          </p:cNvSpPr>
          <p:nvPr>
            <p:ph type="body" sz="quarter" idx="17" hasCustomPrompt="1"/>
          </p:nvPr>
        </p:nvSpPr>
        <p:spPr>
          <a:xfrm>
            <a:off x="657405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27" name="Text Placeholder 5"/>
          <p:cNvSpPr>
            <a:spLocks noGrp="1"/>
          </p:cNvSpPr>
          <p:nvPr>
            <p:ph type="body" sz="quarter" idx="18" hasCustomPrompt="1"/>
          </p:nvPr>
        </p:nvSpPr>
        <p:spPr>
          <a:xfrm>
            <a:off x="657405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8" name="Text Placeholder 5"/>
          <p:cNvSpPr>
            <a:spLocks noGrp="1"/>
          </p:cNvSpPr>
          <p:nvPr>
            <p:ph type="body" sz="quarter" idx="19" hasCustomPrompt="1"/>
          </p:nvPr>
        </p:nvSpPr>
        <p:spPr>
          <a:xfrm>
            <a:off x="9223118" y="4485939"/>
            <a:ext cx="2345453" cy="992992"/>
          </a:xfrm>
        </p:spPr>
        <p:txBody>
          <a:bodyPr tIns="0" bIns="0">
            <a:normAutofit/>
          </a:bodyPr>
          <a:lstStyle>
            <a:lvl1pPr marL="0" indent="0" algn="ctr">
              <a:buFontTx/>
              <a:buNone/>
              <a:defRPr sz="2133">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29" name="Text Placeholder 5"/>
          <p:cNvSpPr>
            <a:spLocks noGrp="1"/>
          </p:cNvSpPr>
          <p:nvPr>
            <p:ph type="body" sz="quarter" idx="20" hasCustomPrompt="1"/>
          </p:nvPr>
        </p:nvSpPr>
        <p:spPr>
          <a:xfrm>
            <a:off x="9442443" y="2411397"/>
            <a:ext cx="1912284" cy="711207"/>
          </a:xfrm>
        </p:spPr>
        <p:txBody>
          <a:bodyPr tIns="0" bIns="0">
            <a:normAutofit/>
          </a:bodyPr>
          <a:lstStyle>
            <a:lvl1pPr marL="0" indent="0" algn="ctr">
              <a:buFontTx/>
              <a:buNone/>
              <a:defRPr sz="5333" b="1">
                <a:solidFill>
                  <a:schemeClr val="accent5"/>
                </a:solidFill>
                <a:latin typeface="+mj-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100%</a:t>
            </a:r>
          </a:p>
        </p:txBody>
      </p:sp>
      <p:sp>
        <p:nvSpPr>
          <p:cNvPr id="30" name="Text Placeholder 5"/>
          <p:cNvSpPr>
            <a:spLocks noGrp="1"/>
          </p:cNvSpPr>
          <p:nvPr>
            <p:ph type="body" sz="quarter" idx="21" hasCustomPrompt="1"/>
          </p:nvPr>
        </p:nvSpPr>
        <p:spPr>
          <a:xfrm>
            <a:off x="9442443" y="3115078"/>
            <a:ext cx="1912284" cy="493493"/>
          </a:xfrm>
        </p:spPr>
        <p:txBody>
          <a:bodyPr tIns="0" bIns="0">
            <a:normAutofit/>
          </a:bodyPr>
          <a:lstStyle>
            <a:lvl1pPr marL="0" indent="0" algn="ctr">
              <a:lnSpc>
                <a:spcPct val="80000"/>
              </a:lnSpc>
              <a:buFontTx/>
              <a:buNone/>
              <a:defRPr sz="1600" cap="none" baseline="0">
                <a:solidFill>
                  <a:schemeClr val="accent5"/>
                </a:solidFill>
                <a:latin typeface="+mn-lt"/>
                <a:ea typeface="Calibri" charset="0"/>
                <a:cs typeface="Calibri" charset="0"/>
              </a:defRPr>
            </a:lvl1pPr>
            <a:lvl2pPr marL="457159" indent="0" algn="ctr">
              <a:buFontTx/>
              <a:buNone/>
              <a:defRPr/>
            </a:lvl2pPr>
            <a:lvl3pPr marL="914318" indent="0" algn="ctr">
              <a:buFontTx/>
              <a:buNone/>
              <a:defRPr/>
            </a:lvl3pPr>
            <a:lvl4pPr marL="1371478" indent="0" algn="ctr">
              <a:buFontTx/>
              <a:buNone/>
              <a:defRPr/>
            </a:lvl4pPr>
            <a:lvl5pPr marL="1828637" indent="0" algn="ctr">
              <a:buFontTx/>
              <a:buNone/>
              <a:defRPr/>
            </a:lvl5pPr>
          </a:lstStyle>
          <a:p>
            <a:pPr lvl="0"/>
            <a:r>
              <a:rPr lang="en-US"/>
              <a:t>Click to edit master text styles</a:t>
            </a:r>
          </a:p>
        </p:txBody>
      </p:sp>
      <p:sp>
        <p:nvSpPr>
          <p:cNvPr id="38" name="Title 1">
            <a:extLst>
              <a:ext uri="{FF2B5EF4-FFF2-40B4-BE49-F238E27FC236}">
                <a16:creationId xmlns:a16="http://schemas.microsoft.com/office/drawing/2014/main" id="{6D65DBA5-EDB5-4A22-B0D6-1F0BAA36FFC1}"/>
              </a:ext>
            </a:extLst>
          </p:cNvPr>
          <p:cNvSpPr>
            <a:spLocks noGrp="1"/>
          </p:cNvSpPr>
          <p:nvPr>
            <p:ph type="title" hasCustomPrompt="1"/>
          </p:nvPr>
        </p:nvSpPr>
        <p:spPr>
          <a:xfrm>
            <a:off x="508000" y="405975"/>
            <a:ext cx="11176000" cy="1081616"/>
          </a:xfrm>
        </p:spPr>
        <p:txBody>
          <a:bodyPr>
            <a:norm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Tree>
    <p:extLst>
      <p:ext uri="{BB962C8B-B14F-4D97-AF65-F5344CB8AC3E}">
        <p14:creationId xmlns:p14="http://schemas.microsoft.com/office/powerpoint/2010/main" val="2532041695"/>
      </p:ext>
    </p:extLst>
  </p:cSld>
  <p:clrMapOvr>
    <a:masterClrMapping/>
  </p:clrMapOvr>
  <p:transition spd="slow">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1_Blank - white BG">
    <p:bg>
      <p:bgPr>
        <a:solidFill>
          <a:schemeClr val="accent5"/>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9344E7-5F1E-E84E-A4EC-E9959CDC9F8D}"/>
              </a:ext>
            </a:extLst>
          </p:cNvPr>
          <p:cNvGrpSpPr/>
          <p:nvPr userDrawn="1"/>
        </p:nvGrpSpPr>
        <p:grpSpPr>
          <a:xfrm>
            <a:off x="8283136" y="5958226"/>
            <a:ext cx="4137369" cy="926879"/>
            <a:chOff x="7994577" y="7729729"/>
            <a:chExt cx="9753466" cy="2185140"/>
          </a:xfrm>
        </p:grpSpPr>
        <p:sp>
          <p:nvSpPr>
            <p:cNvPr id="10" name="Graphic 56">
              <a:extLst>
                <a:ext uri="{FF2B5EF4-FFF2-40B4-BE49-F238E27FC236}">
                  <a16:creationId xmlns:a16="http://schemas.microsoft.com/office/drawing/2014/main" id="{7F88F3C6-8BDB-524F-9003-F642DBE46B1E}"/>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gradFill>
              <a:gsLst>
                <a:gs pos="100000">
                  <a:srgbClr val="5151A7">
                    <a:alpha val="14000"/>
                  </a:srgbClr>
                </a:gs>
                <a:gs pos="0">
                  <a:srgbClr val="5151A7">
                    <a:alpha val="3000"/>
                  </a:srgbClr>
                </a:gs>
              </a:gsLst>
              <a:lin ang="0" scaled="1"/>
            </a:gradFill>
            <a:ln w="20111" cap="flat">
              <a:noFill/>
              <a:prstDash val="solid"/>
              <a:miter/>
            </a:ln>
          </p:spPr>
          <p:txBody>
            <a:bodyPr rtlCol="0" anchor="ctr"/>
            <a:lstStyle/>
            <a:p>
              <a:endParaRPr lang="en-US" sz="1249"/>
            </a:p>
          </p:txBody>
        </p:sp>
        <p:sp>
          <p:nvSpPr>
            <p:cNvPr id="11" name="Graphic 61">
              <a:extLst>
                <a:ext uri="{FF2B5EF4-FFF2-40B4-BE49-F238E27FC236}">
                  <a16:creationId xmlns:a16="http://schemas.microsoft.com/office/drawing/2014/main" id="{539C6D13-0422-7B49-953D-C8FEA60E2F4D}"/>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gradFill flip="none" rotWithShape="1">
              <a:gsLst>
                <a:gs pos="100000">
                  <a:schemeClr val="accent3">
                    <a:alpha val="25000"/>
                  </a:schemeClr>
                </a:gs>
                <a:gs pos="0">
                  <a:schemeClr val="accent3">
                    <a:alpha val="2000"/>
                  </a:schemeClr>
                </a:gs>
              </a:gsLst>
              <a:lin ang="0" scaled="1"/>
              <a:tileRect/>
            </a:gra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627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on Right">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1800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mn-lt"/>
            </a:endParaRPr>
          </a:p>
        </p:txBody>
      </p:sp>
      <p:sp>
        <p:nvSpPr>
          <p:cNvPr id="4" name="Title 1"/>
          <p:cNvSpPr>
            <a:spLocks noGrp="1"/>
          </p:cNvSpPr>
          <p:nvPr>
            <p:ph type="title" hasCustomPrompt="1"/>
          </p:nvPr>
        </p:nvSpPr>
        <p:spPr>
          <a:xfrm>
            <a:off x="508000" y="2888193"/>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6867526" y="1809749"/>
            <a:ext cx="4816473" cy="3033816"/>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535504" indent="-150280">
              <a:tabLst/>
              <a:defRPr>
                <a:solidFill>
                  <a:schemeClr val="bg1"/>
                </a:solidFill>
              </a:defRPr>
            </a:lvl3pPr>
            <a:lvl4pPr marL="770447" indent="-234945">
              <a:tabLst/>
              <a:defRPr>
                <a:solidFill>
                  <a:schemeClr val="bg1"/>
                </a:solidFill>
              </a:defRPr>
            </a:lvl4pPr>
            <a:lvl5pPr marL="924961" indent="-237061">
              <a:tabLst>
                <a:tab pos="759865" algn="l"/>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7053951"/>
      </p:ext>
    </p:extLst>
  </p:cSld>
  <p:clrMapOvr>
    <a:masterClrMapping/>
  </p:clrMapOvr>
  <p:transition spd="slow">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on Left + imag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EEDB29-E958-45A1-AD1E-A08D8E5E7A25}"/>
              </a:ext>
            </a:extLst>
          </p:cNvPr>
          <p:cNvSpPr/>
          <p:nvPr userDrawn="1"/>
        </p:nvSpPr>
        <p:spPr>
          <a:xfrm>
            <a:off x="609600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3" name="Picture Placeholder 2">
            <a:extLst>
              <a:ext uri="{FF2B5EF4-FFF2-40B4-BE49-F238E27FC236}">
                <a16:creationId xmlns:a16="http://schemas.microsoft.com/office/drawing/2014/main" id="{511B2D52-B2E7-46FA-84A1-46BFDE8502CB}"/>
              </a:ext>
            </a:extLst>
          </p:cNvPr>
          <p:cNvSpPr>
            <a:spLocks noGrp="1"/>
          </p:cNvSpPr>
          <p:nvPr>
            <p:ph type="pic" sz="quarter" idx="11"/>
          </p:nvPr>
        </p:nvSpPr>
        <p:spPr>
          <a:xfrm>
            <a:off x="6096000" y="552"/>
            <a:ext cx="6096000" cy="6858000"/>
          </a:xfrm>
        </p:spPr>
        <p:txBody>
          <a:bodyPr/>
          <a:lstStyle>
            <a:lvl1pPr>
              <a:defRPr>
                <a:solidFill>
                  <a:schemeClr val="bg2"/>
                </a:solidFill>
              </a:defRPr>
            </a:lvl1pPr>
          </a:lstStyle>
          <a:p>
            <a:r>
              <a:rPr lang="en-US" dirty="0"/>
              <a:t>Click icon to add picture</a:t>
            </a:r>
          </a:p>
        </p:txBody>
      </p:sp>
      <p:sp>
        <p:nvSpPr>
          <p:cNvPr id="4" name="Title 1"/>
          <p:cNvSpPr>
            <a:spLocks noGrp="1"/>
          </p:cNvSpPr>
          <p:nvPr>
            <p:ph type="title" hasCustomPrompt="1"/>
          </p:nvPr>
        </p:nvSpPr>
        <p:spPr>
          <a:xfrm>
            <a:off x="508231" y="516468"/>
            <a:ext cx="5194197"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3E291A3-77DE-4F60-9161-87C3EF27258B}"/>
              </a:ext>
            </a:extLst>
          </p:cNvPr>
          <p:cNvSpPr>
            <a:spLocks noGrp="1"/>
          </p:cNvSpPr>
          <p:nvPr>
            <p:ph type="body" sz="quarter" idx="10"/>
          </p:nvPr>
        </p:nvSpPr>
        <p:spPr>
          <a:xfrm>
            <a:off x="508231" y="2133599"/>
            <a:ext cx="4959120" cy="3396868"/>
          </a:xfrm>
        </p:spPr>
        <p:txBody>
          <a:bodyPr/>
          <a:lstStyle>
            <a:lvl1pPr>
              <a:defRPr>
                <a:solidFill>
                  <a:schemeClr val="tx1"/>
                </a:solidFill>
              </a:defRPr>
            </a:lvl1pPr>
            <a:lvl2pPr marL="385224" indent="-372524">
              <a:buFont typeface="System Font Regular"/>
              <a:buChar char="→"/>
              <a:tabLst/>
              <a:defRPr>
                <a:solidFill>
                  <a:schemeClr val="tx1"/>
                </a:solidFill>
              </a:defRPr>
            </a:lvl2pPr>
            <a:lvl3pPr marL="535504" indent="-150280">
              <a:tabLst/>
              <a:defRPr>
                <a:solidFill>
                  <a:schemeClr val="tx1"/>
                </a:solidFill>
              </a:defRPr>
            </a:lvl3pPr>
            <a:lvl4pPr marL="687900" indent="-152396">
              <a:tabLst/>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4707844"/>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etric slide">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C78878F7-C61D-9B4D-AC6E-B64C1E5645C9}"/>
              </a:ext>
            </a:extLst>
          </p:cNvPr>
          <p:cNvSpPr>
            <a:spLocks noGrp="1"/>
          </p:cNvSpPr>
          <p:nvPr>
            <p:ph type="body" sz="quarter" idx="10" hasCustomPrompt="1"/>
          </p:nvPr>
        </p:nvSpPr>
        <p:spPr>
          <a:xfrm>
            <a:off x="1585952" y="1972671"/>
            <a:ext cx="5427349" cy="2913763"/>
          </a:xfrm>
        </p:spPr>
        <p:txBody>
          <a:bodyPr anchor="ctr" anchorCtr="0">
            <a:noAutofit/>
          </a:bodyPr>
          <a:lstStyle>
            <a:lvl1pPr algn="r">
              <a:defRPr sz="23887" b="1">
                <a:solidFill>
                  <a:schemeClr val="bg1"/>
                </a:solidFill>
                <a:latin typeface="+mn-lt"/>
              </a:defRPr>
            </a:lvl1pPr>
            <a:lvl2pPr algn="r">
              <a:defRPr/>
            </a:lvl2pPr>
            <a:lvl3pPr algn="r">
              <a:defRPr/>
            </a:lvl3pPr>
            <a:lvl4pPr algn="r">
              <a:defRPr/>
            </a:lvl4pPr>
            <a:lvl5pPr algn="r">
              <a:defRPr/>
            </a:lvl5pPr>
          </a:lstStyle>
          <a:p>
            <a:pPr lvl="0"/>
            <a:r>
              <a:rPr lang="en-US" dirty="0"/>
              <a:t>No.</a:t>
            </a:r>
          </a:p>
        </p:txBody>
      </p:sp>
      <p:sp>
        <p:nvSpPr>
          <p:cNvPr id="12" name="Text Placeholder 20">
            <a:extLst>
              <a:ext uri="{FF2B5EF4-FFF2-40B4-BE49-F238E27FC236}">
                <a16:creationId xmlns:a16="http://schemas.microsoft.com/office/drawing/2014/main" id="{583AD0BC-CFB2-4A42-9814-825483E625A7}"/>
              </a:ext>
            </a:extLst>
          </p:cNvPr>
          <p:cNvSpPr>
            <a:spLocks noGrp="1"/>
          </p:cNvSpPr>
          <p:nvPr>
            <p:ph type="body" sz="quarter" idx="11" hasCustomPrompt="1"/>
          </p:nvPr>
        </p:nvSpPr>
        <p:spPr>
          <a:xfrm>
            <a:off x="7053302" y="1972671"/>
            <a:ext cx="1791325" cy="2913763"/>
          </a:xfrm>
        </p:spPr>
        <p:txBody>
          <a:bodyPr anchor="ctr" anchorCtr="0">
            <a:noAutofit/>
          </a:bodyPr>
          <a:lstStyle>
            <a:lvl1pPr algn="l">
              <a:defRPr sz="11944" b="1">
                <a:ln w="28575">
                  <a:gradFill>
                    <a:gsLst>
                      <a:gs pos="0">
                        <a:srgbClr val="FF6D70"/>
                      </a:gs>
                      <a:gs pos="100000">
                        <a:srgbClr val="9D8BD5"/>
                      </a:gs>
                    </a:gsLst>
                    <a:lin ang="5400000" scaled="1"/>
                  </a:gradFill>
                </a:ln>
                <a:noFill/>
                <a:latin typeface="+mn-lt"/>
              </a:defRPr>
            </a:lvl1pPr>
            <a:lvl2pPr algn="r">
              <a:defRPr/>
            </a:lvl2pPr>
            <a:lvl3pPr algn="r">
              <a:defRPr/>
            </a:lvl3pPr>
            <a:lvl4pPr algn="r">
              <a:defRPr/>
            </a:lvl4pPr>
            <a:lvl5pPr algn="r">
              <a:defRPr/>
            </a:lvl5pPr>
          </a:lstStyle>
          <a:p>
            <a:pPr lvl="0"/>
            <a:r>
              <a:rPr lang="en-US" dirty="0"/>
              <a:t>it</a:t>
            </a:r>
          </a:p>
        </p:txBody>
      </p:sp>
      <p:grpSp>
        <p:nvGrpSpPr>
          <p:cNvPr id="20" name="waves">
            <a:extLst>
              <a:ext uri="{FF2B5EF4-FFF2-40B4-BE49-F238E27FC236}">
                <a16:creationId xmlns:a16="http://schemas.microsoft.com/office/drawing/2014/main" id="{091EAC0F-F6B6-804E-81C1-DC14DB0CFEB4}"/>
              </a:ext>
            </a:extLst>
          </p:cNvPr>
          <p:cNvGrpSpPr/>
          <p:nvPr userDrawn="1"/>
        </p:nvGrpSpPr>
        <p:grpSpPr>
          <a:xfrm>
            <a:off x="2563907" y="4742329"/>
            <a:ext cx="11311821" cy="2131131"/>
            <a:chOff x="4253152" y="151074"/>
            <a:chExt cx="6930220" cy="2076330"/>
          </a:xfrm>
        </p:grpSpPr>
        <p:sp>
          <p:nvSpPr>
            <p:cNvPr id="21" name="coral">
              <a:extLst>
                <a:ext uri="{FF2B5EF4-FFF2-40B4-BE49-F238E27FC236}">
                  <a16:creationId xmlns:a16="http://schemas.microsoft.com/office/drawing/2014/main" id="{5544ED0D-A342-F44A-8373-4300D2A9FC56}"/>
                </a:ext>
              </a:extLst>
            </p:cNvPr>
            <p:cNvSpPr/>
            <p:nvPr/>
          </p:nvSpPr>
          <p:spPr>
            <a:xfrm>
              <a:off x="4253152" y="170527"/>
              <a:ext cx="6930220" cy="2054844"/>
            </a:xfrm>
            <a:custGeom>
              <a:avLst/>
              <a:gdLst>
                <a:gd name="connsiteX0" fmla="*/ 0 w 6930220"/>
                <a:gd name="connsiteY0" fmla="*/ 2054845 h 2054844"/>
                <a:gd name="connsiteX1" fmla="*/ 141260 w 6930220"/>
                <a:gd name="connsiteY1" fmla="*/ 1516824 h 2054844"/>
                <a:gd name="connsiteX2" fmla="*/ 976579 w 6930220"/>
                <a:gd name="connsiteY2" fmla="*/ 743653 h 2054844"/>
                <a:gd name="connsiteX3" fmla="*/ 1332554 w 6930220"/>
                <a:gd name="connsiteY3" fmla="*/ 1164097 h 2054844"/>
                <a:gd name="connsiteX4" fmla="*/ 1412607 w 6930220"/>
                <a:gd name="connsiteY4" fmla="*/ 1320237 h 2054844"/>
                <a:gd name="connsiteX5" fmla="*/ 2051102 w 6930220"/>
                <a:gd name="connsiteY5" fmla="*/ 1323055 h 2054844"/>
                <a:gd name="connsiteX6" fmla="*/ 2260639 w 6930220"/>
                <a:gd name="connsiteY6" fmla="*/ 819837 h 2054844"/>
                <a:gd name="connsiteX7" fmla="*/ 2564814 w 6930220"/>
                <a:gd name="connsiteY7" fmla="*/ 140724 h 2054844"/>
                <a:gd name="connsiteX8" fmla="*/ 3421330 w 6930220"/>
                <a:gd name="connsiteY8" fmla="*/ 1039000 h 2054844"/>
                <a:gd name="connsiteX9" fmla="*/ 3461825 w 6930220"/>
                <a:gd name="connsiteY9" fmla="*/ 1143403 h 2054844"/>
                <a:gd name="connsiteX10" fmla="*/ 3994848 w 6930220"/>
                <a:gd name="connsiteY10" fmla="*/ 1611825 h 2054844"/>
                <a:gd name="connsiteX11" fmla="*/ 5307633 w 6930220"/>
                <a:gd name="connsiteY11" fmla="*/ 1422757 h 2054844"/>
                <a:gd name="connsiteX12" fmla="*/ 6092094 w 6930220"/>
                <a:gd name="connsiteY12" fmla="*/ 1181966 h 2054844"/>
                <a:gd name="connsiteX13" fmla="*/ 6232418 w 6930220"/>
                <a:gd name="connsiteY13" fmla="*/ 1008898 h 2054844"/>
                <a:gd name="connsiteX14" fmla="*/ 6577087 w 6930220"/>
                <a:gd name="connsiteY14" fmla="*/ 1162220 h 2054844"/>
                <a:gd name="connsiteX15" fmla="*/ 6578030 w 6930220"/>
                <a:gd name="connsiteY15" fmla="*/ 1165038 h 2054844"/>
                <a:gd name="connsiteX16" fmla="*/ 6630773 w 6930220"/>
                <a:gd name="connsiteY16" fmla="*/ 1260039 h 2054844"/>
                <a:gd name="connsiteX17" fmla="*/ 6928335 w 6930220"/>
                <a:gd name="connsiteY17" fmla="*/ 2050144 h 2054844"/>
                <a:gd name="connsiteX18" fmla="*/ 6930221 w 6930220"/>
                <a:gd name="connsiteY18" fmla="*/ 2054845 h 20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30220" h="2054844">
                  <a:moveTo>
                    <a:pt x="0" y="2054845"/>
                  </a:moveTo>
                  <a:cubicBezTo>
                    <a:pt x="37482" y="1873128"/>
                    <a:pt x="84636" y="1693530"/>
                    <a:pt x="141260" y="1516824"/>
                  </a:cubicBezTo>
                  <a:cubicBezTo>
                    <a:pt x="379517" y="772807"/>
                    <a:pt x="685582" y="566818"/>
                    <a:pt x="976579" y="743653"/>
                  </a:cubicBezTo>
                  <a:cubicBezTo>
                    <a:pt x="1099949" y="817954"/>
                    <a:pt x="1221433" y="961868"/>
                    <a:pt x="1332554" y="1164097"/>
                  </a:cubicBezTo>
                  <a:cubicBezTo>
                    <a:pt x="1359865" y="1213010"/>
                    <a:pt x="1386233" y="1264740"/>
                    <a:pt x="1412607" y="1320237"/>
                  </a:cubicBezTo>
                  <a:cubicBezTo>
                    <a:pt x="1625430" y="1774549"/>
                    <a:pt x="1834502" y="1654153"/>
                    <a:pt x="2051102" y="1323055"/>
                  </a:cubicBezTo>
                  <a:cubicBezTo>
                    <a:pt x="2141512" y="1183849"/>
                    <a:pt x="2186444" y="1015778"/>
                    <a:pt x="2260639" y="819837"/>
                  </a:cubicBezTo>
                  <a:cubicBezTo>
                    <a:pt x="2388190" y="483010"/>
                    <a:pt x="2412255" y="373054"/>
                    <a:pt x="2564814" y="140724"/>
                  </a:cubicBezTo>
                  <a:cubicBezTo>
                    <a:pt x="2861468" y="-308880"/>
                    <a:pt x="3189660" y="407856"/>
                    <a:pt x="3421330" y="1039000"/>
                  </a:cubicBezTo>
                  <a:cubicBezTo>
                    <a:pt x="3434514" y="1074745"/>
                    <a:pt x="3447698" y="1109548"/>
                    <a:pt x="3461825" y="1143403"/>
                  </a:cubicBezTo>
                  <a:cubicBezTo>
                    <a:pt x="3591779" y="1463210"/>
                    <a:pt x="3755643" y="1695534"/>
                    <a:pt x="3994848" y="1611825"/>
                  </a:cubicBezTo>
                  <a:cubicBezTo>
                    <a:pt x="4710568" y="1362566"/>
                    <a:pt x="4987439" y="888502"/>
                    <a:pt x="5307633" y="1422757"/>
                  </a:cubicBezTo>
                  <a:cubicBezTo>
                    <a:pt x="5577911" y="1875193"/>
                    <a:pt x="5831235" y="1516824"/>
                    <a:pt x="6092094" y="1181966"/>
                  </a:cubicBezTo>
                  <a:cubicBezTo>
                    <a:pt x="6138245" y="1121775"/>
                    <a:pt x="6185331" y="1062518"/>
                    <a:pt x="6232418" y="1008898"/>
                  </a:cubicBezTo>
                  <a:cubicBezTo>
                    <a:pt x="6344482" y="881918"/>
                    <a:pt x="6466909" y="982562"/>
                    <a:pt x="6577087" y="1162220"/>
                  </a:cubicBezTo>
                  <a:cubicBezTo>
                    <a:pt x="6577087" y="1163162"/>
                    <a:pt x="6578030" y="1164097"/>
                    <a:pt x="6578030" y="1165038"/>
                  </a:cubicBezTo>
                  <a:cubicBezTo>
                    <a:pt x="6597281" y="1195753"/>
                    <a:pt x="6614882" y="1227462"/>
                    <a:pt x="6630773" y="1260039"/>
                  </a:cubicBezTo>
                  <a:cubicBezTo>
                    <a:pt x="6791782" y="1567619"/>
                    <a:pt x="6915205" y="2001231"/>
                    <a:pt x="6928335" y="2050144"/>
                  </a:cubicBezTo>
                  <a:cubicBezTo>
                    <a:pt x="6929413" y="2051509"/>
                    <a:pt x="6930019" y="2053137"/>
                    <a:pt x="6930221" y="2054845"/>
                  </a:cubicBezTo>
                  <a:close/>
                </a:path>
              </a:pathLst>
            </a:custGeom>
            <a:solidFill>
              <a:schemeClr val="accent1">
                <a:lumMod val="60000"/>
                <a:lumOff val="40000"/>
                <a:alpha val="30000"/>
              </a:schemeClr>
            </a:solidFill>
            <a:ln w="6730" cap="flat">
              <a:noFill/>
              <a:prstDash val="solid"/>
              <a:miter/>
            </a:ln>
          </p:spPr>
          <p:txBody>
            <a:bodyPr rtlCol="0" anchor="ctr"/>
            <a:lstStyle/>
            <a:p>
              <a:endParaRPr lang="en-US" sz="4608"/>
            </a:p>
          </p:txBody>
        </p:sp>
        <p:sp>
          <p:nvSpPr>
            <p:cNvPr id="22" name="green">
              <a:extLst>
                <a:ext uri="{FF2B5EF4-FFF2-40B4-BE49-F238E27FC236}">
                  <a16:creationId xmlns:a16="http://schemas.microsoft.com/office/drawing/2014/main" id="{26981805-0618-3A4E-BF33-F709D396003A}"/>
                </a:ext>
              </a:extLst>
            </p:cNvPr>
            <p:cNvSpPr/>
            <p:nvPr/>
          </p:nvSpPr>
          <p:spPr>
            <a:xfrm>
              <a:off x="4565990" y="151074"/>
              <a:ext cx="6448948" cy="2076330"/>
            </a:xfrm>
            <a:custGeom>
              <a:avLst/>
              <a:gdLst>
                <a:gd name="connsiteX0" fmla="*/ 0 w 6448948"/>
                <a:gd name="connsiteY0" fmla="*/ 2076331 h 2076330"/>
                <a:gd name="connsiteX1" fmla="*/ 393449 w 6448948"/>
                <a:gd name="connsiteY1" fmla="*/ 1581540 h 2076330"/>
                <a:gd name="connsiteX2" fmla="*/ 774191 w 6448948"/>
                <a:gd name="connsiteY2" fmla="*/ 767543 h 2076330"/>
                <a:gd name="connsiteX3" fmla="*/ 1741668 w 6448948"/>
                <a:gd name="connsiteY3" fmla="*/ 634222 h 2076330"/>
                <a:gd name="connsiteX4" fmla="*/ 1848978 w 6448948"/>
                <a:gd name="connsiteY4" fmla="*/ 843588 h 2076330"/>
                <a:gd name="connsiteX5" fmla="*/ 2617994 w 6448948"/>
                <a:gd name="connsiteY5" fmla="*/ 1344950 h 2076330"/>
                <a:gd name="connsiteX6" fmla="*/ 2982264 w 6448948"/>
                <a:gd name="connsiteY6" fmla="*/ 1166560 h 2076330"/>
                <a:gd name="connsiteX7" fmla="*/ 3144162 w 6448948"/>
                <a:gd name="connsiteY7" fmla="*/ 1021977 h 2076330"/>
                <a:gd name="connsiteX8" fmla="*/ 3669388 w 6448948"/>
                <a:gd name="connsiteY8" fmla="*/ 299043 h 2076330"/>
                <a:gd name="connsiteX9" fmla="*/ 4647364 w 6448948"/>
                <a:gd name="connsiteY9" fmla="*/ 813547 h 2076330"/>
                <a:gd name="connsiteX10" fmla="*/ 4914688 w 6448948"/>
                <a:gd name="connsiteY10" fmla="*/ 1088637 h 2076330"/>
                <a:gd name="connsiteX11" fmla="*/ 5444618 w 6448948"/>
                <a:gd name="connsiteY11" fmla="*/ 741249 h 2076330"/>
                <a:gd name="connsiteX12" fmla="*/ 5995257 w 6448948"/>
                <a:gd name="connsiteY12" fmla="*/ 919638 h 2076330"/>
                <a:gd name="connsiteX13" fmla="*/ 6095972 w 6448948"/>
                <a:gd name="connsiteY13" fmla="*/ 1185343 h 2076330"/>
                <a:gd name="connsiteX14" fmla="*/ 6096914 w 6448948"/>
                <a:gd name="connsiteY14" fmla="*/ 1188156 h 2076330"/>
                <a:gd name="connsiteX15" fmla="*/ 6134569 w 6448948"/>
                <a:gd name="connsiteY15" fmla="*/ 1286742 h 2076330"/>
                <a:gd name="connsiteX16" fmla="*/ 6447065 w 6448948"/>
                <a:gd name="connsiteY16" fmla="*/ 2071639 h 2076330"/>
                <a:gd name="connsiteX17" fmla="*/ 6448949 w 6448948"/>
                <a:gd name="connsiteY17" fmla="*/ 2076331 h 207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48948" h="2076330">
                  <a:moveTo>
                    <a:pt x="0" y="2076331"/>
                  </a:moveTo>
                  <a:cubicBezTo>
                    <a:pt x="143069" y="1905453"/>
                    <a:pt x="274218" y="1740530"/>
                    <a:pt x="393449" y="1581540"/>
                  </a:cubicBezTo>
                  <a:cubicBezTo>
                    <a:pt x="623118" y="1277351"/>
                    <a:pt x="666893" y="1031905"/>
                    <a:pt x="774191" y="767543"/>
                  </a:cubicBezTo>
                  <a:cubicBezTo>
                    <a:pt x="1128817" y="-106179"/>
                    <a:pt x="1305864" y="-329064"/>
                    <a:pt x="1741668" y="634222"/>
                  </a:cubicBezTo>
                  <a:cubicBezTo>
                    <a:pt x="1773615" y="705892"/>
                    <a:pt x="1809439" y="775787"/>
                    <a:pt x="1848978" y="843588"/>
                  </a:cubicBezTo>
                  <a:cubicBezTo>
                    <a:pt x="2086179" y="1262327"/>
                    <a:pt x="2351618" y="1397526"/>
                    <a:pt x="2617994" y="1344950"/>
                  </a:cubicBezTo>
                  <a:cubicBezTo>
                    <a:pt x="2740352" y="1322414"/>
                    <a:pt x="2861783" y="1259508"/>
                    <a:pt x="2982264" y="1166560"/>
                  </a:cubicBezTo>
                  <a:cubicBezTo>
                    <a:pt x="3039395" y="1122013"/>
                    <a:pt x="3093485" y="1073714"/>
                    <a:pt x="3144162" y="1021977"/>
                  </a:cubicBezTo>
                  <a:cubicBezTo>
                    <a:pt x="3331472" y="834203"/>
                    <a:pt x="3509374" y="580706"/>
                    <a:pt x="3669388" y="299043"/>
                  </a:cubicBezTo>
                  <a:cubicBezTo>
                    <a:pt x="4086375" y="-435158"/>
                    <a:pt x="4382867" y="357253"/>
                    <a:pt x="4647364" y="813547"/>
                  </a:cubicBezTo>
                  <a:cubicBezTo>
                    <a:pt x="4738670" y="971274"/>
                    <a:pt x="4827151" y="1088637"/>
                    <a:pt x="4914688" y="1088637"/>
                  </a:cubicBezTo>
                  <a:cubicBezTo>
                    <a:pt x="5075644" y="1088637"/>
                    <a:pt x="5262012" y="880207"/>
                    <a:pt x="5444618" y="741249"/>
                  </a:cubicBezTo>
                  <a:cubicBezTo>
                    <a:pt x="5646991" y="587278"/>
                    <a:pt x="5844659" y="518737"/>
                    <a:pt x="5995257" y="919638"/>
                  </a:cubicBezTo>
                  <a:cubicBezTo>
                    <a:pt x="6031027" y="1013526"/>
                    <a:pt x="6063977" y="1102720"/>
                    <a:pt x="6095972" y="1185343"/>
                  </a:cubicBezTo>
                  <a:cubicBezTo>
                    <a:pt x="6095972" y="1186283"/>
                    <a:pt x="6096914" y="1187216"/>
                    <a:pt x="6096914" y="1188156"/>
                  </a:cubicBezTo>
                  <a:cubicBezTo>
                    <a:pt x="6110098" y="1221955"/>
                    <a:pt x="6122334" y="1254815"/>
                    <a:pt x="6134569" y="1286742"/>
                  </a:cubicBezTo>
                  <a:cubicBezTo>
                    <a:pt x="6319995" y="1768382"/>
                    <a:pt x="6431068" y="2034080"/>
                    <a:pt x="6447065" y="2071639"/>
                  </a:cubicBezTo>
                  <a:cubicBezTo>
                    <a:pt x="6448108" y="2073001"/>
                    <a:pt x="6448761" y="2074626"/>
                    <a:pt x="6448949" y="2076331"/>
                  </a:cubicBezTo>
                  <a:close/>
                </a:path>
              </a:pathLst>
            </a:custGeom>
            <a:solidFill>
              <a:schemeClr val="accent1">
                <a:lumMod val="75000"/>
                <a:alpha val="20000"/>
              </a:schemeClr>
            </a:solidFill>
            <a:ln w="6721" cap="flat">
              <a:noFill/>
              <a:prstDash val="solid"/>
              <a:miter/>
            </a:ln>
          </p:spPr>
          <p:txBody>
            <a:bodyPr rtlCol="0" anchor="ctr"/>
            <a:lstStyle/>
            <a:p>
              <a:endParaRPr lang="en-US" sz="4608" dirty="0"/>
            </a:p>
          </p:txBody>
        </p:sp>
      </p:grpSp>
      <p:grpSp>
        <p:nvGrpSpPr>
          <p:cNvPr id="26" name="4 Xs">
            <a:extLst>
              <a:ext uri="{FF2B5EF4-FFF2-40B4-BE49-F238E27FC236}">
                <a16:creationId xmlns:a16="http://schemas.microsoft.com/office/drawing/2014/main" id="{1358E378-241D-3842-B236-65979C75352D}"/>
              </a:ext>
            </a:extLst>
          </p:cNvPr>
          <p:cNvGrpSpPr/>
          <p:nvPr userDrawn="1"/>
        </p:nvGrpSpPr>
        <p:grpSpPr>
          <a:xfrm>
            <a:off x="789097" y="1490445"/>
            <a:ext cx="901927" cy="495801"/>
            <a:chOff x="4350238" y="4169018"/>
            <a:chExt cx="1298751" cy="713976"/>
          </a:xfrm>
          <a:gradFill flip="none" rotWithShape="1">
            <a:gsLst>
              <a:gs pos="0">
                <a:schemeClr val="accent5">
                  <a:alpha val="26093"/>
                </a:schemeClr>
              </a:gs>
              <a:gs pos="100000">
                <a:schemeClr val="accent5">
                  <a:alpha val="12000"/>
                </a:schemeClr>
              </a:gs>
            </a:gsLst>
            <a:lin ang="10800000" scaled="1"/>
            <a:tileRect/>
          </a:gradFill>
        </p:grpSpPr>
        <p:sp>
          <p:nvSpPr>
            <p:cNvPr id="27" name="Graphic 37">
              <a:extLst>
                <a:ext uri="{FF2B5EF4-FFF2-40B4-BE49-F238E27FC236}">
                  <a16:creationId xmlns:a16="http://schemas.microsoft.com/office/drawing/2014/main" id="{25499019-D540-AC48-991A-EEE6430913B0}"/>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1249"/>
            </a:p>
          </p:txBody>
        </p:sp>
        <p:sp>
          <p:nvSpPr>
            <p:cNvPr id="28" name="Graphic 37">
              <a:extLst>
                <a:ext uri="{FF2B5EF4-FFF2-40B4-BE49-F238E27FC236}">
                  <a16:creationId xmlns:a16="http://schemas.microsoft.com/office/drawing/2014/main" id="{BA90D49D-4926-9647-A40F-CFBD835106CB}"/>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1249"/>
            </a:p>
          </p:txBody>
        </p:sp>
        <p:sp>
          <p:nvSpPr>
            <p:cNvPr id="29" name="Graphic 37">
              <a:extLst>
                <a:ext uri="{FF2B5EF4-FFF2-40B4-BE49-F238E27FC236}">
                  <a16:creationId xmlns:a16="http://schemas.microsoft.com/office/drawing/2014/main" id="{5CABAE3F-7C43-2448-B94B-97BA83397202}"/>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endParaRPr lang="en-US" sz="1249"/>
            </a:p>
          </p:txBody>
        </p:sp>
        <p:sp>
          <p:nvSpPr>
            <p:cNvPr id="30" name="Graphic 37">
              <a:extLst>
                <a:ext uri="{FF2B5EF4-FFF2-40B4-BE49-F238E27FC236}">
                  <a16:creationId xmlns:a16="http://schemas.microsoft.com/office/drawing/2014/main" id="{CE2F4EC3-420D-9640-A4BA-545EC92398E3}"/>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1249"/>
            </a:p>
          </p:txBody>
        </p:sp>
      </p:grpSp>
      <p:grpSp>
        <p:nvGrpSpPr>
          <p:cNvPr id="31" name="3 Xs">
            <a:extLst>
              <a:ext uri="{FF2B5EF4-FFF2-40B4-BE49-F238E27FC236}">
                <a16:creationId xmlns:a16="http://schemas.microsoft.com/office/drawing/2014/main" id="{584A6B0E-0ADB-4247-A589-92B4D31146F3}"/>
              </a:ext>
            </a:extLst>
          </p:cNvPr>
          <p:cNvGrpSpPr/>
          <p:nvPr userDrawn="1"/>
        </p:nvGrpSpPr>
        <p:grpSpPr>
          <a:xfrm>
            <a:off x="4616307" y="5369819"/>
            <a:ext cx="458901" cy="367661"/>
            <a:chOff x="7760677" y="469802"/>
            <a:chExt cx="660806" cy="529450"/>
          </a:xfrm>
          <a:solidFill>
            <a:schemeClr val="accent5">
              <a:alpha val="18390"/>
            </a:schemeClr>
          </a:solidFill>
        </p:grpSpPr>
        <p:sp>
          <p:nvSpPr>
            <p:cNvPr id="32" name="Freeform 31">
              <a:extLst>
                <a:ext uri="{FF2B5EF4-FFF2-40B4-BE49-F238E27FC236}">
                  <a16:creationId xmlns:a16="http://schemas.microsoft.com/office/drawing/2014/main" id="{37D4356C-502F-A049-9467-20EB8B1BF056}"/>
                </a:ext>
              </a:extLst>
            </p:cNvPr>
            <p:cNvSpPr/>
            <p:nvPr/>
          </p:nvSpPr>
          <p:spPr>
            <a:xfrm>
              <a:off x="7760677" y="644557"/>
              <a:ext cx="90963" cy="91873"/>
            </a:xfrm>
            <a:custGeom>
              <a:avLst/>
              <a:gdLst>
                <a:gd name="connsiteX0" fmla="*/ 80468 w 90963"/>
                <a:gd name="connsiteY0" fmla="*/ 35309 h 91873"/>
                <a:gd name="connsiteX1" fmla="*/ 55978 w 90963"/>
                <a:gd name="connsiteY1" fmla="*/ 35309 h 91873"/>
                <a:gd name="connsiteX2" fmla="*/ 55978 w 90963"/>
                <a:gd name="connsiteY2" fmla="*/ 10574 h 91873"/>
                <a:gd name="connsiteX3" fmla="*/ 45456 w 90963"/>
                <a:gd name="connsiteY3" fmla="*/ 0 h 91873"/>
                <a:gd name="connsiteX4" fmla="*/ 34986 w 90963"/>
                <a:gd name="connsiteY4" fmla="*/ 10574 h 91873"/>
                <a:gd name="connsiteX5" fmla="*/ 34986 w 90963"/>
                <a:gd name="connsiteY5" fmla="*/ 35309 h 91873"/>
                <a:gd name="connsiteX6" fmla="*/ 10496 w 90963"/>
                <a:gd name="connsiteY6" fmla="*/ 35309 h 91873"/>
                <a:gd name="connsiteX7" fmla="*/ 0 w 90963"/>
                <a:gd name="connsiteY7" fmla="*/ 45910 h 91873"/>
                <a:gd name="connsiteX8" fmla="*/ 10496 w 90963"/>
                <a:gd name="connsiteY8" fmla="*/ 56511 h 91873"/>
                <a:gd name="connsiteX9" fmla="*/ 34986 w 90963"/>
                <a:gd name="connsiteY9" fmla="*/ 56511 h 91873"/>
                <a:gd name="connsiteX10" fmla="*/ 34986 w 90963"/>
                <a:gd name="connsiteY10" fmla="*/ 81246 h 91873"/>
                <a:gd name="connsiteX11" fmla="*/ 45456 w 90963"/>
                <a:gd name="connsiteY11" fmla="*/ 91873 h 91873"/>
                <a:gd name="connsiteX12" fmla="*/ 55978 w 90963"/>
                <a:gd name="connsiteY12" fmla="*/ 81299 h 91873"/>
                <a:gd name="connsiteX13" fmla="*/ 55978 w 90963"/>
                <a:gd name="connsiteY13" fmla="*/ 81246 h 91873"/>
                <a:gd name="connsiteX14" fmla="*/ 55978 w 90963"/>
                <a:gd name="connsiteY14" fmla="*/ 56511 h 91873"/>
                <a:gd name="connsiteX15" fmla="*/ 80468 w 90963"/>
                <a:gd name="connsiteY15" fmla="*/ 56511 h 91873"/>
                <a:gd name="connsiteX16" fmla="*/ 90963 w 90963"/>
                <a:gd name="connsiteY16" fmla="*/ 45910 h 91873"/>
                <a:gd name="connsiteX17" fmla="*/ 80468 w 90963"/>
                <a:gd name="connsiteY17" fmla="*/ 35309 h 9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63" h="91873">
                  <a:moveTo>
                    <a:pt x="80468" y="35309"/>
                  </a:moveTo>
                  <a:lnTo>
                    <a:pt x="55978" y="35309"/>
                  </a:lnTo>
                  <a:lnTo>
                    <a:pt x="55978" y="10574"/>
                  </a:lnTo>
                  <a:cubicBezTo>
                    <a:pt x="55963" y="4719"/>
                    <a:pt x="51252" y="-15"/>
                    <a:pt x="45456" y="0"/>
                  </a:cubicBezTo>
                  <a:cubicBezTo>
                    <a:pt x="39679" y="15"/>
                    <a:pt x="35000" y="4740"/>
                    <a:pt x="34986" y="10574"/>
                  </a:cubicBezTo>
                  <a:lnTo>
                    <a:pt x="34986" y="35309"/>
                  </a:lnTo>
                  <a:lnTo>
                    <a:pt x="10496" y="35309"/>
                  </a:lnTo>
                  <a:cubicBezTo>
                    <a:pt x="4699" y="35309"/>
                    <a:pt x="0" y="40055"/>
                    <a:pt x="0" y="45910"/>
                  </a:cubicBezTo>
                  <a:cubicBezTo>
                    <a:pt x="0" y="51765"/>
                    <a:pt x="4699" y="56511"/>
                    <a:pt x="10496" y="56511"/>
                  </a:cubicBezTo>
                  <a:lnTo>
                    <a:pt x="34986" y="56511"/>
                  </a:lnTo>
                  <a:lnTo>
                    <a:pt x="34986" y="81246"/>
                  </a:lnTo>
                  <a:cubicBezTo>
                    <a:pt x="34972" y="87101"/>
                    <a:pt x="39659" y="91859"/>
                    <a:pt x="45456" y="91873"/>
                  </a:cubicBezTo>
                  <a:cubicBezTo>
                    <a:pt x="51252" y="91888"/>
                    <a:pt x="55963" y="87154"/>
                    <a:pt x="55978" y="81299"/>
                  </a:cubicBezTo>
                  <a:cubicBezTo>
                    <a:pt x="55978" y="81281"/>
                    <a:pt x="55978" y="81264"/>
                    <a:pt x="55978" y="81246"/>
                  </a:cubicBezTo>
                  <a:lnTo>
                    <a:pt x="55978" y="56511"/>
                  </a:lnTo>
                  <a:lnTo>
                    <a:pt x="80468" y="56511"/>
                  </a:lnTo>
                  <a:cubicBezTo>
                    <a:pt x="86265" y="56511"/>
                    <a:pt x="90963" y="51765"/>
                    <a:pt x="90963" y="45910"/>
                  </a:cubicBezTo>
                  <a:cubicBezTo>
                    <a:pt x="90963" y="40055"/>
                    <a:pt x="86265" y="35309"/>
                    <a:pt x="80468" y="35309"/>
                  </a:cubicBezTo>
                  <a:close/>
                </a:path>
              </a:pathLst>
            </a:custGeom>
            <a:grpFill/>
            <a:ln w="6507" cap="flat">
              <a:noFill/>
              <a:prstDash val="solid"/>
              <a:miter/>
            </a:ln>
          </p:spPr>
          <p:txBody>
            <a:bodyPr rtlCol="0" anchor="ctr"/>
            <a:lstStyle/>
            <a:p>
              <a:endParaRPr lang="en-US" sz="1249"/>
            </a:p>
          </p:txBody>
        </p:sp>
        <p:sp>
          <p:nvSpPr>
            <p:cNvPr id="33" name="Freeform 32">
              <a:extLst>
                <a:ext uri="{FF2B5EF4-FFF2-40B4-BE49-F238E27FC236}">
                  <a16:creationId xmlns:a16="http://schemas.microsoft.com/office/drawing/2014/main" id="{AACE56EA-80F6-684D-8A32-63D4F9264C93}"/>
                </a:ext>
              </a:extLst>
            </p:cNvPr>
            <p:cNvSpPr/>
            <p:nvPr/>
          </p:nvSpPr>
          <p:spPr>
            <a:xfrm>
              <a:off x="7899202" y="830219"/>
              <a:ext cx="167288" cy="169033"/>
            </a:xfrm>
            <a:custGeom>
              <a:avLst/>
              <a:gdLst>
                <a:gd name="connsiteX0" fmla="*/ 147986 w 167288"/>
                <a:gd name="connsiteY0" fmla="*/ 65021 h 169033"/>
                <a:gd name="connsiteX1" fmla="*/ 102947 w 167288"/>
                <a:gd name="connsiteY1" fmla="*/ 65021 h 169033"/>
                <a:gd name="connsiteX2" fmla="*/ 102947 w 167288"/>
                <a:gd name="connsiteY2" fmla="*/ 19532 h 169033"/>
                <a:gd name="connsiteX3" fmla="*/ 83680 w 167288"/>
                <a:gd name="connsiteY3" fmla="*/ 0 h 169033"/>
                <a:gd name="connsiteX4" fmla="*/ 64342 w 167288"/>
                <a:gd name="connsiteY4" fmla="*/ 19459 h 169033"/>
                <a:gd name="connsiteX5" fmla="*/ 64342 w 167288"/>
                <a:gd name="connsiteY5" fmla="*/ 19532 h 169033"/>
                <a:gd name="connsiteX6" fmla="*/ 64342 w 167288"/>
                <a:gd name="connsiteY6" fmla="*/ 65021 h 169033"/>
                <a:gd name="connsiteX7" fmla="*/ 19303 w 167288"/>
                <a:gd name="connsiteY7" fmla="*/ 65021 h 169033"/>
                <a:gd name="connsiteX8" fmla="*/ 0 w 167288"/>
                <a:gd name="connsiteY8" fmla="*/ 84517 h 169033"/>
                <a:gd name="connsiteX9" fmla="*/ 0 w 167288"/>
                <a:gd name="connsiteY9" fmla="*/ 84517 h 169033"/>
                <a:gd name="connsiteX10" fmla="*/ 19303 w 167288"/>
                <a:gd name="connsiteY10" fmla="*/ 104013 h 169033"/>
                <a:gd name="connsiteX11" fmla="*/ 64342 w 167288"/>
                <a:gd name="connsiteY11" fmla="*/ 104013 h 169033"/>
                <a:gd name="connsiteX12" fmla="*/ 64342 w 167288"/>
                <a:gd name="connsiteY12" fmla="*/ 149502 h 169033"/>
                <a:gd name="connsiteX13" fmla="*/ 83609 w 167288"/>
                <a:gd name="connsiteY13" fmla="*/ 169033 h 169033"/>
                <a:gd name="connsiteX14" fmla="*/ 102947 w 167288"/>
                <a:gd name="connsiteY14" fmla="*/ 149574 h 169033"/>
                <a:gd name="connsiteX15" fmla="*/ 102947 w 167288"/>
                <a:gd name="connsiteY15" fmla="*/ 149502 h 169033"/>
                <a:gd name="connsiteX16" fmla="*/ 102947 w 167288"/>
                <a:gd name="connsiteY16" fmla="*/ 104013 h 169033"/>
                <a:gd name="connsiteX17" fmla="*/ 147986 w 167288"/>
                <a:gd name="connsiteY17" fmla="*/ 104013 h 169033"/>
                <a:gd name="connsiteX18" fmla="*/ 167289 w 167288"/>
                <a:gd name="connsiteY18" fmla="*/ 84517 h 169033"/>
                <a:gd name="connsiteX19" fmla="*/ 167289 w 167288"/>
                <a:gd name="connsiteY19" fmla="*/ 84517 h 169033"/>
                <a:gd name="connsiteX20" fmla="*/ 147986 w 167288"/>
                <a:gd name="connsiteY20" fmla="*/ 65021 h 16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288" h="169033">
                  <a:moveTo>
                    <a:pt x="147986" y="65021"/>
                  </a:moveTo>
                  <a:lnTo>
                    <a:pt x="102947" y="65021"/>
                  </a:lnTo>
                  <a:lnTo>
                    <a:pt x="102947" y="19532"/>
                  </a:lnTo>
                  <a:cubicBezTo>
                    <a:pt x="102967" y="8764"/>
                    <a:pt x="94341" y="20"/>
                    <a:pt x="83680" y="0"/>
                  </a:cubicBezTo>
                  <a:cubicBezTo>
                    <a:pt x="73020" y="-20"/>
                    <a:pt x="64362" y="8692"/>
                    <a:pt x="64342" y="19459"/>
                  </a:cubicBezTo>
                  <a:cubicBezTo>
                    <a:pt x="64342" y="19483"/>
                    <a:pt x="64342" y="19508"/>
                    <a:pt x="64342" y="19532"/>
                  </a:cubicBezTo>
                  <a:lnTo>
                    <a:pt x="64342" y="65021"/>
                  </a:lnTo>
                  <a:lnTo>
                    <a:pt x="19303" y="65021"/>
                  </a:lnTo>
                  <a:cubicBezTo>
                    <a:pt x="8655" y="65052"/>
                    <a:pt x="31" y="73762"/>
                    <a:pt x="0" y="84517"/>
                  </a:cubicBezTo>
                  <a:lnTo>
                    <a:pt x="0" y="84517"/>
                  </a:lnTo>
                  <a:cubicBezTo>
                    <a:pt x="31" y="95271"/>
                    <a:pt x="8655" y="103981"/>
                    <a:pt x="19303" y="104013"/>
                  </a:cubicBezTo>
                  <a:lnTo>
                    <a:pt x="64342" y="104013"/>
                  </a:lnTo>
                  <a:lnTo>
                    <a:pt x="64342" y="149502"/>
                  </a:lnTo>
                  <a:cubicBezTo>
                    <a:pt x="64322" y="160269"/>
                    <a:pt x="72948" y="169014"/>
                    <a:pt x="83609" y="169033"/>
                  </a:cubicBezTo>
                  <a:cubicBezTo>
                    <a:pt x="94269" y="169053"/>
                    <a:pt x="102927" y="160341"/>
                    <a:pt x="102947" y="149574"/>
                  </a:cubicBezTo>
                  <a:cubicBezTo>
                    <a:pt x="102948" y="149550"/>
                    <a:pt x="102948" y="149526"/>
                    <a:pt x="102947" y="149502"/>
                  </a:cubicBezTo>
                  <a:lnTo>
                    <a:pt x="102947" y="104013"/>
                  </a:lnTo>
                  <a:lnTo>
                    <a:pt x="147986" y="104013"/>
                  </a:lnTo>
                  <a:cubicBezTo>
                    <a:pt x="158634" y="103981"/>
                    <a:pt x="167258" y="95271"/>
                    <a:pt x="167289" y="84517"/>
                  </a:cubicBezTo>
                  <a:lnTo>
                    <a:pt x="167289" y="84517"/>
                  </a:lnTo>
                  <a:cubicBezTo>
                    <a:pt x="167258" y="73762"/>
                    <a:pt x="158634" y="65052"/>
                    <a:pt x="147986" y="65021"/>
                  </a:cubicBezTo>
                  <a:close/>
                </a:path>
              </a:pathLst>
            </a:custGeom>
            <a:grpFill/>
            <a:ln w="6507" cap="flat">
              <a:noFill/>
              <a:prstDash val="solid"/>
              <a:miter/>
            </a:ln>
          </p:spPr>
          <p:txBody>
            <a:bodyPr rtlCol="0" anchor="ctr"/>
            <a:lstStyle/>
            <a:p>
              <a:endParaRPr lang="en-US" sz="1249"/>
            </a:p>
          </p:txBody>
        </p:sp>
        <p:sp>
          <p:nvSpPr>
            <p:cNvPr id="34" name="Freeform 33">
              <a:extLst>
                <a:ext uri="{FF2B5EF4-FFF2-40B4-BE49-F238E27FC236}">
                  <a16:creationId xmlns:a16="http://schemas.microsoft.com/office/drawing/2014/main" id="{438DAFBE-235F-6D43-8CA9-6CDA93EC8307}"/>
                </a:ext>
              </a:extLst>
            </p:cNvPr>
            <p:cNvSpPr/>
            <p:nvPr/>
          </p:nvSpPr>
          <p:spPr>
            <a:xfrm>
              <a:off x="8114832" y="469802"/>
              <a:ext cx="306650" cy="309619"/>
            </a:xfrm>
            <a:custGeom>
              <a:avLst/>
              <a:gdLst>
                <a:gd name="connsiteX0" fmla="*/ 271231 w 306650"/>
                <a:gd name="connsiteY0" fmla="*/ 119085 h 309619"/>
                <a:gd name="connsiteX1" fmla="*/ 188697 w 306650"/>
                <a:gd name="connsiteY1" fmla="*/ 119085 h 309619"/>
                <a:gd name="connsiteX2" fmla="*/ 188697 w 306650"/>
                <a:gd name="connsiteY2" fmla="*/ 35725 h 309619"/>
                <a:gd name="connsiteX3" fmla="*/ 153325 w 306650"/>
                <a:gd name="connsiteY3" fmla="*/ 0 h 309619"/>
                <a:gd name="connsiteX4" fmla="*/ 117954 w 306650"/>
                <a:gd name="connsiteY4" fmla="*/ 35725 h 309619"/>
                <a:gd name="connsiteX5" fmla="*/ 117954 w 306650"/>
                <a:gd name="connsiteY5" fmla="*/ 119085 h 309619"/>
                <a:gd name="connsiteX6" fmla="*/ 35420 w 306650"/>
                <a:gd name="connsiteY6" fmla="*/ 119085 h 309619"/>
                <a:gd name="connsiteX7" fmla="*/ 0 w 306650"/>
                <a:gd name="connsiteY7" fmla="*/ 154762 h 309619"/>
                <a:gd name="connsiteX8" fmla="*/ 35324 w 306650"/>
                <a:gd name="connsiteY8" fmla="*/ 190535 h 309619"/>
                <a:gd name="connsiteX9" fmla="*/ 35420 w 306650"/>
                <a:gd name="connsiteY9" fmla="*/ 190535 h 309619"/>
                <a:gd name="connsiteX10" fmla="*/ 117954 w 306650"/>
                <a:gd name="connsiteY10" fmla="*/ 190535 h 309619"/>
                <a:gd name="connsiteX11" fmla="*/ 117954 w 306650"/>
                <a:gd name="connsiteY11" fmla="*/ 273895 h 309619"/>
                <a:gd name="connsiteX12" fmla="*/ 153325 w 306650"/>
                <a:gd name="connsiteY12" fmla="*/ 309620 h 309619"/>
                <a:gd name="connsiteX13" fmla="*/ 188697 w 306650"/>
                <a:gd name="connsiteY13" fmla="*/ 273895 h 309619"/>
                <a:gd name="connsiteX14" fmla="*/ 188697 w 306650"/>
                <a:gd name="connsiteY14" fmla="*/ 190535 h 309619"/>
                <a:gd name="connsiteX15" fmla="*/ 271231 w 306650"/>
                <a:gd name="connsiteY15" fmla="*/ 190535 h 309619"/>
                <a:gd name="connsiteX16" fmla="*/ 306651 w 306650"/>
                <a:gd name="connsiteY16" fmla="*/ 154859 h 309619"/>
                <a:gd name="connsiteX17" fmla="*/ 271327 w 306650"/>
                <a:gd name="connsiteY17" fmla="*/ 119085 h 309619"/>
                <a:gd name="connsiteX18" fmla="*/ 271231 w 306650"/>
                <a:gd name="connsiteY18" fmla="*/ 119085 h 30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6650" h="309619">
                  <a:moveTo>
                    <a:pt x="271231" y="119085"/>
                  </a:moveTo>
                  <a:lnTo>
                    <a:pt x="188697" y="119085"/>
                  </a:lnTo>
                  <a:lnTo>
                    <a:pt x="188697" y="35725"/>
                  </a:lnTo>
                  <a:cubicBezTo>
                    <a:pt x="188697" y="15995"/>
                    <a:pt x="172861" y="0"/>
                    <a:pt x="153325" y="0"/>
                  </a:cubicBezTo>
                  <a:cubicBezTo>
                    <a:pt x="133790" y="0"/>
                    <a:pt x="117954" y="15995"/>
                    <a:pt x="117954" y="35725"/>
                  </a:cubicBezTo>
                  <a:lnTo>
                    <a:pt x="117954" y="119085"/>
                  </a:lnTo>
                  <a:lnTo>
                    <a:pt x="35420" y="119085"/>
                  </a:lnTo>
                  <a:cubicBezTo>
                    <a:pt x="15885" y="119058"/>
                    <a:pt x="27" y="135031"/>
                    <a:pt x="0" y="154762"/>
                  </a:cubicBezTo>
                  <a:cubicBezTo>
                    <a:pt x="-26" y="174493"/>
                    <a:pt x="15788" y="190509"/>
                    <a:pt x="35324" y="190535"/>
                  </a:cubicBezTo>
                  <a:cubicBezTo>
                    <a:pt x="35356" y="190536"/>
                    <a:pt x="35388" y="190536"/>
                    <a:pt x="35420" y="190535"/>
                  </a:cubicBezTo>
                  <a:lnTo>
                    <a:pt x="117954" y="190535"/>
                  </a:lnTo>
                  <a:lnTo>
                    <a:pt x="117954" y="273895"/>
                  </a:lnTo>
                  <a:cubicBezTo>
                    <a:pt x="117954" y="293625"/>
                    <a:pt x="133790" y="309620"/>
                    <a:pt x="153325" y="309620"/>
                  </a:cubicBezTo>
                  <a:cubicBezTo>
                    <a:pt x="172861" y="309620"/>
                    <a:pt x="188697" y="293625"/>
                    <a:pt x="188697" y="273895"/>
                  </a:cubicBezTo>
                  <a:lnTo>
                    <a:pt x="188697" y="190535"/>
                  </a:lnTo>
                  <a:lnTo>
                    <a:pt x="271231" y="190535"/>
                  </a:lnTo>
                  <a:cubicBezTo>
                    <a:pt x="290766" y="190563"/>
                    <a:pt x="306625" y="174590"/>
                    <a:pt x="306651" y="154859"/>
                  </a:cubicBezTo>
                  <a:cubicBezTo>
                    <a:pt x="306677" y="135128"/>
                    <a:pt x="290862" y="119112"/>
                    <a:pt x="271327" y="119085"/>
                  </a:cubicBezTo>
                  <a:cubicBezTo>
                    <a:pt x="271295" y="119085"/>
                    <a:pt x="271263" y="119085"/>
                    <a:pt x="271231" y="119085"/>
                  </a:cubicBezTo>
                  <a:close/>
                </a:path>
              </a:pathLst>
            </a:custGeom>
            <a:grpFill/>
            <a:ln w="6507" cap="flat">
              <a:noFill/>
              <a:prstDash val="solid"/>
              <a:miter/>
            </a:ln>
          </p:spPr>
          <p:txBody>
            <a:bodyPr rtlCol="0" anchor="ctr"/>
            <a:lstStyle/>
            <a:p>
              <a:endParaRPr lang="en-US" sz="1249"/>
            </a:p>
          </p:txBody>
        </p:sp>
      </p:grpSp>
      <p:grpSp>
        <p:nvGrpSpPr>
          <p:cNvPr id="35" name="4 Xs">
            <a:extLst>
              <a:ext uri="{FF2B5EF4-FFF2-40B4-BE49-F238E27FC236}">
                <a16:creationId xmlns:a16="http://schemas.microsoft.com/office/drawing/2014/main" id="{C9433B2F-65AA-7745-8598-07F6E8B8A457}"/>
              </a:ext>
            </a:extLst>
          </p:cNvPr>
          <p:cNvGrpSpPr/>
          <p:nvPr userDrawn="1"/>
        </p:nvGrpSpPr>
        <p:grpSpPr>
          <a:xfrm rot="16200000" flipH="1">
            <a:off x="9814935" y="5396784"/>
            <a:ext cx="1051685" cy="920753"/>
            <a:chOff x="4542959" y="3914711"/>
            <a:chExt cx="1106030" cy="968283"/>
          </a:xfrm>
          <a:gradFill flip="none" rotWithShape="1">
            <a:gsLst>
              <a:gs pos="100000">
                <a:schemeClr val="accent5">
                  <a:alpha val="30000"/>
                </a:schemeClr>
              </a:gs>
              <a:gs pos="0">
                <a:schemeClr val="accent5">
                  <a:alpha val="8000"/>
                </a:schemeClr>
              </a:gs>
            </a:gsLst>
            <a:lin ang="0" scaled="0"/>
            <a:tileRect/>
          </a:gradFill>
        </p:grpSpPr>
        <p:sp>
          <p:nvSpPr>
            <p:cNvPr id="36" name="Graphic 37">
              <a:extLst>
                <a:ext uri="{FF2B5EF4-FFF2-40B4-BE49-F238E27FC236}">
                  <a16:creationId xmlns:a16="http://schemas.microsoft.com/office/drawing/2014/main" id="{927AEED1-09AB-B946-B820-82F84E69D86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endParaRPr lang="en-US" sz="4608"/>
            </a:p>
          </p:txBody>
        </p:sp>
        <p:sp>
          <p:nvSpPr>
            <p:cNvPr id="37" name="Graphic 37">
              <a:extLst>
                <a:ext uri="{FF2B5EF4-FFF2-40B4-BE49-F238E27FC236}">
                  <a16:creationId xmlns:a16="http://schemas.microsoft.com/office/drawing/2014/main" id="{4036E0A0-E5CC-C442-B123-B2AC6F785FA5}"/>
                </a:ext>
              </a:extLst>
            </p:cNvPr>
            <p:cNvSpPr/>
            <p:nvPr/>
          </p:nvSpPr>
          <p:spPr>
            <a:xfrm>
              <a:off x="4542959" y="4094819"/>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endParaRPr lang="en-US" sz="4608"/>
            </a:p>
          </p:txBody>
        </p:sp>
        <p:sp>
          <p:nvSpPr>
            <p:cNvPr id="38" name="Graphic 37">
              <a:extLst>
                <a:ext uri="{FF2B5EF4-FFF2-40B4-BE49-F238E27FC236}">
                  <a16:creationId xmlns:a16="http://schemas.microsoft.com/office/drawing/2014/main" id="{5F15B243-D83B-244C-8E5F-ED312345BC03}"/>
                </a:ext>
              </a:extLst>
            </p:cNvPr>
            <p:cNvSpPr/>
            <p:nvPr/>
          </p:nvSpPr>
          <p:spPr>
            <a:xfrm>
              <a:off x="4878778" y="3914711"/>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endParaRPr lang="en-US" sz="4608"/>
            </a:p>
          </p:txBody>
        </p:sp>
      </p:grpSp>
    </p:spTree>
    <p:extLst>
      <p:ext uri="{BB962C8B-B14F-4D97-AF65-F5344CB8AC3E}">
        <p14:creationId xmlns:p14="http://schemas.microsoft.com/office/powerpoint/2010/main" val="2019017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42" presetClass="path" presetSubtype="0" accel="50000" decel="50000" fill="hold" grpId="0" nodeType="withEffect">
                                  <p:stCondLst>
                                    <p:cond delay="0"/>
                                  </p:stCondLst>
                                  <p:childTnLst>
                                    <p:animMotion origin="layout" path="M 2.22222E-6 0 L 2.22222E-6 0.05185 " pathEditMode="relative" rAng="0" ptsTypes="AA">
                                      <p:cBhvr>
                                        <p:cTn id="9" dur="500" fill="hold"/>
                                        <p:tgtEl>
                                          <p:spTgt spid="11">
                                            <p:txEl>
                                              <p:pRg st="0" end="0"/>
                                            </p:txEl>
                                          </p:spTgt>
                                        </p:tgtEl>
                                        <p:attrNameLst>
                                          <p:attrName>ppt_x</p:attrName>
                                          <p:attrName>ppt_y</p:attrName>
                                        </p:attrNameLst>
                                      </p:cBhvr>
                                      <p:rCtr x="0" y="2593"/>
                                    </p:animMotion>
                                  </p:childTnLst>
                                </p:cTn>
                              </p:par>
                              <p:par>
                                <p:cTn id="10" presetID="10" presetClass="entr" presetSubtype="0" fill="hold" grpId="1" nodeType="with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par>
                                <p:cTn id="13" presetID="42" presetClass="path" presetSubtype="0" accel="50000" decel="50000" fill="hold" grpId="0" nodeType="withEffect">
                                  <p:stCondLst>
                                    <p:cond delay="0"/>
                                  </p:stCondLst>
                                  <p:childTnLst>
                                    <p:animMotion origin="layout" path="M -1.94444E-6 0 L -1.94444E-6 0.05185 " pathEditMode="relative" rAng="0" ptsTypes="AA">
                                      <p:cBhvr>
                                        <p:cTn id="14" dur="500" fill="hold"/>
                                        <p:tgtEl>
                                          <p:spTgt spid="12">
                                            <p:txEl>
                                              <p:pRg st="0" end="0"/>
                                            </p:txEl>
                                          </p:spTgt>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42" presetClass="path" presetSubtype="0" accel="50000" decel="50000" fill="hold" nodeType="withEffect">
                  <p:stCondLst>
                    <p:cond delay="0"/>
                  </p:stCondLst>
                  <p:childTnLst>
                    <p:animMotion origin="layout" path="M 2.22222E-6 0 L 2.22222E-6 0.05185 " pathEditMode="relative" rAng="0" ptsTypes="AA">
                      <p:cBhvr>
                        <p:cTn dur="500" fill="hold"/>
                        <p:tgtEl>
                          <p:spTgt spid="11"/>
                        </p:tgtEl>
                        <p:attrNameLst>
                          <p:attrName>ppt_x</p:attrName>
                          <p:attrName>ppt_y</p:attrName>
                        </p:attrNameLst>
                      </p:cBhvr>
                      <p:rCtr x="0" y="2593"/>
                    </p:animMotion>
                  </p:childTnLst>
                </p:cTn>
              </p:par>
            </p:tnLst>
          </p:tmpl>
        </p:tmplLst>
      </p:bldP>
      <p:bldP spid="11" grpId="1"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build="p">
        <p:tmplLst>
          <p:tmpl lvl="1">
            <p:tnLst>
              <p:par>
                <p:cTn presetID="42" presetClass="path" presetSubtype="0" accel="50000" decel="50000" fill="hold" nodeType="withEffect">
                  <p:stCondLst>
                    <p:cond delay="0"/>
                  </p:stCondLst>
                  <p:childTnLst>
                    <p:animMotion origin="layout" path="M -1.94444E-6 0 L -1.94444E-6 0.05185 " pathEditMode="relative" rAng="0" ptsTypes="AA">
                      <p:cBhvr>
                        <p:cTn dur="500" fill="hold"/>
                        <p:tgtEl>
                          <p:spTgt spid="12"/>
                        </p:tgtEl>
                        <p:attrNameLst>
                          <p:attrName>ppt_x</p:attrName>
                          <p:attrName>ppt_y</p:attrName>
                        </p:attrNameLst>
                      </p:cBhvr>
                      <p:rCtr x="0" y="2593"/>
                    </p:animMotion>
                  </p:childTnLst>
                </p:cTn>
              </p:par>
            </p:tnLst>
          </p:tmpl>
        </p:tmplLst>
      </p:bldP>
      <p:bldP spid="12" grpId="1"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on Left">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99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797549" y="2888193"/>
            <a:ext cx="4886223"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508230" y="1571625"/>
            <a:ext cx="4822913" cy="3648075"/>
          </a:xfrm>
        </p:spPr>
        <p:txBody>
          <a:bodyPr/>
          <a:lstStyle>
            <a:lvl1pPr>
              <a:defRPr>
                <a:solidFill>
                  <a:schemeClr val="bg1"/>
                </a:solidFill>
              </a:defRPr>
            </a:lvl1pPr>
            <a:lvl2pPr marL="385224" indent="-372524">
              <a:buFont typeface="System Font Regular"/>
              <a:buChar char="→"/>
              <a:tabLst/>
              <a:defRPr>
                <a:solidFill>
                  <a:schemeClr val="bg1"/>
                </a:solidFill>
              </a:defRPr>
            </a:lvl2pPr>
            <a:lvl3pPr marL="618051" indent="-232828">
              <a:tabLst/>
              <a:defRPr>
                <a:solidFill>
                  <a:schemeClr val="bg1"/>
                </a:solidFill>
              </a:defRPr>
            </a:lvl3pPr>
            <a:lvl4pPr marL="840296" indent="-222245">
              <a:tabLst/>
              <a:defRPr>
                <a:solidFill>
                  <a:schemeClr val="bg1"/>
                </a:solidFill>
              </a:defRPr>
            </a:lvl4pPr>
            <a:lvl5pPr marL="992693" indent="-152396">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6559632"/>
      </p:ext>
    </p:extLst>
  </p:cSld>
  <p:clrMapOvr>
    <a:masterClrMapping/>
  </p:clrMapOvr>
  <p:transition spd="slow">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on Right + Image">
    <p:bg>
      <p:bgPr>
        <a:solidFill>
          <a:schemeClr val="accent5"/>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gradFill>
            <a:gsLst>
              <a:gs pos="0">
                <a:srgbClr val="06273C"/>
              </a:gs>
              <a:gs pos="100000">
                <a:srgbClr val="2C1F5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8" b="0" i="0">
              <a:latin typeface="Source Sans Pro" panose="020B0503030403020204" pitchFamily="34" charset="0"/>
            </a:endParaRPr>
          </a:p>
        </p:txBody>
      </p:sp>
      <p:sp>
        <p:nvSpPr>
          <p:cNvPr id="4" name="Title 1"/>
          <p:cNvSpPr>
            <a:spLocks noGrp="1"/>
          </p:cNvSpPr>
          <p:nvPr>
            <p:ph type="title" hasCustomPrompt="1"/>
          </p:nvPr>
        </p:nvSpPr>
        <p:spPr>
          <a:xfrm>
            <a:off x="6591300" y="423864"/>
            <a:ext cx="5051552" cy="1081616"/>
          </a:xfrm>
        </p:spPr>
        <p:txBody>
          <a:bodyPr anchor="ctr" anchorCtr="0">
            <a:noAutofit/>
          </a:bodyPr>
          <a:lstStyle>
            <a:lvl1pPr algn="l">
              <a:lnSpc>
                <a:spcPct val="80000"/>
              </a:lnSpc>
              <a:defRPr sz="3733" b="1" i="0" cap="none" baseline="0">
                <a:solidFill>
                  <a:schemeClr val="tx1">
                    <a:lumMod val="50000"/>
                  </a:schemeClr>
                </a:solidFill>
                <a:latin typeface="+mn-lt"/>
                <a:ea typeface="Gelasio SemiBold" pitchFamily="2" charset="77"/>
                <a:cs typeface="Calibri"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8A8F43FC-DC14-4122-9809-DE6E3C62D73C}"/>
              </a:ext>
            </a:extLst>
          </p:cNvPr>
          <p:cNvSpPr>
            <a:spLocks noGrp="1"/>
          </p:cNvSpPr>
          <p:nvPr>
            <p:ph type="body" sz="quarter" idx="10" hasCustomPrompt="1"/>
          </p:nvPr>
        </p:nvSpPr>
        <p:spPr>
          <a:xfrm>
            <a:off x="6591301" y="1743076"/>
            <a:ext cx="4286249" cy="3648075"/>
          </a:xfrm>
        </p:spPr>
        <p:txBody>
          <a:bodyPr/>
          <a:lstStyle>
            <a:lvl1pPr>
              <a:defRPr>
                <a:solidFill>
                  <a:schemeClr val="tx1"/>
                </a:solidFill>
              </a:defRPr>
            </a:lvl1pPr>
            <a:lvl2pPr marL="313259" indent="-300559">
              <a:buFont typeface="System Font Regular"/>
              <a:buChar char="→"/>
              <a:tabLst/>
              <a:defRPr>
                <a:solidFill>
                  <a:schemeClr val="tx1"/>
                </a:solidFill>
              </a:defRPr>
            </a:lvl2pPr>
            <a:lvl3pPr marL="535504" indent="-232828">
              <a:tabLst/>
              <a:defRPr>
                <a:solidFill>
                  <a:schemeClr val="tx1"/>
                </a:solidFill>
              </a:defRPr>
            </a:lvl3pPr>
            <a:lvl4pPr marL="770447" indent="-224361">
              <a:tabLst/>
              <a:defRPr>
                <a:solidFill>
                  <a:schemeClr val="tx1"/>
                </a:solidFill>
              </a:defRPr>
            </a:lvl4pPr>
            <a:lvl5pPr marL="992693" indent="-241294">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25753F52-C453-4A8A-930B-17FCBCC028BB}"/>
              </a:ext>
            </a:extLst>
          </p:cNvPr>
          <p:cNvSpPr>
            <a:spLocks noGrp="1"/>
          </p:cNvSpPr>
          <p:nvPr>
            <p:ph type="pic" sz="quarter" idx="11"/>
          </p:nvPr>
        </p:nvSpPr>
        <p:spPr>
          <a:xfrm>
            <a:off x="1" y="0"/>
            <a:ext cx="6096551" cy="6858000"/>
          </a:xfrm>
        </p:spPr>
        <p:txBody>
          <a:bodyPr/>
          <a:lstStyle>
            <a:lvl1pPr>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2659754347"/>
      </p:ext>
    </p:extLst>
  </p:cSld>
  <p:clrMapOvr>
    <a:masterClrMapping/>
  </p:clrMapOvr>
  <p:transition spd="slow">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Product">
    <p:bg>
      <p:bgPr>
        <a:solidFill>
          <a:schemeClr val="accent5"/>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tx1">
                    <a:lumMod val="50000"/>
                  </a:schemeClr>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tx1"/>
                </a:solidFill>
              </a:defRPr>
            </a:lvl1pPr>
          </a:lstStyle>
          <a:p>
            <a:pPr lvl="0"/>
            <a:r>
              <a:rPr lang="en-US" dirty="0"/>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972883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Produc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C302FAD-8AA3-4C49-ABD7-C4738AE17503}"/>
              </a:ext>
            </a:extLst>
          </p:cNvPr>
          <p:cNvSpPr>
            <a:spLocks noGrp="1"/>
          </p:cNvSpPr>
          <p:nvPr>
            <p:ph type="title" hasCustomPrompt="1"/>
          </p:nvPr>
        </p:nvSpPr>
        <p:spPr>
          <a:xfrm>
            <a:off x="507772" y="365127"/>
            <a:ext cx="5709920" cy="1048492"/>
          </a:xfrm>
        </p:spPr>
        <p:txBody>
          <a:bodyPr/>
          <a:lstStyle>
            <a:lvl1pPr>
              <a:defRPr>
                <a:solidFill>
                  <a:schemeClr val="bg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03F6FBA5-5DA4-074F-8916-FC997A40C351}"/>
              </a:ext>
            </a:extLst>
          </p:cNvPr>
          <p:cNvSpPr>
            <a:spLocks noGrp="1"/>
          </p:cNvSpPr>
          <p:nvPr>
            <p:ph sz="quarter" idx="14" hasCustomPrompt="1"/>
          </p:nvPr>
        </p:nvSpPr>
        <p:spPr>
          <a:xfrm>
            <a:off x="508000" y="1919780"/>
            <a:ext cx="5709920" cy="3955192"/>
          </a:xfrm>
        </p:spPr>
        <p:txBody>
          <a:bodyPr>
            <a:normAutofit/>
          </a:bodyPr>
          <a:lstStyle>
            <a:lvl1pPr>
              <a:defRPr sz="2400">
                <a:solidFill>
                  <a:schemeClr val="bg1"/>
                </a:solidFill>
              </a:defRPr>
            </a:lvl1pPr>
          </a:lstStyle>
          <a:p>
            <a:pPr lvl="0"/>
            <a:r>
              <a:rPr lang="en-US"/>
              <a:t>Click to edit master text styles</a:t>
            </a:r>
          </a:p>
        </p:txBody>
      </p:sp>
      <p:pic>
        <p:nvPicPr>
          <p:cNvPr id="13" name="Picture 12">
            <a:extLst>
              <a:ext uri="{FF2B5EF4-FFF2-40B4-BE49-F238E27FC236}">
                <a16:creationId xmlns:a16="http://schemas.microsoft.com/office/drawing/2014/main" id="{E32ECCD5-5EFD-432B-A6AB-33C099254F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25465" y="847435"/>
            <a:ext cx="6356825" cy="5497383"/>
          </a:xfrm>
          <a:prstGeom prst="rect">
            <a:avLst/>
          </a:prstGeom>
        </p:spPr>
      </p:pic>
      <p:sp>
        <p:nvSpPr>
          <p:cNvPr id="14" name="Picture Placeholder 9">
            <a:extLst>
              <a:ext uri="{FF2B5EF4-FFF2-40B4-BE49-F238E27FC236}">
                <a16:creationId xmlns:a16="http://schemas.microsoft.com/office/drawing/2014/main" id="{9E856C2D-5E3B-4ABA-AC59-1F521C087856}"/>
              </a:ext>
            </a:extLst>
          </p:cNvPr>
          <p:cNvSpPr>
            <a:spLocks noGrp="1"/>
          </p:cNvSpPr>
          <p:nvPr>
            <p:ph type="pic" sz="quarter" idx="13"/>
          </p:nvPr>
        </p:nvSpPr>
        <p:spPr>
          <a:xfrm>
            <a:off x="7177795" y="1107016"/>
            <a:ext cx="5852160" cy="3291840"/>
          </a:xfrm>
          <a:prstGeom prst="round2SameRect">
            <a:avLst>
              <a:gd name="adj1" fmla="val 0"/>
              <a:gd name="adj2" fmla="val 451"/>
            </a:avLst>
          </a:prstGeom>
        </p:spPr>
        <p:txBody>
          <a:bodyPr/>
          <a:lstStyle/>
          <a:p>
            <a:r>
              <a:rPr lang="en-US"/>
              <a:t>Click icon to add picture</a:t>
            </a:r>
          </a:p>
        </p:txBody>
      </p:sp>
    </p:spTree>
    <p:extLst>
      <p:ext uri="{BB962C8B-B14F-4D97-AF65-F5344CB8AC3E}">
        <p14:creationId xmlns:p14="http://schemas.microsoft.com/office/powerpoint/2010/main" val="298901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1_Title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5444-1D3B-442E-A1DE-E74DBEA0DEF1}"/>
              </a:ext>
            </a:extLst>
          </p:cNvPr>
          <p:cNvSpPr>
            <a:spLocks noGrp="1"/>
          </p:cNvSpPr>
          <p:nvPr>
            <p:ph type="title" hasCustomPrompt="1"/>
          </p:nvPr>
        </p:nvSpPr>
        <p:spPr>
          <a:xfrm>
            <a:off x="508000" y="365678"/>
            <a:ext cx="11176000" cy="531428"/>
          </a:xfrm>
        </p:spPr>
        <p:txBody>
          <a:bodyPr/>
          <a:lstStyle>
            <a:lvl1pPr>
              <a:defRPr b="1" i="0">
                <a:solidFill>
                  <a:schemeClr val="bg1"/>
                </a:solidFill>
                <a:latin typeface="+mn-lt"/>
              </a:defRPr>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A5DD0088-111D-413D-8894-F0F00A3FB40E}"/>
              </a:ext>
            </a:extLst>
          </p:cNvPr>
          <p:cNvSpPr>
            <a:spLocks noGrp="1"/>
          </p:cNvSpPr>
          <p:nvPr>
            <p:ph idx="1" hasCustomPrompt="1"/>
          </p:nvPr>
        </p:nvSpPr>
        <p:spPr>
          <a:xfrm>
            <a:off x="508000" y="1825625"/>
            <a:ext cx="11176000" cy="4351339"/>
          </a:xfrm>
          <a:prstGeom prst="rect">
            <a:avLst/>
          </a:prstGeom>
        </p:spPr>
        <p:txBody>
          <a:bodyPr/>
          <a:lstStyle>
            <a:lvl1pPr marL="0" indent="0">
              <a:buClr>
                <a:schemeClr val="tx2"/>
              </a:buClr>
              <a:buSzPct val="80000"/>
              <a:buFontTx/>
              <a:buNone/>
              <a:defRPr>
                <a:solidFill>
                  <a:schemeClr val="accent5"/>
                </a:solidFill>
              </a:defRPr>
            </a:lvl1pPr>
            <a:lvl2pPr marL="317472" indent="-317472">
              <a:buClr>
                <a:schemeClr val="tx2"/>
              </a:buClr>
              <a:buSzPct val="80000"/>
              <a:buFont typeface="System Font Regular"/>
              <a:buChar char="→"/>
              <a:tabLst/>
              <a:defRPr>
                <a:solidFill>
                  <a:schemeClr val="accent5"/>
                </a:solidFill>
              </a:defRPr>
            </a:lvl2pPr>
            <a:lvl3pPr marL="511482" indent="-194011">
              <a:buClr>
                <a:schemeClr val="tx2"/>
              </a:buClr>
              <a:buSzPct val="80000"/>
              <a:tabLst/>
              <a:defRPr>
                <a:solidFill>
                  <a:schemeClr val="accent5"/>
                </a:solidFill>
              </a:defRPr>
            </a:lvl3pPr>
            <a:lvl4pPr marL="670218" indent="-158736">
              <a:buClr>
                <a:schemeClr val="tx2"/>
              </a:buClr>
              <a:buSzPct val="80000"/>
              <a:tabLst/>
              <a:defRPr>
                <a:solidFill>
                  <a:schemeClr val="accent5"/>
                </a:solidFill>
              </a:defRPr>
            </a:lvl4pPr>
            <a:lvl5pPr marL="793679" indent="-158736">
              <a:buClr>
                <a:schemeClr val="tx2"/>
              </a:buClr>
              <a:buSzPct val="80000"/>
              <a:tabLst/>
              <a:defRPr>
                <a:solidFill>
                  <a:schemeClr val="accent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2D14881E-A2BD-4349-804B-EF0474149158}"/>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51951C46-E991-0B4D-A0CD-9877FAAE5CBA}"/>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3" name="Graphic 61">
              <a:extLst>
                <a:ext uri="{FF2B5EF4-FFF2-40B4-BE49-F238E27FC236}">
                  <a16:creationId xmlns:a16="http://schemas.microsoft.com/office/drawing/2014/main" id="{50B9B9A2-C8CC-2E48-ADF7-1B11F9663FE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290279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1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Content w/ Subhead and content">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288" y="405986"/>
            <a:ext cx="11176712" cy="5989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7288" y="1097353"/>
            <a:ext cx="11176712"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0" name="Content Placeholder 3"/>
          <p:cNvSpPr>
            <a:spLocks noGrp="1"/>
          </p:cNvSpPr>
          <p:nvPr>
            <p:ph sz="quarter" idx="12" hasCustomPrompt="1"/>
          </p:nvPr>
        </p:nvSpPr>
        <p:spPr>
          <a:xfrm>
            <a:off x="507288" y="1665740"/>
            <a:ext cx="11176712" cy="4425696"/>
          </a:xfrm>
          <a:prstGeom prst="rect">
            <a:avLst/>
          </a:prstGeom>
          <a:ln>
            <a:noFill/>
          </a:ln>
        </p:spPr>
        <p:txBody>
          <a:bodyPr>
            <a:normAutofit/>
          </a:bodyPr>
          <a:lstStyle>
            <a:lvl1pPr marL="0" marR="0" indent="0" algn="l" defTabSz="914318" rtl="0" eaLnBrk="1" fontAlgn="base" latinLnBrk="0" hangingPunct="1">
              <a:lnSpc>
                <a:spcPct val="90000"/>
              </a:lnSpc>
              <a:spcBef>
                <a:spcPts val="1000"/>
              </a:spcBef>
              <a:spcAft>
                <a:spcPct val="0"/>
              </a:spcAft>
              <a:buClr>
                <a:schemeClr val="tx2"/>
              </a:buClr>
              <a:buSzTx/>
              <a:buFontTx/>
              <a:buNone/>
              <a:tabLst/>
              <a:defRPr b="0" i="0">
                <a:solidFill>
                  <a:schemeClr val="bg1"/>
                </a:solidFill>
                <a:latin typeface="+mn-lt"/>
                <a:ea typeface="Source Sans Pro" panose="020B0503030403020204" pitchFamily="34" charset="0"/>
                <a:cs typeface="Calibri" charset="0"/>
              </a:defRPr>
            </a:lvl1pPr>
            <a:lvl2pPr marL="313259" indent="-300559">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535504" indent="-222245">
              <a:buClr>
                <a:schemeClr val="tx2"/>
              </a:buClr>
              <a:tabLst/>
              <a:defRPr b="0" i="0">
                <a:solidFill>
                  <a:schemeClr val="bg1"/>
                </a:solidFill>
                <a:latin typeface="+mn-lt"/>
                <a:ea typeface="Source Sans Pro" panose="020B0503030403020204" pitchFamily="34" charset="0"/>
                <a:cs typeface="Calibri" charset="0"/>
              </a:defRPr>
            </a:lvl3pPr>
            <a:lvl4pPr>
              <a:buClr>
                <a:schemeClr val="tx2"/>
              </a:buClr>
              <a:defRPr b="0" i="0">
                <a:solidFill>
                  <a:schemeClr val="bg1"/>
                </a:solidFill>
                <a:latin typeface="+mn-lt"/>
                <a:ea typeface="Source Sans Pro" panose="020B0503030403020204" pitchFamily="34" charset="0"/>
                <a:cs typeface="Calibri" charset="0"/>
              </a:defRPr>
            </a:lvl4pPr>
            <a:lvl5pPr>
              <a:buClr>
                <a:schemeClr val="tx2"/>
              </a:buClr>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A4DF65C1-058C-2E4A-BDC4-877E82187F8A}"/>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CFB88C54-BEEF-5C47-9A6F-9139AD229259}"/>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D918878A-0A51-5F4A-AE27-F3C911C1EC8E}"/>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833505029"/>
      </p:ext>
    </p:extLst>
  </p:cSld>
  <p:clrMapOvr>
    <a:masterClrMapping/>
  </p:clrMapOvr>
  <p:transition spd="slow">
    <p:wipe dir="r"/>
  </p:transition>
  <p:extLst>
    <p:ext uri="{DCECCB84-F9BA-43D5-87BE-67443E8EF086}">
      <p15:sldGuideLst xmlns:p15="http://schemas.microsoft.com/office/powerpoint/2012/main">
        <p15:guide id="1" orient="horz" pos="311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wo Columns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1C0C976E-8B56-2948-B2BB-68B42A3EB0B7}"/>
              </a:ext>
            </a:extLst>
          </p:cNvPr>
          <p:cNvSpPr>
            <a:spLocks noGrp="1"/>
          </p:cNvSpPr>
          <p:nvPr>
            <p:ph type="body" sz="quarter" idx="11" hasCustomPrompt="1"/>
          </p:nvPr>
        </p:nvSpPr>
        <p:spPr>
          <a:xfrm>
            <a:off x="6288507"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785E213B-B19B-1A46-AAA9-AF234D0EFACB}"/>
              </a:ext>
            </a:extLst>
          </p:cNvPr>
          <p:cNvGrpSpPr/>
          <p:nvPr userDrawn="1"/>
        </p:nvGrpSpPr>
        <p:grpSpPr>
          <a:xfrm>
            <a:off x="8283136" y="5958226"/>
            <a:ext cx="4137369" cy="926879"/>
            <a:chOff x="7994577" y="7729729"/>
            <a:chExt cx="9753466" cy="2185140"/>
          </a:xfrm>
        </p:grpSpPr>
        <p:sp>
          <p:nvSpPr>
            <p:cNvPr id="13" name="Graphic 56">
              <a:extLst>
                <a:ext uri="{FF2B5EF4-FFF2-40B4-BE49-F238E27FC236}">
                  <a16:creationId xmlns:a16="http://schemas.microsoft.com/office/drawing/2014/main" id="{53CD207D-87FD-BB42-B118-96D6CA44D5A3}"/>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4" name="Graphic 61">
              <a:extLst>
                <a:ext uri="{FF2B5EF4-FFF2-40B4-BE49-F238E27FC236}">
                  <a16:creationId xmlns:a16="http://schemas.microsoft.com/office/drawing/2014/main" id="{74FF77E3-0726-E741-A135-4798C085972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3136942302"/>
      </p:ext>
    </p:extLst>
  </p:cSld>
  <p:clrMapOvr>
    <a:masterClrMapping/>
  </p:clrMapOvr>
  <p:transition spd="slow">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wo Columns">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5"/>
            <a:ext cx="11176000" cy="552508"/>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7"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sp>
        <p:nvSpPr>
          <p:cNvPr id="13" name="Text Placeholder 5">
            <a:extLst>
              <a:ext uri="{FF2B5EF4-FFF2-40B4-BE49-F238E27FC236}">
                <a16:creationId xmlns:a16="http://schemas.microsoft.com/office/drawing/2014/main" id="{5D9A68D5-3CBD-2249-BCFA-4DD16FF8F7E0}"/>
              </a:ext>
            </a:extLst>
          </p:cNvPr>
          <p:cNvSpPr>
            <a:spLocks noGrp="1"/>
          </p:cNvSpPr>
          <p:nvPr>
            <p:ph type="body" sz="quarter" idx="10" hasCustomPrompt="1"/>
          </p:nvPr>
        </p:nvSpPr>
        <p:spPr>
          <a:xfrm>
            <a:off x="508002"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5">
            <a:extLst>
              <a:ext uri="{FF2B5EF4-FFF2-40B4-BE49-F238E27FC236}">
                <a16:creationId xmlns:a16="http://schemas.microsoft.com/office/drawing/2014/main" id="{6CD9F73A-A1B4-AF4B-83DA-9FEF1D232838}"/>
              </a:ext>
            </a:extLst>
          </p:cNvPr>
          <p:cNvSpPr>
            <a:spLocks noGrp="1"/>
          </p:cNvSpPr>
          <p:nvPr>
            <p:ph type="body" sz="quarter" idx="12" hasCustomPrompt="1"/>
          </p:nvPr>
        </p:nvSpPr>
        <p:spPr>
          <a:xfrm>
            <a:off x="6293659" y="1737674"/>
            <a:ext cx="5395493" cy="4330172"/>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a:extLst>
              <a:ext uri="{FF2B5EF4-FFF2-40B4-BE49-F238E27FC236}">
                <a16:creationId xmlns:a16="http://schemas.microsoft.com/office/drawing/2014/main" id="{10957259-C07A-EC4D-A493-C759F48CF70B}"/>
              </a:ext>
            </a:extLst>
          </p:cNvPr>
          <p:cNvGrpSpPr/>
          <p:nvPr userDrawn="1"/>
        </p:nvGrpSpPr>
        <p:grpSpPr>
          <a:xfrm>
            <a:off x="8283136" y="5958226"/>
            <a:ext cx="4137369" cy="926879"/>
            <a:chOff x="7994577" y="7729729"/>
            <a:chExt cx="9753466" cy="2185140"/>
          </a:xfrm>
        </p:grpSpPr>
        <p:sp>
          <p:nvSpPr>
            <p:cNvPr id="15" name="Graphic 56">
              <a:extLst>
                <a:ext uri="{FF2B5EF4-FFF2-40B4-BE49-F238E27FC236}">
                  <a16:creationId xmlns:a16="http://schemas.microsoft.com/office/drawing/2014/main" id="{F0612777-0C21-9E48-886A-FF4D9BD2557D}"/>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8" name="Graphic 61">
              <a:extLst>
                <a:ext uri="{FF2B5EF4-FFF2-40B4-BE49-F238E27FC236}">
                  <a16:creationId xmlns:a16="http://schemas.microsoft.com/office/drawing/2014/main" id="{190D78D4-6071-7F44-A804-5EC20DE6FA5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4200548975"/>
      </p:ext>
    </p:extLst>
  </p:cSld>
  <p:clrMapOvr>
    <a:masterClrMapping/>
  </p:clrMapOvr>
  <p:transition spd="slow">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One Column no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4913"/>
            <a:ext cx="11176000" cy="1325563"/>
          </a:xfrm>
        </p:spPr>
        <p:txBody>
          <a:bodyPr>
            <a:noAutofit/>
          </a:bodyPr>
          <a:lstStyle>
            <a:lvl1pPr>
              <a:lnSpc>
                <a:spcPct val="80000"/>
              </a:lnSpc>
              <a:defRPr sz="3733" b="1" i="0" cap="none" baseline="0">
                <a:solidFill>
                  <a:schemeClr val="bg1"/>
                </a:solidFill>
                <a:latin typeface="+mn-lt"/>
                <a:ea typeface="Gelasio SemiBold" pitchFamily="2" charset="77"/>
                <a:cs typeface="Calibri"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508002" y="1924525"/>
            <a:ext cx="5395493" cy="4143321"/>
          </a:xfrm>
          <a:prstGeom prst="rect">
            <a:avLst/>
          </a:prstGeom>
        </p:spPr>
        <p:txBody>
          <a:bodyPr>
            <a:normAutofit/>
          </a:bodyPr>
          <a:lstStyle>
            <a:lvl1pPr>
              <a:buClr>
                <a:schemeClr val="accent5"/>
              </a:buClr>
              <a:defRPr b="0" i="0">
                <a:solidFill>
                  <a:schemeClr val="bg1"/>
                </a:solidFill>
                <a:latin typeface="+mn-lt"/>
                <a:ea typeface="Source Sans Pro" panose="020B0503030403020204" pitchFamily="34" charset="0"/>
                <a:cs typeface="Calibri" charset="0"/>
              </a:defRPr>
            </a:lvl1pPr>
            <a:lvl2pPr marL="317472" indent="-304244">
              <a:buClr>
                <a:schemeClr val="tx2"/>
              </a:buClr>
              <a:buFont typeface="System Font Regular"/>
              <a:buChar char="→"/>
              <a:tabLst/>
              <a:defRPr b="0" i="0">
                <a:solidFill>
                  <a:schemeClr val="bg1"/>
                </a:solidFill>
                <a:latin typeface="+mn-lt"/>
                <a:ea typeface="Source Sans Pro" panose="020B0503030403020204" pitchFamily="34" charset="0"/>
                <a:cs typeface="Calibri" charset="0"/>
              </a:defRPr>
            </a:lvl2pPr>
            <a:lvl3pPr marL="476208"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3pPr>
            <a:lvl4pPr marL="634944"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4pPr>
            <a:lvl5pPr marL="793679" indent="-158736">
              <a:buClr>
                <a:schemeClr val="tx2"/>
              </a:buClr>
              <a:buFont typeface="Arial" panose="020B0604020202020204" pitchFamily="34" charset="0"/>
              <a:buChar char="•"/>
              <a:tabLst/>
              <a:defRPr b="0" i="0">
                <a:solidFill>
                  <a:schemeClr val="bg1"/>
                </a:solidFill>
                <a:latin typeface="+mn-lt"/>
                <a:ea typeface="Source Sans Pro" panose="020B0503030403020204" pitchFamily="34"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a:extLst>
              <a:ext uri="{FF2B5EF4-FFF2-40B4-BE49-F238E27FC236}">
                <a16:creationId xmlns:a16="http://schemas.microsoft.com/office/drawing/2014/main" id="{9FCC9237-F234-EC42-95C1-E2D7ADD3C11C}"/>
              </a:ext>
            </a:extLst>
          </p:cNvPr>
          <p:cNvGrpSpPr/>
          <p:nvPr userDrawn="1"/>
        </p:nvGrpSpPr>
        <p:grpSpPr>
          <a:xfrm>
            <a:off x="8283136" y="5958226"/>
            <a:ext cx="4137369" cy="926879"/>
            <a:chOff x="7994577" y="7729729"/>
            <a:chExt cx="9753466" cy="2185140"/>
          </a:xfrm>
        </p:grpSpPr>
        <p:sp>
          <p:nvSpPr>
            <p:cNvPr id="12" name="Graphic 56">
              <a:extLst>
                <a:ext uri="{FF2B5EF4-FFF2-40B4-BE49-F238E27FC236}">
                  <a16:creationId xmlns:a16="http://schemas.microsoft.com/office/drawing/2014/main" id="{7249D0C6-B576-7B43-BCF9-2769F89B5954}"/>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16" name="Graphic 61">
              <a:extLst>
                <a:ext uri="{FF2B5EF4-FFF2-40B4-BE49-F238E27FC236}">
                  <a16:creationId xmlns:a16="http://schemas.microsoft.com/office/drawing/2014/main" id="{631ED4C5-4FB2-C649-B848-E54B12FA37F4}"/>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1878973104"/>
      </p:ext>
    </p:extLst>
  </p:cSld>
  <p:clrMapOvr>
    <a:masterClrMapping/>
  </p:clrMapOvr>
  <p:transition spd="slow">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 Sub">
    <p:bg>
      <p:bgPr>
        <a:gradFill>
          <a:gsLst>
            <a:gs pos="75000">
              <a:srgbClr val="924462"/>
            </a:gs>
            <a:gs pos="0">
              <a:srgbClr val="251637"/>
            </a:gs>
            <a:gs pos="25000">
              <a:srgbClr val="3B2457"/>
            </a:gs>
            <a:gs pos="100000">
              <a:srgbClr val="E8646C"/>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0" y="405973"/>
            <a:ext cx="11176000" cy="569680"/>
          </a:xfrm>
        </p:spPr>
        <p:txBody>
          <a:bodyPr>
            <a:noAutofit/>
          </a:bodyPr>
          <a:lstStyle>
            <a:lvl1pPr algn="l">
              <a:lnSpc>
                <a:spcPct val="80000"/>
              </a:lnSpc>
              <a:defRPr sz="3733" b="1" i="0" cap="none" baseline="0">
                <a:solidFill>
                  <a:schemeClr val="bg1"/>
                </a:solidFill>
                <a:latin typeface="+mn-lt"/>
                <a:ea typeface="Gelasio SemiBold" pitchFamily="2" charset="77"/>
                <a:cs typeface="Calibri" charset="0"/>
              </a:defRPr>
            </a:lvl1pPr>
          </a:lstStyle>
          <a:p>
            <a:r>
              <a:rPr lang="en-US"/>
              <a:t>Click to edit master title style</a:t>
            </a:r>
          </a:p>
        </p:txBody>
      </p:sp>
      <p:sp>
        <p:nvSpPr>
          <p:cNvPr id="5" name="Text Placeholder 4"/>
          <p:cNvSpPr>
            <a:spLocks noGrp="1"/>
          </p:cNvSpPr>
          <p:nvPr>
            <p:ph type="body" sz="quarter" idx="11" hasCustomPrompt="1"/>
          </p:nvPr>
        </p:nvSpPr>
        <p:spPr>
          <a:xfrm>
            <a:off x="508000" y="1097353"/>
            <a:ext cx="11176000" cy="461665"/>
          </a:xfrm>
          <a:prstGeom prst="rect">
            <a:avLst/>
          </a:prstGeom>
        </p:spPr>
        <p:txBody>
          <a:bodyPr tIns="0" bIns="0">
            <a:normAutofit/>
          </a:bodyPr>
          <a:lstStyle>
            <a:lvl1pPr marL="0" indent="0">
              <a:buNone/>
              <a:defRPr sz="2400" b="0" i="0">
                <a:solidFill>
                  <a:schemeClr val="accent5"/>
                </a:solidFill>
                <a:latin typeface="+mn-lt"/>
                <a:ea typeface="Source Sans Pro" panose="020B0503030403020204" pitchFamily="34" charset="0"/>
                <a:cs typeface="Calibri" charset="0"/>
              </a:defRPr>
            </a:lvl1pPr>
            <a:lvl2pPr marL="457159" indent="0">
              <a:buNone/>
              <a:defRPr/>
            </a:lvl2pPr>
            <a:lvl3pPr marL="914318" indent="0">
              <a:buNone/>
              <a:defRPr/>
            </a:lvl3pPr>
            <a:lvl4pPr marL="1371478" indent="0">
              <a:buNone/>
              <a:defRPr/>
            </a:lvl4pPr>
            <a:lvl5pPr marL="1828637" indent="0">
              <a:buNone/>
              <a:defRPr/>
            </a:lvl5pPr>
          </a:lstStyle>
          <a:p>
            <a:pPr lvl="0"/>
            <a:r>
              <a:rPr lang="en-US" dirty="0"/>
              <a:t>Click to edit master sub title style</a:t>
            </a:r>
          </a:p>
        </p:txBody>
      </p:sp>
      <p:grpSp>
        <p:nvGrpSpPr>
          <p:cNvPr id="23" name="Group 22">
            <a:extLst>
              <a:ext uri="{FF2B5EF4-FFF2-40B4-BE49-F238E27FC236}">
                <a16:creationId xmlns:a16="http://schemas.microsoft.com/office/drawing/2014/main" id="{2864F2D1-B37A-084E-ACD7-D689CB05D494}"/>
              </a:ext>
            </a:extLst>
          </p:cNvPr>
          <p:cNvGrpSpPr/>
          <p:nvPr userDrawn="1"/>
        </p:nvGrpSpPr>
        <p:grpSpPr>
          <a:xfrm>
            <a:off x="8283136" y="5958226"/>
            <a:ext cx="4137369" cy="926879"/>
            <a:chOff x="7994577" y="7729729"/>
            <a:chExt cx="9753466" cy="2185140"/>
          </a:xfrm>
        </p:grpSpPr>
        <p:sp>
          <p:nvSpPr>
            <p:cNvPr id="24" name="Graphic 56">
              <a:extLst>
                <a:ext uri="{FF2B5EF4-FFF2-40B4-BE49-F238E27FC236}">
                  <a16:creationId xmlns:a16="http://schemas.microsoft.com/office/drawing/2014/main" id="{D05BB184-6D39-CA48-8961-264217AACAFB}"/>
                </a:ext>
              </a:extLst>
            </p:cNvPr>
            <p:cNvSpPr/>
            <p:nvPr userDrawn="1"/>
          </p:nvSpPr>
          <p:spPr>
            <a:xfrm>
              <a:off x="7994577" y="7837300"/>
              <a:ext cx="9753466" cy="2077569"/>
            </a:xfrm>
            <a:custGeom>
              <a:avLst/>
              <a:gdLst>
                <a:gd name="connsiteX0" fmla="*/ 9753466 w 9753466"/>
                <a:gd name="connsiteY0" fmla="*/ 2077569 h 2077569"/>
                <a:gd name="connsiteX1" fmla="*/ 0 w 9753466"/>
                <a:gd name="connsiteY1" fmla="*/ 2077569 h 2077569"/>
                <a:gd name="connsiteX2" fmla="*/ 554007 w 9753466"/>
                <a:gd name="connsiteY2" fmla="*/ 1582483 h 2077569"/>
                <a:gd name="connsiteX3" fmla="*/ 1374418 w 9753466"/>
                <a:gd name="connsiteY3" fmla="*/ 767997 h 2077569"/>
                <a:gd name="connsiteX4" fmla="*/ 3125248 w 9753466"/>
                <a:gd name="connsiteY4" fmla="*/ 634598 h 2077569"/>
                <a:gd name="connsiteX5" fmla="*/ 3276329 w 9753466"/>
                <a:gd name="connsiteY5" fmla="*/ 844090 h 2077569"/>
                <a:gd name="connsiteX6" fmla="*/ 4359180 w 9753466"/>
                <a:gd name="connsiteY6" fmla="*/ 1345749 h 2077569"/>
                <a:gd name="connsiteX7" fmla="*/ 4872084 w 9753466"/>
                <a:gd name="connsiteY7" fmla="*/ 1167254 h 2077569"/>
                <a:gd name="connsiteX8" fmla="*/ 5100054 w 9753466"/>
                <a:gd name="connsiteY8" fmla="*/ 1022583 h 2077569"/>
                <a:gd name="connsiteX9" fmla="*/ 5839620 w 9753466"/>
                <a:gd name="connsiteY9" fmla="*/ 299221 h 2077569"/>
                <a:gd name="connsiteX10" fmla="*/ 7216683 w 9753466"/>
                <a:gd name="connsiteY10" fmla="*/ 814026 h 2077569"/>
                <a:gd name="connsiteX11" fmla="*/ 7593099 w 9753466"/>
                <a:gd name="connsiteY11" fmla="*/ 1089279 h 2077569"/>
                <a:gd name="connsiteX12" fmla="*/ 8339287 w 9753466"/>
                <a:gd name="connsiteY12" fmla="*/ 741688 h 2077569"/>
                <a:gd name="connsiteX13" fmla="*/ 9750809 w 9753466"/>
                <a:gd name="connsiteY13" fmla="*/ 2072865 h 2077569"/>
                <a:gd name="connsiteX14" fmla="*/ 9753466 w 9753466"/>
                <a:gd name="connsiteY14" fmla="*/ 2077569 h 207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53466" h="2077569">
                  <a:moveTo>
                    <a:pt x="9753466" y="2077569"/>
                  </a:moveTo>
                  <a:lnTo>
                    <a:pt x="0" y="2077569"/>
                  </a:lnTo>
                  <a:cubicBezTo>
                    <a:pt x="201452" y="1906588"/>
                    <a:pt x="386121" y="1741561"/>
                    <a:pt x="554007" y="1582483"/>
                  </a:cubicBezTo>
                  <a:cubicBezTo>
                    <a:pt x="877401" y="1278108"/>
                    <a:pt x="1143797" y="1001914"/>
                    <a:pt x="1374418" y="767997"/>
                  </a:cubicBezTo>
                  <a:cubicBezTo>
                    <a:pt x="2173612" y="-45548"/>
                    <a:pt x="2511582" y="-329259"/>
                    <a:pt x="3125248" y="634598"/>
                  </a:cubicBezTo>
                  <a:cubicBezTo>
                    <a:pt x="3171119" y="707551"/>
                    <a:pt x="3221581" y="777523"/>
                    <a:pt x="3276329" y="844090"/>
                  </a:cubicBezTo>
                  <a:cubicBezTo>
                    <a:pt x="3610334" y="1263080"/>
                    <a:pt x="3984093" y="1398356"/>
                    <a:pt x="4359180" y="1345749"/>
                  </a:cubicBezTo>
                  <a:cubicBezTo>
                    <a:pt x="4531476" y="1323198"/>
                    <a:pt x="4702444" y="1260257"/>
                    <a:pt x="4872084" y="1167254"/>
                  </a:cubicBezTo>
                  <a:cubicBezTo>
                    <a:pt x="4950945" y="1123692"/>
                    <a:pt x="5027070" y="1075379"/>
                    <a:pt x="5100054" y="1022583"/>
                  </a:cubicBezTo>
                  <a:cubicBezTo>
                    <a:pt x="5363813" y="834697"/>
                    <a:pt x="5614306" y="581050"/>
                    <a:pt x="5839620" y="299221"/>
                  </a:cubicBezTo>
                  <a:cubicBezTo>
                    <a:pt x="6426777" y="-435416"/>
                    <a:pt x="6844254" y="357465"/>
                    <a:pt x="7216683" y="814026"/>
                  </a:cubicBezTo>
                  <a:cubicBezTo>
                    <a:pt x="7345262" y="971850"/>
                    <a:pt x="7469834" y="1089279"/>
                    <a:pt x="7593099" y="1089279"/>
                  </a:cubicBezTo>
                  <a:cubicBezTo>
                    <a:pt x="7819741" y="1089279"/>
                    <a:pt x="8082171" y="880728"/>
                    <a:pt x="8339287" y="741688"/>
                  </a:cubicBezTo>
                  <a:cubicBezTo>
                    <a:pt x="8624240" y="587626"/>
                    <a:pt x="9290459" y="885318"/>
                    <a:pt x="9750809" y="2072865"/>
                  </a:cubicBezTo>
                  <a:cubicBezTo>
                    <a:pt x="9752218" y="2074071"/>
                    <a:pt x="9753164" y="2075740"/>
                    <a:pt x="9753466" y="2077569"/>
                  </a:cubicBezTo>
                  <a:close/>
                </a:path>
              </a:pathLst>
            </a:custGeom>
            <a:solidFill>
              <a:schemeClr val="accent1">
                <a:lumMod val="75000"/>
                <a:alpha val="19819"/>
              </a:schemeClr>
            </a:solidFill>
            <a:ln w="20111" cap="flat">
              <a:noFill/>
              <a:prstDash val="solid"/>
              <a:miter/>
            </a:ln>
          </p:spPr>
          <p:txBody>
            <a:bodyPr rtlCol="0" anchor="ctr"/>
            <a:lstStyle/>
            <a:p>
              <a:endParaRPr lang="en-US" sz="1249"/>
            </a:p>
          </p:txBody>
        </p:sp>
        <p:sp>
          <p:nvSpPr>
            <p:cNvPr id="25" name="Graphic 61">
              <a:extLst>
                <a:ext uri="{FF2B5EF4-FFF2-40B4-BE49-F238E27FC236}">
                  <a16:creationId xmlns:a16="http://schemas.microsoft.com/office/drawing/2014/main" id="{1CD7AA0B-D817-7445-AD4E-6BDFF8266AF8}"/>
                </a:ext>
              </a:extLst>
            </p:cNvPr>
            <p:cNvSpPr/>
            <p:nvPr userDrawn="1"/>
          </p:nvSpPr>
          <p:spPr>
            <a:xfrm>
              <a:off x="7994577" y="7729729"/>
              <a:ext cx="9753466" cy="2178890"/>
            </a:xfrm>
            <a:custGeom>
              <a:avLst/>
              <a:gdLst>
                <a:gd name="connsiteX0" fmla="*/ 9753466 w 9753466"/>
                <a:gd name="connsiteY0" fmla="*/ 2178890 h 2178890"/>
                <a:gd name="connsiteX1" fmla="*/ 0 w 9753466"/>
                <a:gd name="connsiteY1" fmla="*/ 2178890 h 2178890"/>
                <a:gd name="connsiteX2" fmla="*/ 198806 w 9753466"/>
                <a:gd name="connsiteY2" fmla="*/ 1639779 h 2178890"/>
                <a:gd name="connsiteX3" fmla="*/ 1374418 w 9753466"/>
                <a:gd name="connsiteY3" fmla="*/ 865062 h 2178890"/>
                <a:gd name="connsiteX4" fmla="*/ 1875408 w 9753466"/>
                <a:gd name="connsiteY4" fmla="*/ 1286350 h 2178890"/>
                <a:gd name="connsiteX5" fmla="*/ 1988069 w 9753466"/>
                <a:gd name="connsiteY5" fmla="*/ 1442804 h 2178890"/>
                <a:gd name="connsiteX6" fmla="*/ 2886669 w 9753466"/>
                <a:gd name="connsiteY6" fmla="*/ 1445630 h 2178890"/>
                <a:gd name="connsiteX7" fmla="*/ 3276329 w 9753466"/>
                <a:gd name="connsiteY7" fmla="*/ 941404 h 2178890"/>
                <a:gd name="connsiteX8" fmla="*/ 3893959 w 9753466"/>
                <a:gd name="connsiteY8" fmla="*/ 126154 h 2178890"/>
                <a:gd name="connsiteX9" fmla="*/ 4815101 w 9753466"/>
                <a:gd name="connsiteY9" fmla="*/ 1161003 h 2178890"/>
                <a:gd name="connsiteX10" fmla="*/ 4872084 w 9753466"/>
                <a:gd name="connsiteY10" fmla="*/ 1265617 h 2178890"/>
                <a:gd name="connsiteX11" fmla="*/ 5622257 w 9753466"/>
                <a:gd name="connsiteY11" fmla="*/ 1734972 h 2178890"/>
                <a:gd name="connsiteX12" fmla="*/ 7469834 w 9753466"/>
                <a:gd name="connsiteY12" fmla="*/ 1545532 h 2178890"/>
                <a:gd name="connsiteX13" fmla="*/ 8573880 w 9753466"/>
                <a:gd name="connsiteY13" fmla="*/ 1304256 h 2178890"/>
                <a:gd name="connsiteX14" fmla="*/ 8771356 w 9753466"/>
                <a:gd name="connsiteY14" fmla="*/ 1130844 h 2178890"/>
                <a:gd name="connsiteX15" fmla="*/ 9256463 w 9753466"/>
                <a:gd name="connsiteY15" fmla="*/ 1284468 h 2178890"/>
                <a:gd name="connsiteX16" fmla="*/ 9332004 w 9753466"/>
                <a:gd name="connsiteY16" fmla="*/ 1382484 h 2178890"/>
                <a:gd name="connsiteX17" fmla="*/ 9750809 w 9753466"/>
                <a:gd name="connsiteY17" fmla="*/ 2174170 h 2178890"/>
                <a:gd name="connsiteX18" fmla="*/ 9753466 w 9753466"/>
                <a:gd name="connsiteY18" fmla="*/ 2178890 h 217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53466" h="2178890">
                  <a:moveTo>
                    <a:pt x="9753466" y="2178890"/>
                  </a:moveTo>
                  <a:lnTo>
                    <a:pt x="0" y="2178890"/>
                  </a:lnTo>
                  <a:cubicBezTo>
                    <a:pt x="53529" y="1994719"/>
                    <a:pt x="119962" y="1814569"/>
                    <a:pt x="198806" y="1639779"/>
                  </a:cubicBezTo>
                  <a:cubicBezTo>
                    <a:pt x="534123" y="894279"/>
                    <a:pt x="964872" y="687875"/>
                    <a:pt x="1374418" y="865062"/>
                  </a:cubicBezTo>
                  <a:cubicBezTo>
                    <a:pt x="1548043" y="939516"/>
                    <a:pt x="1719015" y="1083719"/>
                    <a:pt x="1875408" y="1286350"/>
                  </a:cubicBezTo>
                  <a:cubicBezTo>
                    <a:pt x="1913843" y="1335360"/>
                    <a:pt x="1950955" y="1387196"/>
                    <a:pt x="1988069" y="1442804"/>
                  </a:cubicBezTo>
                  <a:cubicBezTo>
                    <a:pt x="2287597" y="1898025"/>
                    <a:pt x="2581830" y="1777384"/>
                    <a:pt x="2886669" y="1445630"/>
                  </a:cubicBezTo>
                  <a:cubicBezTo>
                    <a:pt x="3013919" y="1306144"/>
                    <a:pt x="3143806" y="1128956"/>
                    <a:pt x="3276329" y="941404"/>
                  </a:cubicBezTo>
                  <a:cubicBezTo>
                    <a:pt x="3473826" y="661489"/>
                    <a:pt x="3679253" y="358950"/>
                    <a:pt x="3893959" y="126154"/>
                  </a:cubicBezTo>
                  <a:cubicBezTo>
                    <a:pt x="4311456" y="-324350"/>
                    <a:pt x="4489066" y="528595"/>
                    <a:pt x="4815101" y="1161003"/>
                  </a:cubicBezTo>
                  <a:cubicBezTo>
                    <a:pt x="4833659" y="1196819"/>
                    <a:pt x="4852217" y="1231690"/>
                    <a:pt x="4872084" y="1265617"/>
                  </a:cubicBezTo>
                  <a:cubicBezTo>
                    <a:pt x="5054988" y="1586063"/>
                    <a:pt x="5285615" y="1818853"/>
                    <a:pt x="5622257" y="1734972"/>
                  </a:cubicBezTo>
                  <a:cubicBezTo>
                    <a:pt x="6629547" y="1485217"/>
                    <a:pt x="7019207" y="1010203"/>
                    <a:pt x="7469834" y="1545532"/>
                  </a:cubicBezTo>
                  <a:cubicBezTo>
                    <a:pt x="7850235" y="1998872"/>
                    <a:pt x="8206764" y="1639779"/>
                    <a:pt x="8573880" y="1304256"/>
                  </a:cubicBezTo>
                  <a:cubicBezTo>
                    <a:pt x="8638833" y="1243941"/>
                    <a:pt x="8705094" y="1184565"/>
                    <a:pt x="8771356" y="1130844"/>
                  </a:cubicBezTo>
                  <a:cubicBezTo>
                    <a:pt x="8929080" y="1003605"/>
                    <a:pt x="9101376" y="1104451"/>
                    <a:pt x="9256463" y="1284468"/>
                  </a:cubicBezTo>
                  <a:cubicBezTo>
                    <a:pt x="9256463" y="1285412"/>
                    <a:pt x="9309481" y="1349499"/>
                    <a:pt x="9332004" y="1382484"/>
                  </a:cubicBezTo>
                  <a:cubicBezTo>
                    <a:pt x="9558646" y="1690677"/>
                    <a:pt x="9732271" y="2125158"/>
                    <a:pt x="9750809" y="2174170"/>
                  </a:cubicBezTo>
                  <a:cubicBezTo>
                    <a:pt x="9752218" y="2175381"/>
                    <a:pt x="9753164" y="2177055"/>
                    <a:pt x="9753466" y="2178890"/>
                  </a:cubicBezTo>
                  <a:close/>
                </a:path>
              </a:pathLst>
            </a:custGeom>
            <a:solidFill>
              <a:schemeClr val="accent1">
                <a:lumMod val="60000"/>
                <a:lumOff val="40000"/>
                <a:alpha val="29965"/>
              </a:schemeClr>
            </a:solidFill>
            <a:ln w="20111" cap="flat">
              <a:noFill/>
              <a:prstDash val="solid"/>
              <a:miter/>
            </a:ln>
          </p:spPr>
          <p:txBody>
            <a:bodyPr rtlCol="0" anchor="ctr"/>
            <a:lstStyle/>
            <a:p>
              <a:endParaRPr lang="en-US" sz="1249"/>
            </a:p>
          </p:txBody>
        </p:sp>
      </p:grpSp>
    </p:spTree>
    <p:extLst>
      <p:ext uri="{BB962C8B-B14F-4D97-AF65-F5344CB8AC3E}">
        <p14:creationId xmlns:p14="http://schemas.microsoft.com/office/powerpoint/2010/main" val="2570760968"/>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7.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slideLayout" Target="../slideLayouts/slideLayout111.xml"/><Relationship Id="rId55" Type="http://schemas.openxmlformats.org/officeDocument/2006/relationships/slideLayout" Target="../slideLayouts/slideLayout116.xml"/><Relationship Id="rId63" Type="http://schemas.openxmlformats.org/officeDocument/2006/relationships/vmlDrawing" Target="../drawings/vmlDrawing2.v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8" Type="http://schemas.openxmlformats.org/officeDocument/2006/relationships/slideLayout" Target="../slideLayouts/slideLayout119.xml"/><Relationship Id="rId66" Type="http://schemas.openxmlformats.org/officeDocument/2006/relationships/oleObject" Target="../embeddings/oleObject1.bin"/><Relationship Id="rId5" Type="http://schemas.openxmlformats.org/officeDocument/2006/relationships/slideLayout" Target="../slideLayouts/slideLayout66.xml"/><Relationship Id="rId61" Type="http://schemas.openxmlformats.org/officeDocument/2006/relationships/slideLayout" Target="../slideLayouts/slideLayout122.xml"/><Relationship Id="rId19" Type="http://schemas.openxmlformats.org/officeDocument/2006/relationships/slideLayout" Target="../slideLayouts/slideLayout8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slideLayout" Target="../slideLayouts/slideLayout117.xml"/><Relationship Id="rId64" Type="http://schemas.openxmlformats.org/officeDocument/2006/relationships/tags" Target="../tags/tag3.xml"/><Relationship Id="rId8" Type="http://schemas.openxmlformats.org/officeDocument/2006/relationships/slideLayout" Target="../slideLayouts/slideLayout69.xml"/><Relationship Id="rId51" Type="http://schemas.openxmlformats.org/officeDocument/2006/relationships/slideLayout" Target="../slideLayouts/slideLayout112.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59" Type="http://schemas.openxmlformats.org/officeDocument/2006/relationships/slideLayout" Target="../slideLayouts/slideLayout120.xml"/><Relationship Id="rId67" Type="http://schemas.openxmlformats.org/officeDocument/2006/relationships/image" Target="../media/image1.emf"/><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slideLayout" Target="../slideLayouts/slideLayout115.xml"/><Relationship Id="rId62" Type="http://schemas.openxmlformats.org/officeDocument/2006/relationships/theme" Target="../theme/theme2.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slideLayout" Target="../slideLayouts/slideLayout118.xml"/><Relationship Id="rId10" Type="http://schemas.openxmlformats.org/officeDocument/2006/relationships/slideLayout" Target="../slideLayouts/slideLayout71.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 Id="rId60" Type="http://schemas.openxmlformats.org/officeDocument/2006/relationships/slideLayout" Target="../slideLayouts/slideLayout121.xml"/><Relationship Id="rId65" Type="http://schemas.openxmlformats.org/officeDocument/2006/relationships/tags" Target="../tags/tag4.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9"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8.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55" Type="http://schemas.openxmlformats.org/officeDocument/2006/relationships/slideLayout" Target="../slideLayouts/slideLayout177.xml"/><Relationship Id="rId63" Type="http://schemas.openxmlformats.org/officeDocument/2006/relationships/vmlDrawing" Target="../drawings/vmlDrawing3.v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slideLayout" Target="../slideLayouts/slideLayout175.xml"/><Relationship Id="rId58" Type="http://schemas.openxmlformats.org/officeDocument/2006/relationships/slideLayout" Target="../slideLayouts/slideLayout180.xml"/><Relationship Id="rId66" Type="http://schemas.openxmlformats.org/officeDocument/2006/relationships/oleObject" Target="../embeddings/oleObject1.bin"/><Relationship Id="rId5" Type="http://schemas.openxmlformats.org/officeDocument/2006/relationships/slideLayout" Target="../slideLayouts/slideLayout127.xml"/><Relationship Id="rId61" Type="http://schemas.openxmlformats.org/officeDocument/2006/relationships/slideLayout" Target="../slideLayouts/slideLayout183.xml"/><Relationship Id="rId19" Type="http://schemas.openxmlformats.org/officeDocument/2006/relationships/slideLayout" Target="../slideLayouts/slideLayout14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56" Type="http://schemas.openxmlformats.org/officeDocument/2006/relationships/slideLayout" Target="../slideLayouts/slideLayout178.xml"/><Relationship Id="rId64" Type="http://schemas.openxmlformats.org/officeDocument/2006/relationships/tags" Target="../tags/tag5.xml"/><Relationship Id="rId8" Type="http://schemas.openxmlformats.org/officeDocument/2006/relationships/slideLayout" Target="../slideLayouts/slideLayout130.xml"/><Relationship Id="rId51" Type="http://schemas.openxmlformats.org/officeDocument/2006/relationships/slideLayout" Target="../slideLayouts/slideLayout173.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59" Type="http://schemas.openxmlformats.org/officeDocument/2006/relationships/slideLayout" Target="../slideLayouts/slideLayout181.xml"/><Relationship Id="rId67" Type="http://schemas.openxmlformats.org/officeDocument/2006/relationships/image" Target="../media/image1.emf"/><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54" Type="http://schemas.openxmlformats.org/officeDocument/2006/relationships/slideLayout" Target="../slideLayouts/slideLayout176.xml"/><Relationship Id="rId62" Type="http://schemas.openxmlformats.org/officeDocument/2006/relationships/theme" Target="../theme/theme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 Id="rId57" Type="http://schemas.openxmlformats.org/officeDocument/2006/relationships/slideLayout" Target="../slideLayouts/slideLayout179.xml"/><Relationship Id="rId10" Type="http://schemas.openxmlformats.org/officeDocument/2006/relationships/slideLayout" Target="../slideLayouts/slideLayout132.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slideLayout" Target="../slideLayouts/slideLayout174.xml"/><Relationship Id="rId60" Type="http://schemas.openxmlformats.org/officeDocument/2006/relationships/slideLayout" Target="../slideLayouts/slideLayout182.xml"/><Relationship Id="rId65" Type="http://schemas.openxmlformats.org/officeDocument/2006/relationships/tags" Target="../tags/tag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9" Type="http://schemas.openxmlformats.org/officeDocument/2006/relationships/slideLayout" Target="../slideLayouts/slideLayout16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09.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slideLayout" Target="../slideLayouts/slideLayout230.xml"/><Relationship Id="rId50" Type="http://schemas.openxmlformats.org/officeDocument/2006/relationships/slideLayout" Target="../slideLayouts/slideLayout233.xml"/><Relationship Id="rId55" Type="http://schemas.openxmlformats.org/officeDocument/2006/relationships/slideLayout" Target="../slideLayouts/slideLayout238.xml"/><Relationship Id="rId63" Type="http://schemas.openxmlformats.org/officeDocument/2006/relationships/vmlDrawing" Target="../drawings/vmlDrawing4.v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3" Type="http://schemas.openxmlformats.org/officeDocument/2006/relationships/slideLayout" Target="../slideLayouts/slideLayout236.xml"/><Relationship Id="rId58" Type="http://schemas.openxmlformats.org/officeDocument/2006/relationships/slideLayout" Target="../slideLayouts/slideLayout241.xml"/><Relationship Id="rId66" Type="http://schemas.openxmlformats.org/officeDocument/2006/relationships/oleObject" Target="../embeddings/oleObject2.bin"/><Relationship Id="rId5" Type="http://schemas.openxmlformats.org/officeDocument/2006/relationships/slideLayout" Target="../slideLayouts/slideLayout188.xml"/><Relationship Id="rId61" Type="http://schemas.openxmlformats.org/officeDocument/2006/relationships/slideLayout" Target="../slideLayouts/slideLayout244.xml"/><Relationship Id="rId19" Type="http://schemas.openxmlformats.org/officeDocument/2006/relationships/slideLayout" Target="../slideLayouts/slideLayout20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48" Type="http://schemas.openxmlformats.org/officeDocument/2006/relationships/slideLayout" Target="../slideLayouts/slideLayout231.xml"/><Relationship Id="rId56" Type="http://schemas.openxmlformats.org/officeDocument/2006/relationships/slideLayout" Target="../slideLayouts/slideLayout239.xml"/><Relationship Id="rId64" Type="http://schemas.openxmlformats.org/officeDocument/2006/relationships/tags" Target="../tags/tag7.xml"/><Relationship Id="rId8" Type="http://schemas.openxmlformats.org/officeDocument/2006/relationships/slideLayout" Target="../slideLayouts/slideLayout191.xml"/><Relationship Id="rId51" Type="http://schemas.openxmlformats.org/officeDocument/2006/relationships/slideLayout" Target="../slideLayouts/slideLayout234.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59" Type="http://schemas.openxmlformats.org/officeDocument/2006/relationships/slideLayout" Target="../slideLayouts/slideLayout242.xml"/><Relationship Id="rId67" Type="http://schemas.openxmlformats.org/officeDocument/2006/relationships/image" Target="../media/image1.emf"/><Relationship Id="rId20" Type="http://schemas.openxmlformats.org/officeDocument/2006/relationships/slideLayout" Target="../slideLayouts/slideLayout203.xml"/><Relationship Id="rId41" Type="http://schemas.openxmlformats.org/officeDocument/2006/relationships/slideLayout" Target="../slideLayouts/slideLayout224.xml"/><Relationship Id="rId54" Type="http://schemas.openxmlformats.org/officeDocument/2006/relationships/slideLayout" Target="../slideLayouts/slideLayout237.xml"/><Relationship Id="rId62" Type="http://schemas.openxmlformats.org/officeDocument/2006/relationships/theme" Target="../theme/theme4.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49" Type="http://schemas.openxmlformats.org/officeDocument/2006/relationships/slideLayout" Target="../slideLayouts/slideLayout232.xml"/><Relationship Id="rId57" Type="http://schemas.openxmlformats.org/officeDocument/2006/relationships/slideLayout" Target="../slideLayouts/slideLayout240.xml"/><Relationship Id="rId10" Type="http://schemas.openxmlformats.org/officeDocument/2006/relationships/slideLayout" Target="../slideLayouts/slideLayout193.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52" Type="http://schemas.openxmlformats.org/officeDocument/2006/relationships/slideLayout" Target="../slideLayouts/slideLayout235.xml"/><Relationship Id="rId60" Type="http://schemas.openxmlformats.org/officeDocument/2006/relationships/slideLayout" Target="../slideLayouts/slideLayout243.xml"/><Relationship Id="rId65" Type="http://schemas.openxmlformats.org/officeDocument/2006/relationships/tags" Target="../tags/tag8.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9" Type="http://schemas.openxmlformats.org/officeDocument/2006/relationships/slideLayout" Target="../slideLayouts/slideLayout22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70.xml"/><Relationship Id="rId21" Type="http://schemas.openxmlformats.org/officeDocument/2006/relationships/slideLayout" Target="../slideLayouts/slideLayout265.xml"/><Relationship Id="rId34" Type="http://schemas.openxmlformats.org/officeDocument/2006/relationships/slideLayout" Target="../slideLayouts/slideLayout278.xml"/><Relationship Id="rId42" Type="http://schemas.openxmlformats.org/officeDocument/2006/relationships/slideLayout" Target="../slideLayouts/slideLayout286.xml"/><Relationship Id="rId47" Type="http://schemas.openxmlformats.org/officeDocument/2006/relationships/slideLayout" Target="../slideLayouts/slideLayout291.xml"/><Relationship Id="rId50" Type="http://schemas.openxmlformats.org/officeDocument/2006/relationships/slideLayout" Target="../slideLayouts/slideLayout294.xml"/><Relationship Id="rId55" Type="http://schemas.openxmlformats.org/officeDocument/2006/relationships/slideLayout" Target="../slideLayouts/slideLayout299.xml"/><Relationship Id="rId63" Type="http://schemas.openxmlformats.org/officeDocument/2006/relationships/vmlDrawing" Target="../drawings/vmlDrawing5.vml"/><Relationship Id="rId7" Type="http://schemas.openxmlformats.org/officeDocument/2006/relationships/slideLayout" Target="../slideLayouts/slideLayout251.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9" Type="http://schemas.openxmlformats.org/officeDocument/2006/relationships/slideLayout" Target="../slideLayouts/slideLayout273.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37" Type="http://schemas.openxmlformats.org/officeDocument/2006/relationships/slideLayout" Target="../slideLayouts/slideLayout281.xml"/><Relationship Id="rId40" Type="http://schemas.openxmlformats.org/officeDocument/2006/relationships/slideLayout" Target="../slideLayouts/slideLayout284.xml"/><Relationship Id="rId45" Type="http://schemas.openxmlformats.org/officeDocument/2006/relationships/slideLayout" Target="../slideLayouts/slideLayout289.xml"/><Relationship Id="rId53" Type="http://schemas.openxmlformats.org/officeDocument/2006/relationships/slideLayout" Target="../slideLayouts/slideLayout297.xml"/><Relationship Id="rId58" Type="http://schemas.openxmlformats.org/officeDocument/2006/relationships/slideLayout" Target="../slideLayouts/slideLayout302.xml"/><Relationship Id="rId66" Type="http://schemas.openxmlformats.org/officeDocument/2006/relationships/oleObject" Target="../embeddings/oleObject1.bin"/><Relationship Id="rId5" Type="http://schemas.openxmlformats.org/officeDocument/2006/relationships/slideLayout" Target="../slideLayouts/slideLayout249.xml"/><Relationship Id="rId61" Type="http://schemas.openxmlformats.org/officeDocument/2006/relationships/slideLayout" Target="../slideLayouts/slideLayout305.xml"/><Relationship Id="rId19" Type="http://schemas.openxmlformats.org/officeDocument/2006/relationships/slideLayout" Target="../slideLayouts/slideLayout26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slideLayout" Target="../slideLayouts/slideLayout279.xml"/><Relationship Id="rId43" Type="http://schemas.openxmlformats.org/officeDocument/2006/relationships/slideLayout" Target="../slideLayouts/slideLayout287.xml"/><Relationship Id="rId48" Type="http://schemas.openxmlformats.org/officeDocument/2006/relationships/slideLayout" Target="../slideLayouts/slideLayout292.xml"/><Relationship Id="rId56" Type="http://schemas.openxmlformats.org/officeDocument/2006/relationships/slideLayout" Target="../slideLayouts/slideLayout300.xml"/><Relationship Id="rId64" Type="http://schemas.openxmlformats.org/officeDocument/2006/relationships/tags" Target="../tags/tag9.xml"/><Relationship Id="rId8" Type="http://schemas.openxmlformats.org/officeDocument/2006/relationships/slideLayout" Target="../slideLayouts/slideLayout252.xml"/><Relationship Id="rId51" Type="http://schemas.openxmlformats.org/officeDocument/2006/relationships/slideLayout" Target="../slideLayouts/slideLayout295.xml"/><Relationship Id="rId3" Type="http://schemas.openxmlformats.org/officeDocument/2006/relationships/slideLayout" Target="../slideLayouts/slideLayout247.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38" Type="http://schemas.openxmlformats.org/officeDocument/2006/relationships/slideLayout" Target="../slideLayouts/slideLayout282.xml"/><Relationship Id="rId46" Type="http://schemas.openxmlformats.org/officeDocument/2006/relationships/slideLayout" Target="../slideLayouts/slideLayout290.xml"/><Relationship Id="rId59" Type="http://schemas.openxmlformats.org/officeDocument/2006/relationships/slideLayout" Target="../slideLayouts/slideLayout303.xml"/><Relationship Id="rId67" Type="http://schemas.openxmlformats.org/officeDocument/2006/relationships/image" Target="../media/image1.emf"/><Relationship Id="rId20" Type="http://schemas.openxmlformats.org/officeDocument/2006/relationships/slideLayout" Target="../slideLayouts/slideLayout264.xml"/><Relationship Id="rId41" Type="http://schemas.openxmlformats.org/officeDocument/2006/relationships/slideLayout" Target="../slideLayouts/slideLayout285.xml"/><Relationship Id="rId54" Type="http://schemas.openxmlformats.org/officeDocument/2006/relationships/slideLayout" Target="../slideLayouts/slideLayout298.xml"/><Relationship Id="rId62" Type="http://schemas.openxmlformats.org/officeDocument/2006/relationships/theme" Target="../theme/theme5.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slideLayout" Target="../slideLayouts/slideLayout280.xml"/><Relationship Id="rId49" Type="http://schemas.openxmlformats.org/officeDocument/2006/relationships/slideLayout" Target="../slideLayouts/slideLayout293.xml"/><Relationship Id="rId57" Type="http://schemas.openxmlformats.org/officeDocument/2006/relationships/slideLayout" Target="../slideLayouts/slideLayout301.xml"/><Relationship Id="rId10" Type="http://schemas.openxmlformats.org/officeDocument/2006/relationships/slideLayout" Target="../slideLayouts/slideLayout254.xml"/><Relationship Id="rId31" Type="http://schemas.openxmlformats.org/officeDocument/2006/relationships/slideLayout" Target="../slideLayouts/slideLayout275.xml"/><Relationship Id="rId44" Type="http://schemas.openxmlformats.org/officeDocument/2006/relationships/slideLayout" Target="../slideLayouts/slideLayout288.xml"/><Relationship Id="rId52" Type="http://schemas.openxmlformats.org/officeDocument/2006/relationships/slideLayout" Target="../slideLayouts/slideLayout296.xml"/><Relationship Id="rId60" Type="http://schemas.openxmlformats.org/officeDocument/2006/relationships/slideLayout" Target="../slideLayouts/slideLayout304.xml"/><Relationship Id="rId65" Type="http://schemas.openxmlformats.org/officeDocument/2006/relationships/tags" Target="../tags/tag10.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39" Type="http://schemas.openxmlformats.org/officeDocument/2006/relationships/slideLayout" Target="../slideLayouts/slideLayout283.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31.xml"/><Relationship Id="rId21" Type="http://schemas.openxmlformats.org/officeDocument/2006/relationships/slideLayout" Target="../slideLayouts/slideLayout326.xml"/><Relationship Id="rId34" Type="http://schemas.openxmlformats.org/officeDocument/2006/relationships/slideLayout" Target="../slideLayouts/slideLayout339.xml"/><Relationship Id="rId42" Type="http://schemas.openxmlformats.org/officeDocument/2006/relationships/slideLayout" Target="../slideLayouts/slideLayout347.xml"/><Relationship Id="rId47" Type="http://schemas.openxmlformats.org/officeDocument/2006/relationships/slideLayout" Target="../slideLayouts/slideLayout352.xml"/><Relationship Id="rId50" Type="http://schemas.openxmlformats.org/officeDocument/2006/relationships/slideLayout" Target="../slideLayouts/slideLayout355.xml"/><Relationship Id="rId55" Type="http://schemas.openxmlformats.org/officeDocument/2006/relationships/slideLayout" Target="../slideLayouts/slideLayout360.xml"/><Relationship Id="rId63" Type="http://schemas.openxmlformats.org/officeDocument/2006/relationships/vmlDrawing" Target="../drawings/vmlDrawing6.vml"/><Relationship Id="rId7" Type="http://schemas.openxmlformats.org/officeDocument/2006/relationships/slideLayout" Target="../slideLayouts/slideLayout312.xml"/><Relationship Id="rId2" Type="http://schemas.openxmlformats.org/officeDocument/2006/relationships/slideLayout" Target="../slideLayouts/slideLayout307.xml"/><Relationship Id="rId16" Type="http://schemas.openxmlformats.org/officeDocument/2006/relationships/slideLayout" Target="../slideLayouts/slideLayout321.xml"/><Relationship Id="rId29" Type="http://schemas.openxmlformats.org/officeDocument/2006/relationships/slideLayout" Target="../slideLayouts/slideLayout334.xml"/><Relationship Id="rId11" Type="http://schemas.openxmlformats.org/officeDocument/2006/relationships/slideLayout" Target="../slideLayouts/slideLayout316.xml"/><Relationship Id="rId24" Type="http://schemas.openxmlformats.org/officeDocument/2006/relationships/slideLayout" Target="../slideLayouts/slideLayout329.xml"/><Relationship Id="rId32" Type="http://schemas.openxmlformats.org/officeDocument/2006/relationships/slideLayout" Target="../slideLayouts/slideLayout337.xml"/><Relationship Id="rId37" Type="http://schemas.openxmlformats.org/officeDocument/2006/relationships/slideLayout" Target="../slideLayouts/slideLayout342.xml"/><Relationship Id="rId40" Type="http://schemas.openxmlformats.org/officeDocument/2006/relationships/slideLayout" Target="../slideLayouts/slideLayout345.xml"/><Relationship Id="rId45" Type="http://schemas.openxmlformats.org/officeDocument/2006/relationships/slideLayout" Target="../slideLayouts/slideLayout350.xml"/><Relationship Id="rId53" Type="http://schemas.openxmlformats.org/officeDocument/2006/relationships/slideLayout" Target="../slideLayouts/slideLayout358.xml"/><Relationship Id="rId58" Type="http://schemas.openxmlformats.org/officeDocument/2006/relationships/slideLayout" Target="../slideLayouts/slideLayout363.xml"/><Relationship Id="rId66" Type="http://schemas.openxmlformats.org/officeDocument/2006/relationships/oleObject" Target="../embeddings/oleObject1.bin"/><Relationship Id="rId5" Type="http://schemas.openxmlformats.org/officeDocument/2006/relationships/slideLayout" Target="../slideLayouts/slideLayout310.xml"/><Relationship Id="rId61" Type="http://schemas.openxmlformats.org/officeDocument/2006/relationships/slideLayout" Target="../slideLayouts/slideLayout366.xml"/><Relationship Id="rId19" Type="http://schemas.openxmlformats.org/officeDocument/2006/relationships/slideLayout" Target="../slideLayouts/slideLayout324.xml"/><Relationship Id="rId14" Type="http://schemas.openxmlformats.org/officeDocument/2006/relationships/slideLayout" Target="../slideLayouts/slideLayout319.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30" Type="http://schemas.openxmlformats.org/officeDocument/2006/relationships/slideLayout" Target="../slideLayouts/slideLayout335.xml"/><Relationship Id="rId35" Type="http://schemas.openxmlformats.org/officeDocument/2006/relationships/slideLayout" Target="../slideLayouts/slideLayout340.xml"/><Relationship Id="rId43" Type="http://schemas.openxmlformats.org/officeDocument/2006/relationships/slideLayout" Target="../slideLayouts/slideLayout348.xml"/><Relationship Id="rId48" Type="http://schemas.openxmlformats.org/officeDocument/2006/relationships/slideLayout" Target="../slideLayouts/slideLayout353.xml"/><Relationship Id="rId56" Type="http://schemas.openxmlformats.org/officeDocument/2006/relationships/slideLayout" Target="../slideLayouts/slideLayout361.xml"/><Relationship Id="rId64" Type="http://schemas.openxmlformats.org/officeDocument/2006/relationships/tags" Target="../tags/tag11.xml"/><Relationship Id="rId8" Type="http://schemas.openxmlformats.org/officeDocument/2006/relationships/slideLayout" Target="../slideLayouts/slideLayout313.xml"/><Relationship Id="rId51" Type="http://schemas.openxmlformats.org/officeDocument/2006/relationships/slideLayout" Target="../slideLayouts/slideLayout356.xml"/><Relationship Id="rId3" Type="http://schemas.openxmlformats.org/officeDocument/2006/relationships/slideLayout" Target="../slideLayouts/slideLayout308.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25" Type="http://schemas.openxmlformats.org/officeDocument/2006/relationships/slideLayout" Target="../slideLayouts/slideLayout330.xml"/><Relationship Id="rId33" Type="http://schemas.openxmlformats.org/officeDocument/2006/relationships/slideLayout" Target="../slideLayouts/slideLayout338.xml"/><Relationship Id="rId38" Type="http://schemas.openxmlformats.org/officeDocument/2006/relationships/slideLayout" Target="../slideLayouts/slideLayout343.xml"/><Relationship Id="rId46" Type="http://schemas.openxmlformats.org/officeDocument/2006/relationships/slideLayout" Target="../slideLayouts/slideLayout351.xml"/><Relationship Id="rId59" Type="http://schemas.openxmlformats.org/officeDocument/2006/relationships/slideLayout" Target="../slideLayouts/slideLayout364.xml"/><Relationship Id="rId67" Type="http://schemas.openxmlformats.org/officeDocument/2006/relationships/image" Target="../media/image1.emf"/><Relationship Id="rId20" Type="http://schemas.openxmlformats.org/officeDocument/2006/relationships/slideLayout" Target="../slideLayouts/slideLayout325.xml"/><Relationship Id="rId41" Type="http://schemas.openxmlformats.org/officeDocument/2006/relationships/slideLayout" Target="../slideLayouts/slideLayout346.xml"/><Relationship Id="rId54" Type="http://schemas.openxmlformats.org/officeDocument/2006/relationships/slideLayout" Target="../slideLayouts/slideLayout359.xml"/><Relationship Id="rId62" Type="http://schemas.openxmlformats.org/officeDocument/2006/relationships/theme" Target="../theme/theme6.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36" Type="http://schemas.openxmlformats.org/officeDocument/2006/relationships/slideLayout" Target="../slideLayouts/slideLayout341.xml"/><Relationship Id="rId49" Type="http://schemas.openxmlformats.org/officeDocument/2006/relationships/slideLayout" Target="../slideLayouts/slideLayout354.xml"/><Relationship Id="rId57" Type="http://schemas.openxmlformats.org/officeDocument/2006/relationships/slideLayout" Target="../slideLayouts/slideLayout362.xml"/><Relationship Id="rId10" Type="http://schemas.openxmlformats.org/officeDocument/2006/relationships/slideLayout" Target="../slideLayouts/slideLayout315.xml"/><Relationship Id="rId31" Type="http://schemas.openxmlformats.org/officeDocument/2006/relationships/slideLayout" Target="../slideLayouts/slideLayout336.xml"/><Relationship Id="rId44" Type="http://schemas.openxmlformats.org/officeDocument/2006/relationships/slideLayout" Target="../slideLayouts/slideLayout349.xml"/><Relationship Id="rId52" Type="http://schemas.openxmlformats.org/officeDocument/2006/relationships/slideLayout" Target="../slideLayouts/slideLayout357.xml"/><Relationship Id="rId60" Type="http://schemas.openxmlformats.org/officeDocument/2006/relationships/slideLayout" Target="../slideLayouts/slideLayout365.xml"/><Relationship Id="rId65" Type="http://schemas.openxmlformats.org/officeDocument/2006/relationships/tags" Target="../tags/tag12.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39" Type="http://schemas.openxmlformats.org/officeDocument/2006/relationships/slideLayout" Target="../slideLayouts/slideLayout3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64"/>
            </p:custDataLst>
            <p:extLst>
              <p:ext uri="{D42A27DB-BD31-4B8C-83A1-F6EECF244321}">
                <p14:modId xmlns:p14="http://schemas.microsoft.com/office/powerpoint/2010/main" val="37786482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5" name="think-cell Slide" r:id="rId66" imgW="347" imgH="348" progId="TCLayout.ActiveDocument.1">
                  <p:embed/>
                </p:oleObj>
              </mc:Choice>
              <mc:Fallback>
                <p:oleObj name="think-cell Slide" r:id="rId66"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6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65"/>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733" b="0" i="0" u="none" cap="none" baseline="0" dirty="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8"/>
            <a:ext cx="11176000" cy="531428"/>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p:cNvSpPr>
            <a:spLocks noGrp="1"/>
          </p:cNvSpPr>
          <p:nvPr>
            <p:ph type="body" idx="1"/>
          </p:nvPr>
        </p:nvSpPr>
        <p:spPr>
          <a:xfrm>
            <a:off x="508000" y="1825625"/>
            <a:ext cx="11176000" cy="435133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kumimoji="0" lang="en-ID" sz="1800" b="0" i="0" u="none" strike="noStrike" kern="1200" cap="none" spc="0" normalizeH="0" baseline="0" noProof="0" dirty="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1"/>
            <a:ext cx="814269" cy="365125"/>
          </a:xfrm>
          <a:prstGeom prst="rect">
            <a:avLst/>
          </a:prstGeom>
        </p:spPr>
        <p:txBody>
          <a:bodyPr vert="horz" lIns="0" tIns="0" rIns="0" bIns="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fld id="{B01F1F41-2107-2B4A-AFD3-0A9C893A5C18}" type="datetimeFigureOut">
              <a:rPr lang="en-US" smtClean="0"/>
              <a:pPr/>
              <a:t>7/16/2021</a:t>
            </a:fld>
            <a:endParaRPr lang="en-US"/>
          </a:p>
        </p:txBody>
      </p:sp>
      <p:sp>
        <p:nvSpPr>
          <p:cNvPr id="5" name="Footer Placeholder 4"/>
          <p:cNvSpPr>
            <a:spLocks noGrp="1"/>
          </p:cNvSpPr>
          <p:nvPr>
            <p:ph type="ftr" sz="quarter" idx="3"/>
          </p:nvPr>
        </p:nvSpPr>
        <p:spPr>
          <a:xfrm>
            <a:off x="1340532" y="6356351"/>
            <a:ext cx="2823179" cy="365125"/>
          </a:xfrm>
          <a:prstGeom prst="rect">
            <a:avLst/>
          </a:prstGeom>
        </p:spPr>
        <p:txBody>
          <a:bodyPr vert="horz" lIns="91440" tIns="45720" rIns="91440" bIns="4572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1"/>
            <a:ext cx="2743200" cy="365125"/>
          </a:xfrm>
          <a:prstGeom prst="rect">
            <a:avLst/>
          </a:prstGeom>
        </p:spPr>
        <p:txBody>
          <a:bodyPr vert="horz" lIns="0" tIns="0" rIns="0" bIns="0" rtlCol="0" anchor="ctr"/>
          <a:lstStyle>
            <a:lvl1pPr algn="r">
              <a:defRPr sz="1067" b="0" i="0">
                <a:solidFill>
                  <a:schemeClr val="tx1"/>
                </a:solidFill>
                <a:latin typeface="Source Sans Pro" panose="020B0503030403020204" pitchFamily="34" charset="0"/>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3520289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p:titleStyle>
    <p:body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0">
          <p15:clr>
            <a:srgbClr val="F26B43"/>
          </p15:clr>
        </p15:guide>
        <p15:guide id="4" pos="5520">
          <p15:clr>
            <a:srgbClr val="F26B43"/>
          </p15:clr>
        </p15:guide>
        <p15:guide id="5" orient="horz" pos="348">
          <p15:clr>
            <a:srgbClr val="F26B43"/>
          </p15:clr>
        </p15:guide>
        <p15:guide id="6" orient="horz" pos="1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64"/>
            </p:custDataLst>
            <p:extLst>
              <p:ext uri="{D42A27DB-BD31-4B8C-83A1-F6EECF244321}">
                <p14:modId xmlns:p14="http://schemas.microsoft.com/office/powerpoint/2010/main" val="271090408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49" name="think-cell Slide" r:id="rId66" imgW="347" imgH="348" progId="TCLayout.ActiveDocument.1">
                  <p:embed/>
                </p:oleObj>
              </mc:Choice>
              <mc:Fallback>
                <p:oleObj name="think-cell Slide" r:id="rId66"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6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65"/>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733" b="0" i="0" u="none" cap="none" baseline="0" dirty="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8"/>
            <a:ext cx="11176000" cy="531428"/>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p:cNvSpPr>
            <a:spLocks noGrp="1"/>
          </p:cNvSpPr>
          <p:nvPr>
            <p:ph type="body" idx="1"/>
          </p:nvPr>
        </p:nvSpPr>
        <p:spPr>
          <a:xfrm>
            <a:off x="508000" y="1825625"/>
            <a:ext cx="11176000" cy="435133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kumimoji="0" lang="en-ID" sz="1800" b="0" i="0" u="none" strike="noStrike" kern="1200" cap="none" spc="0" normalizeH="0" baseline="0" noProof="0" dirty="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1"/>
            <a:ext cx="814269" cy="365125"/>
          </a:xfrm>
          <a:prstGeom prst="rect">
            <a:avLst/>
          </a:prstGeom>
        </p:spPr>
        <p:txBody>
          <a:bodyPr vert="horz" lIns="0" tIns="0" rIns="0" bIns="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fld id="{B01F1F41-2107-2B4A-AFD3-0A9C893A5C18}" type="datetimeFigureOut">
              <a:rPr lang="en-US" smtClean="0"/>
              <a:pPr/>
              <a:t>7/16/2021</a:t>
            </a:fld>
            <a:endParaRPr lang="en-US"/>
          </a:p>
        </p:txBody>
      </p:sp>
      <p:sp>
        <p:nvSpPr>
          <p:cNvPr id="5" name="Footer Placeholder 4"/>
          <p:cNvSpPr>
            <a:spLocks noGrp="1"/>
          </p:cNvSpPr>
          <p:nvPr>
            <p:ph type="ftr" sz="quarter" idx="3"/>
          </p:nvPr>
        </p:nvSpPr>
        <p:spPr>
          <a:xfrm>
            <a:off x="1340532" y="6356351"/>
            <a:ext cx="2823179" cy="365125"/>
          </a:xfrm>
          <a:prstGeom prst="rect">
            <a:avLst/>
          </a:prstGeom>
        </p:spPr>
        <p:txBody>
          <a:bodyPr vert="horz" lIns="91440" tIns="45720" rIns="91440" bIns="4572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1"/>
            <a:ext cx="2743200" cy="365125"/>
          </a:xfrm>
          <a:prstGeom prst="rect">
            <a:avLst/>
          </a:prstGeom>
        </p:spPr>
        <p:txBody>
          <a:bodyPr vert="horz" lIns="0" tIns="0" rIns="0" bIns="0" rtlCol="0" anchor="ctr"/>
          <a:lstStyle>
            <a:lvl1pPr algn="r">
              <a:defRPr sz="1067" b="0" i="0">
                <a:solidFill>
                  <a:schemeClr val="tx1"/>
                </a:solidFill>
                <a:latin typeface="Source Sans Pro" panose="020B0503030403020204" pitchFamily="34" charset="0"/>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2944020525"/>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 id="2147483824" r:id="rId40"/>
    <p:sldLayoutId id="2147483825" r:id="rId41"/>
    <p:sldLayoutId id="2147483826" r:id="rId42"/>
    <p:sldLayoutId id="2147483827" r:id="rId43"/>
    <p:sldLayoutId id="2147483828" r:id="rId44"/>
    <p:sldLayoutId id="2147483829" r:id="rId45"/>
    <p:sldLayoutId id="2147483830" r:id="rId46"/>
    <p:sldLayoutId id="2147483831" r:id="rId47"/>
    <p:sldLayoutId id="2147483832" r:id="rId48"/>
    <p:sldLayoutId id="2147483833" r:id="rId49"/>
    <p:sldLayoutId id="2147483834" r:id="rId50"/>
    <p:sldLayoutId id="2147483835" r:id="rId51"/>
    <p:sldLayoutId id="2147483836" r:id="rId52"/>
    <p:sldLayoutId id="2147483837" r:id="rId53"/>
    <p:sldLayoutId id="2147483838" r:id="rId54"/>
    <p:sldLayoutId id="2147483839" r:id="rId55"/>
    <p:sldLayoutId id="2147483840" r:id="rId56"/>
    <p:sldLayoutId id="2147483841" r:id="rId57"/>
    <p:sldLayoutId id="2147483842" r:id="rId58"/>
    <p:sldLayoutId id="2147483843" r:id="rId59"/>
    <p:sldLayoutId id="2147483844" r:id="rId60"/>
    <p:sldLayoutId id="2147483845"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p:titleStyle>
    <p:body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0">
          <p15:clr>
            <a:srgbClr val="F26B43"/>
          </p15:clr>
        </p15:guide>
        <p15:guide id="4" pos="5520">
          <p15:clr>
            <a:srgbClr val="F26B43"/>
          </p15:clr>
        </p15:guide>
        <p15:guide id="5" orient="horz" pos="348">
          <p15:clr>
            <a:srgbClr val="F26B43"/>
          </p15:clr>
        </p15:guide>
        <p15:guide id="6" orient="horz" pos="1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64"/>
            </p:custDataLst>
            <p:extLst>
              <p:ext uri="{D42A27DB-BD31-4B8C-83A1-F6EECF244321}">
                <p14:modId xmlns:p14="http://schemas.microsoft.com/office/powerpoint/2010/main" val="185093026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3" name="think-cell Slide" r:id="rId66" imgW="347" imgH="348" progId="TCLayout.ActiveDocument.1">
                  <p:embed/>
                </p:oleObj>
              </mc:Choice>
              <mc:Fallback>
                <p:oleObj name="think-cell Slide" r:id="rId66"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6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65"/>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733" b="0" i="0" u="none" cap="none" baseline="0" dirty="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8"/>
            <a:ext cx="11176000" cy="531428"/>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p:cNvSpPr>
            <a:spLocks noGrp="1"/>
          </p:cNvSpPr>
          <p:nvPr>
            <p:ph type="body" idx="1"/>
          </p:nvPr>
        </p:nvSpPr>
        <p:spPr>
          <a:xfrm>
            <a:off x="508000" y="1825625"/>
            <a:ext cx="11176000" cy="435133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kumimoji="0" lang="en-ID" sz="1800" b="0" i="0" u="none" strike="noStrike" kern="1200" cap="none" spc="0" normalizeH="0" baseline="0" noProof="0" dirty="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1"/>
            <a:ext cx="814269" cy="365125"/>
          </a:xfrm>
          <a:prstGeom prst="rect">
            <a:avLst/>
          </a:prstGeom>
        </p:spPr>
        <p:txBody>
          <a:bodyPr vert="horz" lIns="0" tIns="0" rIns="0" bIns="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fld id="{B01F1F41-2107-2B4A-AFD3-0A9C893A5C18}" type="datetimeFigureOut">
              <a:rPr lang="en-US" smtClean="0"/>
              <a:pPr/>
              <a:t>7/16/2021</a:t>
            </a:fld>
            <a:endParaRPr lang="en-US"/>
          </a:p>
        </p:txBody>
      </p:sp>
      <p:sp>
        <p:nvSpPr>
          <p:cNvPr id="5" name="Footer Placeholder 4"/>
          <p:cNvSpPr>
            <a:spLocks noGrp="1"/>
          </p:cNvSpPr>
          <p:nvPr>
            <p:ph type="ftr" sz="quarter" idx="3"/>
          </p:nvPr>
        </p:nvSpPr>
        <p:spPr>
          <a:xfrm>
            <a:off x="1340532" y="6356351"/>
            <a:ext cx="2823179" cy="365125"/>
          </a:xfrm>
          <a:prstGeom prst="rect">
            <a:avLst/>
          </a:prstGeom>
        </p:spPr>
        <p:txBody>
          <a:bodyPr vert="horz" lIns="91440" tIns="45720" rIns="91440" bIns="4572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1"/>
            <a:ext cx="2743200" cy="365125"/>
          </a:xfrm>
          <a:prstGeom prst="rect">
            <a:avLst/>
          </a:prstGeom>
        </p:spPr>
        <p:txBody>
          <a:bodyPr vert="horz" lIns="0" tIns="0" rIns="0" bIns="0" rtlCol="0" anchor="ctr"/>
          <a:lstStyle>
            <a:lvl1pPr algn="r">
              <a:defRPr sz="1067" b="0" i="0">
                <a:solidFill>
                  <a:schemeClr val="tx1"/>
                </a:solidFill>
                <a:latin typeface="Source Sans Pro" panose="020B0503030403020204" pitchFamily="34" charset="0"/>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4255457676"/>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 id="2147483880" r:id="rId34"/>
    <p:sldLayoutId id="2147483881" r:id="rId35"/>
    <p:sldLayoutId id="2147483882" r:id="rId36"/>
    <p:sldLayoutId id="2147483883" r:id="rId37"/>
    <p:sldLayoutId id="2147483884" r:id="rId38"/>
    <p:sldLayoutId id="2147483885" r:id="rId39"/>
    <p:sldLayoutId id="2147483886" r:id="rId40"/>
    <p:sldLayoutId id="2147483887" r:id="rId41"/>
    <p:sldLayoutId id="2147483888" r:id="rId42"/>
    <p:sldLayoutId id="2147483889" r:id="rId43"/>
    <p:sldLayoutId id="2147483890" r:id="rId44"/>
    <p:sldLayoutId id="2147483891" r:id="rId45"/>
    <p:sldLayoutId id="2147483892" r:id="rId46"/>
    <p:sldLayoutId id="2147483893" r:id="rId47"/>
    <p:sldLayoutId id="2147483894" r:id="rId48"/>
    <p:sldLayoutId id="2147483895" r:id="rId49"/>
    <p:sldLayoutId id="2147483896" r:id="rId50"/>
    <p:sldLayoutId id="2147483897" r:id="rId51"/>
    <p:sldLayoutId id="2147483898" r:id="rId52"/>
    <p:sldLayoutId id="2147483899" r:id="rId53"/>
    <p:sldLayoutId id="2147483900" r:id="rId54"/>
    <p:sldLayoutId id="2147483901" r:id="rId55"/>
    <p:sldLayoutId id="2147483902" r:id="rId56"/>
    <p:sldLayoutId id="2147483903" r:id="rId57"/>
    <p:sldLayoutId id="2147483904" r:id="rId58"/>
    <p:sldLayoutId id="2147483905" r:id="rId59"/>
    <p:sldLayoutId id="2147483906" r:id="rId60"/>
    <p:sldLayoutId id="2147483907"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p:titleStyle>
    <p:body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0">
          <p15:clr>
            <a:srgbClr val="F26B43"/>
          </p15:clr>
        </p15:guide>
        <p15:guide id="4" pos="5520">
          <p15:clr>
            <a:srgbClr val="F26B43"/>
          </p15:clr>
        </p15:guide>
        <p15:guide id="5" orient="horz" pos="348">
          <p15:clr>
            <a:srgbClr val="F26B43"/>
          </p15:clr>
        </p15:guide>
        <p15:guide id="6" orient="horz" pos="16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64"/>
            </p:custDataLst>
            <p:extLst>
              <p:ext uri="{D42A27DB-BD31-4B8C-83A1-F6EECF244321}">
                <p14:modId xmlns:p14="http://schemas.microsoft.com/office/powerpoint/2010/main" val="14817010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097" name="think-cell Slide" r:id="rId66" imgW="347" imgH="348" progId="TCLayout.ActiveDocument.1">
                  <p:embed/>
                </p:oleObj>
              </mc:Choice>
              <mc:Fallback>
                <p:oleObj name="think-cell Slide" r:id="rId66"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6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65"/>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733" b="0" i="0" u="none" cap="none" baseline="0" dirty="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8"/>
            <a:ext cx="11176000" cy="531428"/>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p:cNvSpPr>
            <a:spLocks noGrp="1"/>
          </p:cNvSpPr>
          <p:nvPr>
            <p:ph type="body" idx="1"/>
          </p:nvPr>
        </p:nvSpPr>
        <p:spPr>
          <a:xfrm>
            <a:off x="508000" y="1825625"/>
            <a:ext cx="11176000" cy="435133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kumimoji="0" lang="en-ID" sz="1800" b="0" i="0" u="none" strike="noStrike" kern="1200" cap="none" spc="0" normalizeH="0" baseline="0" noProof="0" dirty="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1"/>
            <a:ext cx="814269" cy="365125"/>
          </a:xfrm>
          <a:prstGeom prst="rect">
            <a:avLst/>
          </a:prstGeom>
        </p:spPr>
        <p:txBody>
          <a:bodyPr vert="horz" lIns="0" tIns="0" rIns="0" bIns="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fld id="{B01F1F41-2107-2B4A-AFD3-0A9C893A5C18}" type="datetimeFigureOut">
              <a:rPr lang="en-US" smtClean="0"/>
              <a:pPr/>
              <a:t>7/16/2021</a:t>
            </a:fld>
            <a:endParaRPr lang="en-US"/>
          </a:p>
        </p:txBody>
      </p:sp>
      <p:sp>
        <p:nvSpPr>
          <p:cNvPr id="5" name="Footer Placeholder 4"/>
          <p:cNvSpPr>
            <a:spLocks noGrp="1"/>
          </p:cNvSpPr>
          <p:nvPr>
            <p:ph type="ftr" sz="quarter" idx="3"/>
          </p:nvPr>
        </p:nvSpPr>
        <p:spPr>
          <a:xfrm>
            <a:off x="1340532" y="6356351"/>
            <a:ext cx="2823179" cy="365125"/>
          </a:xfrm>
          <a:prstGeom prst="rect">
            <a:avLst/>
          </a:prstGeom>
        </p:spPr>
        <p:txBody>
          <a:bodyPr vert="horz" lIns="91440" tIns="45720" rIns="91440" bIns="4572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1"/>
            <a:ext cx="2743200" cy="365125"/>
          </a:xfrm>
          <a:prstGeom prst="rect">
            <a:avLst/>
          </a:prstGeom>
        </p:spPr>
        <p:txBody>
          <a:bodyPr vert="horz" lIns="0" tIns="0" rIns="0" bIns="0" rtlCol="0" anchor="ctr"/>
          <a:lstStyle>
            <a:lvl1pPr algn="r">
              <a:defRPr sz="1067" b="0" i="0">
                <a:solidFill>
                  <a:schemeClr val="tx1"/>
                </a:solidFill>
                <a:latin typeface="Source Sans Pro" panose="020B0503030403020204" pitchFamily="34" charset="0"/>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2158057817"/>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 id="2147483933" r:id="rId25"/>
    <p:sldLayoutId id="2147483934" r:id="rId26"/>
    <p:sldLayoutId id="2147483935" r:id="rId27"/>
    <p:sldLayoutId id="2147483936" r:id="rId28"/>
    <p:sldLayoutId id="2147483937" r:id="rId29"/>
    <p:sldLayoutId id="2147483938" r:id="rId30"/>
    <p:sldLayoutId id="2147483939" r:id="rId31"/>
    <p:sldLayoutId id="2147483940" r:id="rId32"/>
    <p:sldLayoutId id="2147483941" r:id="rId33"/>
    <p:sldLayoutId id="2147483942" r:id="rId34"/>
    <p:sldLayoutId id="2147483943" r:id="rId35"/>
    <p:sldLayoutId id="2147483944" r:id="rId36"/>
    <p:sldLayoutId id="2147483945" r:id="rId37"/>
    <p:sldLayoutId id="2147483946" r:id="rId38"/>
    <p:sldLayoutId id="2147483947" r:id="rId39"/>
    <p:sldLayoutId id="2147483948" r:id="rId40"/>
    <p:sldLayoutId id="2147483949" r:id="rId41"/>
    <p:sldLayoutId id="2147483950" r:id="rId42"/>
    <p:sldLayoutId id="2147483951" r:id="rId43"/>
    <p:sldLayoutId id="2147483952" r:id="rId44"/>
    <p:sldLayoutId id="2147483953" r:id="rId45"/>
    <p:sldLayoutId id="2147483954" r:id="rId46"/>
    <p:sldLayoutId id="2147483955" r:id="rId47"/>
    <p:sldLayoutId id="2147483956" r:id="rId48"/>
    <p:sldLayoutId id="2147483957" r:id="rId49"/>
    <p:sldLayoutId id="2147483958" r:id="rId50"/>
    <p:sldLayoutId id="2147483959" r:id="rId51"/>
    <p:sldLayoutId id="2147483960" r:id="rId52"/>
    <p:sldLayoutId id="2147483961" r:id="rId53"/>
    <p:sldLayoutId id="2147483962" r:id="rId54"/>
    <p:sldLayoutId id="2147483963" r:id="rId55"/>
    <p:sldLayoutId id="2147483964" r:id="rId56"/>
    <p:sldLayoutId id="2147483965" r:id="rId57"/>
    <p:sldLayoutId id="2147483966" r:id="rId58"/>
    <p:sldLayoutId id="2147483967" r:id="rId59"/>
    <p:sldLayoutId id="2147483968" r:id="rId60"/>
    <p:sldLayoutId id="2147483969"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p:titleStyle>
    <p:body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0">
          <p15:clr>
            <a:srgbClr val="F26B43"/>
          </p15:clr>
        </p15:guide>
        <p15:guide id="4" pos="5520">
          <p15:clr>
            <a:srgbClr val="F26B43"/>
          </p15:clr>
        </p15:guide>
        <p15:guide id="5" orient="horz" pos="348">
          <p15:clr>
            <a:srgbClr val="F26B43"/>
          </p15:clr>
        </p15:guide>
        <p15:guide id="6" orient="horz" pos="1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64"/>
            </p:custDataLst>
            <p:extLst>
              <p:ext uri="{D42A27DB-BD31-4B8C-83A1-F6EECF244321}">
                <p14:modId xmlns:p14="http://schemas.microsoft.com/office/powerpoint/2010/main" val="157246340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21" name="think-cell Slide" r:id="rId66" imgW="347" imgH="348" progId="TCLayout.ActiveDocument.1">
                  <p:embed/>
                </p:oleObj>
              </mc:Choice>
              <mc:Fallback>
                <p:oleObj name="think-cell Slide" r:id="rId66"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6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65"/>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733" b="0" i="0" u="none" cap="none" baseline="0" dirty="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8"/>
            <a:ext cx="11176000" cy="531428"/>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p:cNvSpPr>
            <a:spLocks noGrp="1"/>
          </p:cNvSpPr>
          <p:nvPr>
            <p:ph type="body" idx="1"/>
          </p:nvPr>
        </p:nvSpPr>
        <p:spPr>
          <a:xfrm>
            <a:off x="508000" y="1825625"/>
            <a:ext cx="11176000" cy="435133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kumimoji="0" lang="en-ID" sz="1800" b="0" i="0" u="none" strike="noStrike" kern="1200" cap="none" spc="0" normalizeH="0" baseline="0" noProof="0" dirty="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1"/>
            <a:ext cx="814269" cy="365125"/>
          </a:xfrm>
          <a:prstGeom prst="rect">
            <a:avLst/>
          </a:prstGeom>
        </p:spPr>
        <p:txBody>
          <a:bodyPr vert="horz" lIns="0" tIns="0" rIns="0" bIns="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fld id="{B01F1F41-2107-2B4A-AFD3-0A9C893A5C18}" type="datetimeFigureOut">
              <a:rPr lang="en-US" smtClean="0"/>
              <a:pPr/>
              <a:t>7/16/2021</a:t>
            </a:fld>
            <a:endParaRPr lang="en-US"/>
          </a:p>
        </p:txBody>
      </p:sp>
      <p:sp>
        <p:nvSpPr>
          <p:cNvPr id="5" name="Footer Placeholder 4"/>
          <p:cNvSpPr>
            <a:spLocks noGrp="1"/>
          </p:cNvSpPr>
          <p:nvPr>
            <p:ph type="ftr" sz="quarter" idx="3"/>
          </p:nvPr>
        </p:nvSpPr>
        <p:spPr>
          <a:xfrm>
            <a:off x="1340532" y="6356351"/>
            <a:ext cx="2823179" cy="365125"/>
          </a:xfrm>
          <a:prstGeom prst="rect">
            <a:avLst/>
          </a:prstGeom>
        </p:spPr>
        <p:txBody>
          <a:bodyPr vert="horz" lIns="91440" tIns="45720" rIns="91440" bIns="4572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1"/>
            <a:ext cx="2743200" cy="365125"/>
          </a:xfrm>
          <a:prstGeom prst="rect">
            <a:avLst/>
          </a:prstGeom>
        </p:spPr>
        <p:txBody>
          <a:bodyPr vert="horz" lIns="0" tIns="0" rIns="0" bIns="0" rtlCol="0" anchor="ctr"/>
          <a:lstStyle>
            <a:lvl1pPr algn="r">
              <a:defRPr sz="1067" b="0" i="0">
                <a:solidFill>
                  <a:schemeClr val="tx1"/>
                </a:solidFill>
                <a:latin typeface="Source Sans Pro" panose="020B0503030403020204" pitchFamily="34" charset="0"/>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2690341193"/>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 id="2147484012" r:id="rId42"/>
    <p:sldLayoutId id="2147484013" r:id="rId43"/>
    <p:sldLayoutId id="2147484014" r:id="rId44"/>
    <p:sldLayoutId id="2147484015" r:id="rId45"/>
    <p:sldLayoutId id="2147484016" r:id="rId46"/>
    <p:sldLayoutId id="2147484017" r:id="rId47"/>
    <p:sldLayoutId id="2147484018" r:id="rId48"/>
    <p:sldLayoutId id="2147484019" r:id="rId49"/>
    <p:sldLayoutId id="2147484020" r:id="rId50"/>
    <p:sldLayoutId id="2147484021" r:id="rId51"/>
    <p:sldLayoutId id="2147484022" r:id="rId52"/>
    <p:sldLayoutId id="2147484023" r:id="rId53"/>
    <p:sldLayoutId id="2147484024" r:id="rId54"/>
    <p:sldLayoutId id="2147484025" r:id="rId55"/>
    <p:sldLayoutId id="2147484026" r:id="rId56"/>
    <p:sldLayoutId id="2147484027" r:id="rId57"/>
    <p:sldLayoutId id="2147484028" r:id="rId58"/>
    <p:sldLayoutId id="2147484029" r:id="rId59"/>
    <p:sldLayoutId id="2147484030" r:id="rId60"/>
    <p:sldLayoutId id="2147484031"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p:titleStyle>
    <p:body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0">
          <p15:clr>
            <a:srgbClr val="F26B43"/>
          </p15:clr>
        </p15:guide>
        <p15:guide id="4" pos="5520">
          <p15:clr>
            <a:srgbClr val="F26B43"/>
          </p15:clr>
        </p15:guide>
        <p15:guide id="5" orient="horz" pos="348">
          <p15:clr>
            <a:srgbClr val="F26B43"/>
          </p15:clr>
        </p15:guide>
        <p15:guide id="6" orient="horz" pos="1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EB9F79-29C7-4A83-BCAC-05890B9D0529}"/>
              </a:ext>
            </a:extLst>
          </p:cNvPr>
          <p:cNvGraphicFramePr>
            <a:graphicFrameLocks noChangeAspect="1"/>
          </p:cNvGraphicFramePr>
          <p:nvPr userDrawn="1">
            <p:custDataLst>
              <p:tags r:id="rId64"/>
            </p:custDataLst>
            <p:extLst>
              <p:ext uri="{D42A27DB-BD31-4B8C-83A1-F6EECF244321}">
                <p14:modId xmlns:p14="http://schemas.microsoft.com/office/powerpoint/2010/main" val="361930264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5" name="think-cell Slide" r:id="rId66" imgW="347" imgH="348" progId="TCLayout.ActiveDocument.1">
                  <p:embed/>
                </p:oleObj>
              </mc:Choice>
              <mc:Fallback>
                <p:oleObj name="think-cell Slide" r:id="rId66" imgW="347" imgH="348" progId="TCLayout.ActiveDocument.1">
                  <p:embed/>
                  <p:pic>
                    <p:nvPicPr>
                      <p:cNvPr id="9" name="Object 8" hidden="1">
                        <a:extLst>
                          <a:ext uri="{FF2B5EF4-FFF2-40B4-BE49-F238E27FC236}">
                            <a16:creationId xmlns:a16="http://schemas.microsoft.com/office/drawing/2014/main" id="{BCEB9F79-29C7-4A83-BCAC-05890B9D0529}"/>
                          </a:ext>
                        </a:extLst>
                      </p:cNvPr>
                      <p:cNvPicPr/>
                      <p:nvPr/>
                    </p:nvPicPr>
                    <p:blipFill>
                      <a:blip r:embed="rId67"/>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6B36FBB-E4E8-4C4F-9169-5F5B92281A35}"/>
              </a:ext>
            </a:extLst>
          </p:cNvPr>
          <p:cNvSpPr/>
          <p:nvPr userDrawn="1">
            <p:custDataLst>
              <p:tags r:id="rId65"/>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733" b="0" i="0" u="none" cap="none" baseline="0" dirty="0">
              <a:latin typeface="Source Sans Pro" panose="020B0503030403020204" pitchFamily="34" charset="0"/>
              <a:ea typeface="+mj-ea"/>
              <a:cs typeface="+mj-cs"/>
            </a:endParaRPr>
          </a:p>
        </p:txBody>
      </p:sp>
      <p:sp>
        <p:nvSpPr>
          <p:cNvPr id="2" name="Title Placeholder 1"/>
          <p:cNvSpPr>
            <a:spLocks noGrp="1"/>
          </p:cNvSpPr>
          <p:nvPr>
            <p:ph type="title"/>
          </p:nvPr>
        </p:nvSpPr>
        <p:spPr>
          <a:xfrm>
            <a:off x="508000" y="365678"/>
            <a:ext cx="11176000" cy="531428"/>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p:cNvSpPr>
            <a:spLocks noGrp="1"/>
          </p:cNvSpPr>
          <p:nvPr>
            <p:ph type="body" idx="1"/>
          </p:nvPr>
        </p:nvSpPr>
        <p:spPr>
          <a:xfrm>
            <a:off x="508000" y="1825625"/>
            <a:ext cx="11176000" cy="435133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kumimoji="0" lang="en-ID" sz="1800" b="0" i="0" u="none" strike="noStrike" kern="1200" cap="none" spc="0" normalizeH="0" baseline="0" noProof="0" dirty="0">
              <a:ln>
                <a:noFill/>
              </a:ln>
              <a:solidFill>
                <a:srgbClr val="313D48"/>
              </a:solidFill>
              <a:effectLst/>
              <a:uLnTx/>
              <a:uFillTx/>
              <a:latin typeface="Source Sans Pro" panose="020B0503030403020204" pitchFamily="34" charset="0"/>
              <a:ea typeface="+mn-ea"/>
              <a:cs typeface="+mn-cs"/>
            </a:endParaRPr>
          </a:p>
        </p:txBody>
      </p:sp>
      <p:sp>
        <p:nvSpPr>
          <p:cNvPr id="4" name="Date Placeholder 3"/>
          <p:cNvSpPr>
            <a:spLocks noGrp="1"/>
          </p:cNvSpPr>
          <p:nvPr>
            <p:ph type="dt" sz="half" idx="2"/>
          </p:nvPr>
        </p:nvSpPr>
        <p:spPr>
          <a:xfrm>
            <a:off x="508000" y="6356351"/>
            <a:ext cx="814269" cy="365125"/>
          </a:xfrm>
          <a:prstGeom prst="rect">
            <a:avLst/>
          </a:prstGeom>
        </p:spPr>
        <p:txBody>
          <a:bodyPr vert="horz" lIns="0" tIns="0" rIns="0" bIns="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fld id="{B01F1F41-2107-2B4A-AFD3-0A9C893A5C18}" type="datetimeFigureOut">
              <a:rPr lang="en-US" smtClean="0"/>
              <a:pPr/>
              <a:t>7/16/2021</a:t>
            </a:fld>
            <a:endParaRPr lang="en-US"/>
          </a:p>
        </p:txBody>
      </p:sp>
      <p:sp>
        <p:nvSpPr>
          <p:cNvPr id="5" name="Footer Placeholder 4"/>
          <p:cNvSpPr>
            <a:spLocks noGrp="1"/>
          </p:cNvSpPr>
          <p:nvPr>
            <p:ph type="ftr" sz="quarter" idx="3"/>
          </p:nvPr>
        </p:nvSpPr>
        <p:spPr>
          <a:xfrm>
            <a:off x="1340532" y="6356351"/>
            <a:ext cx="2823179" cy="365125"/>
          </a:xfrm>
          <a:prstGeom prst="rect">
            <a:avLst/>
          </a:prstGeom>
        </p:spPr>
        <p:txBody>
          <a:bodyPr vert="horz" lIns="91440" tIns="45720" rIns="91440" bIns="45720" rtlCol="0" anchor="ctr"/>
          <a:lstStyle>
            <a:lvl1pPr algn="l">
              <a:defRPr sz="1067" b="0" i="0">
                <a:solidFill>
                  <a:schemeClr val="tx1"/>
                </a:solidFill>
                <a:latin typeface="Source Sans Pro" panose="020B0503030403020204" pitchFamily="34" charset="0"/>
                <a:ea typeface="Source Sans Pro" panose="020B0503030403020204" pitchFamily="34" charset="0"/>
              </a:defRPr>
            </a:lvl1pPr>
          </a:lstStyle>
          <a:p>
            <a:r>
              <a:rPr lang="en-US"/>
              <a:t>|  Footer</a:t>
            </a:r>
          </a:p>
        </p:txBody>
      </p:sp>
      <p:sp>
        <p:nvSpPr>
          <p:cNvPr id="6" name="Slide Number Placeholder 5"/>
          <p:cNvSpPr>
            <a:spLocks noGrp="1"/>
          </p:cNvSpPr>
          <p:nvPr>
            <p:ph type="sldNum" sz="quarter" idx="4"/>
          </p:nvPr>
        </p:nvSpPr>
        <p:spPr>
          <a:xfrm>
            <a:off x="8940800" y="6356351"/>
            <a:ext cx="2743200" cy="365125"/>
          </a:xfrm>
          <a:prstGeom prst="rect">
            <a:avLst/>
          </a:prstGeom>
        </p:spPr>
        <p:txBody>
          <a:bodyPr vert="horz" lIns="0" tIns="0" rIns="0" bIns="0" rtlCol="0" anchor="ctr"/>
          <a:lstStyle>
            <a:lvl1pPr algn="r">
              <a:defRPr sz="1067" b="0" i="0">
                <a:solidFill>
                  <a:schemeClr val="tx1"/>
                </a:solidFill>
                <a:latin typeface="Source Sans Pro" panose="020B0503030403020204" pitchFamily="34" charset="0"/>
                <a:ea typeface="Source Sans Pro" panose="020B0503030403020204" pitchFamily="34" charset="0"/>
              </a:defRPr>
            </a:lvl1pPr>
          </a:lstStyle>
          <a:p>
            <a:fld id="{47F042C8-DDB5-0141-B946-4F962685D46A}" type="slidenum">
              <a:rPr lang="en-US" smtClean="0"/>
              <a:pPr/>
              <a:t>‹#›</a:t>
            </a:fld>
            <a:endParaRPr lang="en-US"/>
          </a:p>
        </p:txBody>
      </p:sp>
    </p:spTree>
    <p:extLst>
      <p:ext uri="{BB962C8B-B14F-4D97-AF65-F5344CB8AC3E}">
        <p14:creationId xmlns:p14="http://schemas.microsoft.com/office/powerpoint/2010/main" val="3646236213"/>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 id="2147484064" r:id="rId32"/>
    <p:sldLayoutId id="2147484065" r:id="rId33"/>
    <p:sldLayoutId id="2147484066" r:id="rId34"/>
    <p:sldLayoutId id="2147484067" r:id="rId35"/>
    <p:sldLayoutId id="2147484068" r:id="rId36"/>
    <p:sldLayoutId id="2147484069" r:id="rId37"/>
    <p:sldLayoutId id="2147484070" r:id="rId38"/>
    <p:sldLayoutId id="2147484071" r:id="rId39"/>
    <p:sldLayoutId id="2147484072" r:id="rId40"/>
    <p:sldLayoutId id="2147484073" r:id="rId41"/>
    <p:sldLayoutId id="2147484074" r:id="rId42"/>
    <p:sldLayoutId id="2147484075" r:id="rId43"/>
    <p:sldLayoutId id="2147484076" r:id="rId44"/>
    <p:sldLayoutId id="2147484077" r:id="rId45"/>
    <p:sldLayoutId id="2147484078" r:id="rId46"/>
    <p:sldLayoutId id="2147484079" r:id="rId47"/>
    <p:sldLayoutId id="2147484080" r:id="rId48"/>
    <p:sldLayoutId id="2147484081" r:id="rId49"/>
    <p:sldLayoutId id="2147484082" r:id="rId50"/>
    <p:sldLayoutId id="2147484083" r:id="rId51"/>
    <p:sldLayoutId id="2147484084" r:id="rId52"/>
    <p:sldLayoutId id="2147484085" r:id="rId53"/>
    <p:sldLayoutId id="2147484086" r:id="rId54"/>
    <p:sldLayoutId id="2147484087" r:id="rId55"/>
    <p:sldLayoutId id="2147484088" r:id="rId56"/>
    <p:sldLayoutId id="2147484089" r:id="rId57"/>
    <p:sldLayoutId id="2147484090" r:id="rId58"/>
    <p:sldLayoutId id="2147484091" r:id="rId59"/>
    <p:sldLayoutId id="2147484092" r:id="rId60"/>
    <p:sldLayoutId id="2147484093"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p:titleStyle>
    <p:body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0">
          <p15:clr>
            <a:srgbClr val="F26B43"/>
          </p15:clr>
        </p15:guide>
        <p15:guide id="4" pos="5520">
          <p15:clr>
            <a:srgbClr val="F26B43"/>
          </p15:clr>
        </p15:guide>
        <p15:guide id="5" orient="horz" pos="348">
          <p15:clr>
            <a:srgbClr val="F26B43"/>
          </p15:clr>
        </p15:guide>
        <p15:guide id="6" orient="horz" pos="1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84.xml"/></Relationships>
</file>

<file path=ppt/slides/_rels/slide1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0.xml"/><Relationship Id="rId1" Type="http://schemas.openxmlformats.org/officeDocument/2006/relationships/slideLayout" Target="../slideLayouts/slideLayout133.xml"/></Relationships>
</file>

<file path=ppt/slides/_rels/slide11.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1.xml"/><Relationship Id="rId1" Type="http://schemas.openxmlformats.org/officeDocument/2006/relationships/slideLayout" Target="../slideLayouts/slideLayout133.xml"/><Relationship Id="rId4" Type="http://schemas.openxmlformats.org/officeDocument/2006/relationships/hyperlink" Target="https://pxhere.com/en/photo/577219"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13.xml"/><Relationship Id="rId1" Type="http://schemas.openxmlformats.org/officeDocument/2006/relationships/slideLayout" Target="../slideLayouts/slideLayout323.xml"/><Relationship Id="rId5" Type="http://schemas.openxmlformats.org/officeDocument/2006/relationships/image" Target="../media/image66.emf"/><Relationship Id="rId4" Type="http://schemas.openxmlformats.org/officeDocument/2006/relationships/image" Target="../media/image65.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notesSlide" Target="../notesSlides/notesSlide2.xml"/><Relationship Id="rId16" Type="http://schemas.openxmlformats.org/officeDocument/2006/relationships/image" Target="../media/image26.png"/><Relationship Id="rId1" Type="http://schemas.openxmlformats.org/officeDocument/2006/relationships/slideLayout" Target="../slideLayouts/slideLayout264.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pn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18" Type="http://schemas.openxmlformats.org/officeDocument/2006/relationships/image" Target="../media/image43.svg"/><Relationship Id="rId26" Type="http://schemas.openxmlformats.org/officeDocument/2006/relationships/image" Target="../media/image51.svg"/><Relationship Id="rId3" Type="http://schemas.openxmlformats.org/officeDocument/2006/relationships/image" Target="../media/image28.png"/><Relationship Id="rId21" Type="http://schemas.openxmlformats.org/officeDocument/2006/relationships/image" Target="../media/image46.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5" Type="http://schemas.openxmlformats.org/officeDocument/2006/relationships/image" Target="../media/image50.png"/><Relationship Id="rId2" Type="http://schemas.openxmlformats.org/officeDocument/2006/relationships/notesSlide" Target="../notesSlides/notesSlide3.xml"/><Relationship Id="rId16" Type="http://schemas.openxmlformats.org/officeDocument/2006/relationships/image" Target="../media/image41.svg"/><Relationship Id="rId20" Type="http://schemas.openxmlformats.org/officeDocument/2006/relationships/image" Target="../media/image45.svg"/><Relationship Id="rId1" Type="http://schemas.openxmlformats.org/officeDocument/2006/relationships/slideLayout" Target="../slideLayouts/slideLayout39.xml"/><Relationship Id="rId6" Type="http://schemas.openxmlformats.org/officeDocument/2006/relationships/image" Target="../media/image31.svg"/><Relationship Id="rId11" Type="http://schemas.openxmlformats.org/officeDocument/2006/relationships/image" Target="../media/image36.png"/><Relationship Id="rId24" Type="http://schemas.openxmlformats.org/officeDocument/2006/relationships/image" Target="../media/image49.sv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png"/><Relationship Id="rId10" Type="http://schemas.openxmlformats.org/officeDocument/2006/relationships/image" Target="../media/image35.svg"/><Relationship Id="rId19" Type="http://schemas.openxmlformats.org/officeDocument/2006/relationships/image" Target="../media/image44.pn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 Id="rId22" Type="http://schemas.openxmlformats.org/officeDocument/2006/relationships/image" Target="../media/image47.svg"/></Relationships>
</file>

<file path=ppt/slides/_rels/slide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s://pxhere.com/en/photo/577219" TargetMode="External"/><Relationship Id="rId4" Type="http://schemas.openxmlformats.org/officeDocument/2006/relationships/image" Target="../media/image53.jpg"/></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79.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133.xml"/></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133.xml"/></Relationships>
</file>

<file path=ppt/slides/_rels/slide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1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6AA614-4005-1F41-826F-B251FD090AB9}"/>
              </a:ext>
            </a:extLst>
          </p:cNvPr>
          <p:cNvSpPr>
            <a:spLocks noGrp="1"/>
          </p:cNvSpPr>
          <p:nvPr>
            <p:ph type="title"/>
          </p:nvPr>
        </p:nvSpPr>
        <p:spPr/>
        <p:txBody>
          <a:bodyPr/>
          <a:lstStyle/>
          <a:p>
            <a:pPr>
              <a:lnSpc>
                <a:spcPct val="80000"/>
              </a:lnSpc>
            </a:pPr>
            <a:r>
              <a:rPr lang="en-US" sz="5400" b="0" dirty="0"/>
              <a:t>Talend Demo:</a:t>
            </a:r>
            <a:br>
              <a:rPr lang="en-US" sz="5400" b="0" dirty="0"/>
            </a:br>
            <a:r>
              <a:rPr lang="en-US" sz="5400" b="0" dirty="0"/>
              <a:t>Getting More Value from Customer 360</a:t>
            </a:r>
          </a:p>
        </p:txBody>
      </p:sp>
      <p:sp>
        <p:nvSpPr>
          <p:cNvPr id="159" name="PhotoShape">
            <a:extLst>
              <a:ext uri="{FF2B5EF4-FFF2-40B4-BE49-F238E27FC236}">
                <a16:creationId xmlns:a16="http://schemas.microsoft.com/office/drawing/2014/main" id="{EC944B67-DE64-B849-874F-454E82A58D43}"/>
              </a:ext>
            </a:extLst>
          </p:cNvPr>
          <p:cNvSpPr/>
          <p:nvPr/>
        </p:nvSpPr>
        <p:spPr>
          <a:xfrm>
            <a:off x="6779887" y="2029665"/>
            <a:ext cx="4654235" cy="3216988"/>
          </a:xfrm>
          <a:custGeom>
            <a:avLst/>
            <a:gdLst>
              <a:gd name="connsiteX0" fmla="*/ 6072497 w 6608351"/>
              <a:gd name="connsiteY0" fmla="*/ 4090750 h 4567665"/>
              <a:gd name="connsiteX1" fmla="*/ 5578242 w 6608351"/>
              <a:gd name="connsiteY1" fmla="*/ 4522605 h 4567665"/>
              <a:gd name="connsiteX2" fmla="*/ 334674 w 6608351"/>
              <a:gd name="connsiteY2" fmla="*/ 4567649 h 4567665"/>
              <a:gd name="connsiteX3" fmla="*/ 14369 w 6608351"/>
              <a:gd name="connsiteY3" fmla="*/ 4153765 h 4567665"/>
              <a:gd name="connsiteX4" fmla="*/ 853588 w 6608351"/>
              <a:gd name="connsiteY4" fmla="*/ 1041873 h 4567665"/>
              <a:gd name="connsiteX5" fmla="*/ 1396168 w 6608351"/>
              <a:gd name="connsiteY5" fmla="*/ 573575 h 4567665"/>
              <a:gd name="connsiteX6" fmla="*/ 6235359 w 6608351"/>
              <a:gd name="connsiteY6" fmla="*/ 2997 h 4567665"/>
              <a:gd name="connsiteX7" fmla="*/ 6603997 w 6608351"/>
              <a:gd name="connsiteY7" fmla="*/ 380433 h 45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8351" h="4567665">
                <a:moveTo>
                  <a:pt x="6072497" y="4090750"/>
                </a:moveTo>
                <a:cubicBezTo>
                  <a:pt x="6038772" y="4326221"/>
                  <a:pt x="5816348" y="4520550"/>
                  <a:pt x="5578242" y="4522605"/>
                </a:cubicBezTo>
                <a:lnTo>
                  <a:pt x="334674" y="4567649"/>
                </a:lnTo>
                <a:cubicBezTo>
                  <a:pt x="96565" y="4569692"/>
                  <a:pt x="-47572" y="4383440"/>
                  <a:pt x="14369" y="4153765"/>
                </a:cubicBezTo>
                <a:lnTo>
                  <a:pt x="853588" y="1041873"/>
                </a:lnTo>
                <a:cubicBezTo>
                  <a:pt x="915529" y="812191"/>
                  <a:pt x="1159685" y="601456"/>
                  <a:pt x="1396168" y="573575"/>
                </a:cubicBezTo>
                <a:lnTo>
                  <a:pt x="6235359" y="2997"/>
                </a:lnTo>
                <a:cubicBezTo>
                  <a:pt x="6471841" y="-24885"/>
                  <a:pt x="6637722" y="144961"/>
                  <a:pt x="6603997" y="380433"/>
                </a:cubicBezTo>
                <a:close/>
              </a:path>
            </a:pathLst>
          </a:custGeom>
          <a:blipFill>
            <a:blip r:embed="rId3"/>
            <a:stretch>
              <a:fillRect/>
            </a:stretch>
          </a:blipFill>
          <a:ln w="10819"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dirty="0">
              <a:ln>
                <a:noFill/>
              </a:ln>
              <a:solidFill>
                <a:srgbClr val="323E48"/>
              </a:solidFill>
              <a:effectLst/>
              <a:uLnTx/>
              <a:uFillTx/>
              <a:latin typeface="Source Sans Pro"/>
              <a:ea typeface="+mn-ea"/>
              <a:cs typeface="+mn-cs"/>
            </a:endParaRPr>
          </a:p>
        </p:txBody>
      </p:sp>
      <p:grpSp>
        <p:nvGrpSpPr>
          <p:cNvPr id="7" name="4 Xs">
            <a:extLst>
              <a:ext uri="{FF2B5EF4-FFF2-40B4-BE49-F238E27FC236}">
                <a16:creationId xmlns:a16="http://schemas.microsoft.com/office/drawing/2014/main" id="{9A29172F-96EE-034D-8FD3-01F28F3B0EF4}"/>
              </a:ext>
            </a:extLst>
          </p:cNvPr>
          <p:cNvGrpSpPr/>
          <p:nvPr/>
        </p:nvGrpSpPr>
        <p:grpSpPr>
          <a:xfrm>
            <a:off x="7636785" y="4690888"/>
            <a:ext cx="1738833" cy="955859"/>
            <a:chOff x="4350238" y="4169018"/>
            <a:chExt cx="1298751" cy="713976"/>
          </a:xfrm>
          <a:solidFill>
            <a:schemeClr val="accent5"/>
          </a:solidFill>
        </p:grpSpPr>
        <p:sp>
          <p:nvSpPr>
            <p:cNvPr id="8" name="Graphic 37">
              <a:extLst>
                <a:ext uri="{FF2B5EF4-FFF2-40B4-BE49-F238E27FC236}">
                  <a16:creationId xmlns:a16="http://schemas.microsoft.com/office/drawing/2014/main" id="{25B3F511-C4F2-B64D-B6F8-2B4D9E6A1758}"/>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sp>
          <p:nvSpPr>
            <p:cNvPr id="9" name="Graphic 37">
              <a:extLst>
                <a:ext uri="{FF2B5EF4-FFF2-40B4-BE49-F238E27FC236}">
                  <a16:creationId xmlns:a16="http://schemas.microsoft.com/office/drawing/2014/main" id="{24CE2152-ECB1-8741-AC03-483A0BBD2772}"/>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sp>
          <p:nvSpPr>
            <p:cNvPr id="10" name="Graphic 37">
              <a:extLst>
                <a:ext uri="{FF2B5EF4-FFF2-40B4-BE49-F238E27FC236}">
                  <a16:creationId xmlns:a16="http://schemas.microsoft.com/office/drawing/2014/main" id="{5CE1B095-535F-1C4A-9441-0D9A1D1BCD9C}"/>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sp>
          <p:nvSpPr>
            <p:cNvPr id="11" name="Graphic 37">
              <a:extLst>
                <a:ext uri="{FF2B5EF4-FFF2-40B4-BE49-F238E27FC236}">
                  <a16:creationId xmlns:a16="http://schemas.microsoft.com/office/drawing/2014/main" id="{A5C2DF26-55D1-AE4F-BEBE-11A3C4BAF036}"/>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grpSp>
    </p:spTree>
    <p:extLst>
      <p:ext uri="{BB962C8B-B14F-4D97-AF65-F5344CB8AC3E}">
        <p14:creationId xmlns:p14="http://schemas.microsoft.com/office/powerpoint/2010/main" val="22340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2.5E-6 -0.03457 L 2.5E-6 -7.40741E-7 " pathEditMode="relative" rAng="0" ptsTypes="AA">
                                      <p:cBhvr>
                                        <p:cTn id="9" dur="500" fill="hold"/>
                                        <p:tgtEl>
                                          <p:spTgt spid="3"/>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0A36C68-80EA-4CAD-AE07-B0FEE2624D43}"/>
              </a:ext>
            </a:extLst>
          </p:cNvPr>
          <p:cNvSpPr>
            <a:spLocks noGrp="1"/>
          </p:cNvSpPr>
          <p:nvPr>
            <p:ph type="body" sz="quarter" idx="10"/>
          </p:nvPr>
        </p:nvSpPr>
        <p:spPr>
          <a:xfrm>
            <a:off x="6096000" y="2625290"/>
            <a:ext cx="5175541" cy="2931028"/>
          </a:xfrm>
        </p:spPr>
        <p:txBody>
          <a:bodyPr>
            <a:normAutofit/>
          </a:bodyPr>
          <a:lstStyle/>
          <a:p>
            <a:pPr lvl="4">
              <a:buFont typeface="Courier New" panose="02070309020205020404" pitchFamily="49" charset="0"/>
              <a:buChar char="o"/>
            </a:pPr>
            <a:r>
              <a:rPr lang="en-US" sz="2400" dirty="0">
                <a:solidFill>
                  <a:schemeClr val="bg1"/>
                </a:solidFill>
              </a:rPr>
              <a:t>Build and test contract-first APIs</a:t>
            </a:r>
          </a:p>
          <a:p>
            <a:pPr marL="687900" lvl="4" indent="0">
              <a:buNone/>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Automate API documentation</a:t>
            </a:r>
          </a:p>
          <a:p>
            <a:pPr lvl="4">
              <a:buFont typeface="Courier New" panose="02070309020205020404" pitchFamily="49" charset="0"/>
              <a:buChar char="o"/>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Deliver healthy data</a:t>
            </a:r>
          </a:p>
        </p:txBody>
      </p:sp>
      <p:sp>
        <p:nvSpPr>
          <p:cNvPr id="5" name="Title 2">
            <a:extLst>
              <a:ext uri="{FF2B5EF4-FFF2-40B4-BE49-F238E27FC236}">
                <a16:creationId xmlns:a16="http://schemas.microsoft.com/office/drawing/2014/main" id="{5227B928-D42C-415F-BC2B-6803306AB07C}"/>
              </a:ext>
            </a:extLst>
          </p:cNvPr>
          <p:cNvSpPr txBox="1">
            <a:spLocks/>
          </p:cNvSpPr>
          <p:nvPr/>
        </p:nvSpPr>
        <p:spPr>
          <a:xfrm>
            <a:off x="3096203" y="1203165"/>
            <a:ext cx="2841459" cy="532587"/>
          </a:xfrm>
          <a:prstGeom prst="rect">
            <a:avLst/>
          </a:prstGeom>
        </p:spPr>
        <p:txBody>
          <a:bodyPr/>
          <a:lst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a:lstStyle>
          <a:p>
            <a:r>
              <a:rPr lang="en-US" dirty="0">
                <a:solidFill>
                  <a:schemeClr val="bg1"/>
                </a:solidFill>
              </a:rPr>
              <a:t>Jackie</a:t>
            </a:r>
          </a:p>
        </p:txBody>
      </p:sp>
      <p:sp>
        <p:nvSpPr>
          <p:cNvPr id="6" name="Subtitle 3">
            <a:extLst>
              <a:ext uri="{FF2B5EF4-FFF2-40B4-BE49-F238E27FC236}">
                <a16:creationId xmlns:a16="http://schemas.microsoft.com/office/drawing/2014/main" id="{89F045F5-194B-4838-BF3C-D4F525947C77}"/>
              </a:ext>
            </a:extLst>
          </p:cNvPr>
          <p:cNvSpPr txBox="1">
            <a:spLocks/>
          </p:cNvSpPr>
          <p:nvPr/>
        </p:nvSpPr>
        <p:spPr>
          <a:xfrm>
            <a:off x="3096203" y="1735752"/>
            <a:ext cx="2841459" cy="481841"/>
          </a:xfrm>
          <a:prstGeom prst="rect">
            <a:avLst/>
          </a:prstGeom>
        </p:spPr>
        <p:txBody>
          <a:bodyPr/>
          <a:lst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2"/>
                </a:solidFill>
              </a:rPr>
              <a:t>IT Engineer</a:t>
            </a:r>
          </a:p>
        </p:txBody>
      </p:sp>
      <p:pic>
        <p:nvPicPr>
          <p:cNvPr id="8" name="Picture 7" descr="Woman with curly hair">
            <a:extLst>
              <a:ext uri="{FF2B5EF4-FFF2-40B4-BE49-F238E27FC236}">
                <a16:creationId xmlns:a16="http://schemas.microsoft.com/office/drawing/2014/main" id="{863A1FA1-D72D-4D44-9BDD-57F268BEE448}"/>
              </a:ext>
            </a:extLst>
          </p:cNvPr>
          <p:cNvPicPr>
            <a:picLocks noChangeAspect="1"/>
          </p:cNvPicPr>
          <p:nvPr/>
        </p:nvPicPr>
        <p:blipFill rotWithShape="1">
          <a:blip r:embed="rId3">
            <a:extLst>
              <a:ext uri="{28A0092B-C50C-407E-A947-70E740481C1C}">
                <a14:useLocalDpi xmlns:a14="http://schemas.microsoft.com/office/drawing/2010/main" val="0"/>
              </a:ext>
            </a:extLst>
          </a:blip>
          <a:srcRect l="27874" t="1232" r="4523" b="-1"/>
          <a:stretch/>
        </p:blipFill>
        <p:spPr>
          <a:xfrm>
            <a:off x="1078797" y="846213"/>
            <a:ext cx="1826558" cy="177907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96089787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5227B928-D42C-415F-BC2B-6803306AB07C}"/>
              </a:ext>
            </a:extLst>
          </p:cNvPr>
          <p:cNvSpPr txBox="1">
            <a:spLocks/>
          </p:cNvSpPr>
          <p:nvPr/>
        </p:nvSpPr>
        <p:spPr>
          <a:xfrm>
            <a:off x="3096203" y="1203165"/>
            <a:ext cx="2841459" cy="532587"/>
          </a:xfrm>
          <a:prstGeom prst="rect">
            <a:avLst/>
          </a:prstGeom>
        </p:spPr>
        <p:txBody>
          <a:bodyPr/>
          <a:lst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a:lstStyle>
          <a:p>
            <a:r>
              <a:rPr lang="en-US" dirty="0">
                <a:solidFill>
                  <a:schemeClr val="bg1"/>
                </a:solidFill>
              </a:rPr>
              <a:t>Rebecca</a:t>
            </a:r>
          </a:p>
        </p:txBody>
      </p:sp>
      <p:sp>
        <p:nvSpPr>
          <p:cNvPr id="6" name="Subtitle 3">
            <a:extLst>
              <a:ext uri="{FF2B5EF4-FFF2-40B4-BE49-F238E27FC236}">
                <a16:creationId xmlns:a16="http://schemas.microsoft.com/office/drawing/2014/main" id="{89F045F5-194B-4838-BF3C-D4F525947C77}"/>
              </a:ext>
            </a:extLst>
          </p:cNvPr>
          <p:cNvSpPr txBox="1">
            <a:spLocks/>
          </p:cNvSpPr>
          <p:nvPr/>
        </p:nvSpPr>
        <p:spPr>
          <a:xfrm>
            <a:off x="3096203" y="1735752"/>
            <a:ext cx="4475029" cy="481841"/>
          </a:xfrm>
          <a:prstGeom prst="rect">
            <a:avLst/>
          </a:prstGeom>
        </p:spPr>
        <p:txBody>
          <a:bodyPr/>
          <a:lst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2"/>
                </a:solidFill>
              </a:rPr>
              <a:t>Customer Support Specialist</a:t>
            </a:r>
          </a:p>
        </p:txBody>
      </p:sp>
      <p:pic>
        <p:nvPicPr>
          <p:cNvPr id="7" name="Picture 6">
            <a:extLst>
              <a:ext uri="{FF2B5EF4-FFF2-40B4-BE49-F238E27FC236}">
                <a16:creationId xmlns:a16="http://schemas.microsoft.com/office/drawing/2014/main" id="{0C46ED34-A3A8-4224-9694-B9D51C0F90D4}"/>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641" t="-1191" r="27245" b="-1031"/>
          <a:stretch/>
        </p:blipFill>
        <p:spPr>
          <a:xfrm>
            <a:off x="1097575" y="846213"/>
            <a:ext cx="1830388" cy="177907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0" name="TextBox 9">
            <a:extLst>
              <a:ext uri="{FF2B5EF4-FFF2-40B4-BE49-F238E27FC236}">
                <a16:creationId xmlns:a16="http://schemas.microsoft.com/office/drawing/2014/main" id="{D8907FE3-8AFA-4F9D-AAC1-58AA68DE38A7}"/>
              </a:ext>
            </a:extLst>
          </p:cNvPr>
          <p:cNvSpPr txBox="1"/>
          <p:nvPr/>
        </p:nvSpPr>
        <p:spPr>
          <a:xfrm>
            <a:off x="1097575" y="3057132"/>
            <a:ext cx="4840087" cy="3323987"/>
          </a:xfrm>
          <a:prstGeom prst="rect">
            <a:avLst/>
          </a:prstGeom>
          <a:noFill/>
        </p:spPr>
        <p:txBody>
          <a:bodyPr wrap="square" lIns="0" tIns="0" rIns="0" bIns="0" rtlCol="0">
            <a:spAutoFit/>
          </a:bodyPr>
          <a:lstStyle/>
          <a:p>
            <a:pPr marL="457200" indent="-457200">
              <a:buClr>
                <a:schemeClr val="tx2"/>
              </a:buClr>
              <a:buFont typeface="Courier New" panose="02070309020205020404" pitchFamily="49" charset="0"/>
              <a:buChar char="o"/>
            </a:pPr>
            <a:r>
              <a:rPr lang="en-US" sz="2400" dirty="0">
                <a:solidFill>
                  <a:schemeClr val="accent5"/>
                </a:solidFill>
              </a:rPr>
              <a:t>View complete and accurate representation of customer</a:t>
            </a:r>
          </a:p>
          <a:p>
            <a:pPr marL="457200" indent="-457200">
              <a:buClr>
                <a:schemeClr val="tx2"/>
              </a:buClr>
              <a:buFont typeface="Courier New" panose="02070309020205020404" pitchFamily="49" charset="0"/>
              <a:buChar char="o"/>
            </a:pPr>
            <a:endParaRPr lang="en-US" sz="2400" dirty="0">
              <a:solidFill>
                <a:schemeClr val="accent5"/>
              </a:solidFill>
            </a:endParaRPr>
          </a:p>
          <a:p>
            <a:pPr marL="457200" indent="-457200">
              <a:buClr>
                <a:schemeClr val="tx2"/>
              </a:buClr>
              <a:buFont typeface="Courier New" panose="02070309020205020404" pitchFamily="49" charset="0"/>
              <a:buChar char="o"/>
            </a:pPr>
            <a:r>
              <a:rPr lang="en-US" sz="2400" dirty="0">
                <a:solidFill>
                  <a:schemeClr val="accent5"/>
                </a:solidFill>
              </a:rPr>
              <a:t>Understand value of customer to organization</a:t>
            </a:r>
          </a:p>
          <a:p>
            <a:pPr marL="457200" indent="-457200">
              <a:buClr>
                <a:schemeClr val="tx2"/>
              </a:buClr>
              <a:buFont typeface="Courier New" panose="02070309020205020404" pitchFamily="49" charset="0"/>
              <a:buChar char="o"/>
            </a:pPr>
            <a:endParaRPr lang="en-US" sz="2400" dirty="0">
              <a:solidFill>
                <a:schemeClr val="accent5"/>
              </a:solidFill>
            </a:endParaRPr>
          </a:p>
          <a:p>
            <a:pPr marL="457200" indent="-457200">
              <a:buClr>
                <a:schemeClr val="tx2"/>
              </a:buClr>
              <a:buFont typeface="Courier New" panose="02070309020205020404" pitchFamily="49" charset="0"/>
              <a:buChar char="o"/>
            </a:pPr>
            <a:r>
              <a:rPr lang="en-US" sz="2400" dirty="0">
                <a:solidFill>
                  <a:schemeClr val="accent5"/>
                </a:solidFill>
              </a:rPr>
              <a:t>100% confidence in data</a:t>
            </a:r>
          </a:p>
          <a:p>
            <a:pPr>
              <a:buClr>
                <a:schemeClr val="tx2"/>
              </a:buClr>
            </a:pPr>
            <a:endParaRPr lang="en-US" sz="2400" dirty="0">
              <a:solidFill>
                <a:schemeClr val="accent5"/>
              </a:solidFill>
            </a:endParaRPr>
          </a:p>
          <a:p>
            <a:pPr>
              <a:buClr>
                <a:schemeClr val="tx2"/>
              </a:buClr>
            </a:pPr>
            <a:endParaRPr lang="en-US" sz="2400" dirty="0">
              <a:solidFill>
                <a:schemeClr val="accent5"/>
              </a:solidFill>
            </a:endParaRPr>
          </a:p>
        </p:txBody>
      </p:sp>
      <p:sp>
        <p:nvSpPr>
          <p:cNvPr id="13" name="TextBox 12">
            <a:extLst>
              <a:ext uri="{FF2B5EF4-FFF2-40B4-BE49-F238E27FC236}">
                <a16:creationId xmlns:a16="http://schemas.microsoft.com/office/drawing/2014/main" id="{A394D19C-66B3-4F0A-BC16-7D648A475D12}"/>
              </a:ext>
            </a:extLst>
          </p:cNvPr>
          <p:cNvSpPr txBox="1"/>
          <p:nvPr/>
        </p:nvSpPr>
        <p:spPr>
          <a:xfrm>
            <a:off x="6254340" y="3057132"/>
            <a:ext cx="4840085" cy="2215991"/>
          </a:xfrm>
          <a:prstGeom prst="rect">
            <a:avLst/>
          </a:prstGeom>
          <a:noFill/>
        </p:spPr>
        <p:txBody>
          <a:bodyPr wrap="square" lIns="0" tIns="0" rIns="0" bIns="0" rtlCol="0">
            <a:spAutoFit/>
          </a:bodyPr>
          <a:lstStyle/>
          <a:p>
            <a:pPr marL="457200" indent="-457200">
              <a:buClr>
                <a:schemeClr val="tx2"/>
              </a:buClr>
              <a:buFont typeface="Courier New" panose="02070309020205020404" pitchFamily="49" charset="0"/>
              <a:buChar char="o"/>
            </a:pPr>
            <a:r>
              <a:rPr lang="en-US" sz="2400" dirty="0">
                <a:solidFill>
                  <a:schemeClr val="accent5"/>
                </a:solidFill>
              </a:rPr>
              <a:t>Unlock true value of Customer 360</a:t>
            </a:r>
          </a:p>
          <a:p>
            <a:pPr marL="457200" indent="-457200">
              <a:buClr>
                <a:schemeClr val="tx2"/>
              </a:buClr>
              <a:buFont typeface="Courier New" panose="02070309020205020404" pitchFamily="49" charset="0"/>
              <a:buChar char="o"/>
            </a:pPr>
            <a:endParaRPr lang="en-US" sz="2400" dirty="0">
              <a:solidFill>
                <a:schemeClr val="accent5"/>
              </a:solidFill>
            </a:endParaRPr>
          </a:p>
          <a:p>
            <a:pPr marL="457200" indent="-457200">
              <a:buClr>
                <a:schemeClr val="tx2"/>
              </a:buClr>
              <a:buFont typeface="Courier New" panose="02070309020205020404" pitchFamily="49" charset="0"/>
              <a:buChar char="o"/>
            </a:pPr>
            <a:r>
              <a:rPr lang="en-US" sz="2400" dirty="0">
                <a:solidFill>
                  <a:schemeClr val="accent5"/>
                </a:solidFill>
              </a:rPr>
              <a:t>Customer feels appreciated and satisfied with experience</a:t>
            </a:r>
          </a:p>
          <a:p>
            <a:pPr marL="457200" indent="-457200">
              <a:buClr>
                <a:schemeClr val="tx2"/>
              </a:buClr>
              <a:buFont typeface="Courier New" panose="02070309020205020404" pitchFamily="49" charset="0"/>
              <a:buChar char="o"/>
            </a:pPr>
            <a:endParaRPr lang="en-US" sz="2400" dirty="0">
              <a:solidFill>
                <a:schemeClr val="accent5"/>
              </a:solidFill>
            </a:endParaRPr>
          </a:p>
          <a:p>
            <a:pPr>
              <a:buClr>
                <a:schemeClr val="tx2"/>
              </a:buClr>
            </a:pPr>
            <a:endParaRPr lang="en-US" sz="2400" dirty="0">
              <a:solidFill>
                <a:schemeClr val="accent5"/>
              </a:solidFill>
            </a:endParaRPr>
          </a:p>
        </p:txBody>
      </p:sp>
    </p:spTree>
    <p:extLst>
      <p:ext uri="{BB962C8B-B14F-4D97-AF65-F5344CB8AC3E}">
        <p14:creationId xmlns:p14="http://schemas.microsoft.com/office/powerpoint/2010/main" val="1879706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500" fill="hold"/>
                                        <p:tgtEl>
                                          <p:spTgt spid="10">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500" fill="hold"/>
                                        <p:tgtEl>
                                          <p:spTgt spid="10">
                                            <p:txEl>
                                              <p:pRg st="4" end="4"/>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13">
                                            <p:txEl>
                                              <p:pRg st="0" end="0"/>
                                            </p:txEl>
                                          </p:spTgt>
                                        </p:tgtEl>
                                        <p:attrNameLst>
                                          <p:attrName>style.visibility</p:attrName>
                                        </p:attrNameLst>
                                      </p:cBhvr>
                                      <p:to>
                                        <p:strVal val="visible"/>
                                      </p:to>
                                    </p:set>
                                    <p:anim calcmode="lin" valueType="num">
                                      <p:cBhvr additive="base">
                                        <p:cTn id="25" dur="500" fill="hold"/>
                                        <p:tgtEl>
                                          <p:spTgt spid="13">
                                            <p:txEl>
                                              <p:pRg st="0" end="0"/>
                                            </p:txEl>
                                          </p:spTgt>
                                        </p:tgtEl>
                                        <p:attrNameLst>
                                          <p:attrName>ppt_x</p:attrName>
                                        </p:attrNameLst>
                                      </p:cBhvr>
                                      <p:tavLst>
                                        <p:tav tm="0">
                                          <p:val>
                                            <p:strVal val="1+#ppt_w/2"/>
                                          </p:val>
                                        </p:tav>
                                        <p:tav tm="100000">
                                          <p:val>
                                            <p:strVal val="#ppt_x"/>
                                          </p:val>
                                        </p:tav>
                                      </p:tavLst>
                                    </p:anim>
                                    <p:anim calcmode="lin" valueType="num">
                                      <p:cBhvr additive="base">
                                        <p:cTn id="26" dur="500" fill="hold"/>
                                        <p:tgtEl>
                                          <p:spTgt spid="1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13">
                                            <p:txEl>
                                              <p:pRg st="2" end="2"/>
                                            </p:txEl>
                                          </p:spTgt>
                                        </p:tgtEl>
                                        <p:attrNameLst>
                                          <p:attrName>style.visibility</p:attrName>
                                        </p:attrNameLst>
                                      </p:cBhvr>
                                      <p:to>
                                        <p:strVal val="visible"/>
                                      </p:to>
                                    </p:set>
                                    <p:anim calcmode="lin" valueType="num">
                                      <p:cBhvr additive="base">
                                        <p:cTn id="31" dur="500" fill="hold"/>
                                        <p:tgtEl>
                                          <p:spTgt spid="13">
                                            <p:txEl>
                                              <p:pRg st="2" end="2"/>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13">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18CA37B-12EC-4C2B-8825-CD5C12F2B55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64814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2C220DD-FEB4-6D48-B924-1F831A415678}"/>
              </a:ext>
            </a:extLst>
          </p:cNvPr>
          <p:cNvSpPr>
            <a:spLocks noGrp="1"/>
          </p:cNvSpPr>
          <p:nvPr>
            <p:ph type="title"/>
          </p:nvPr>
        </p:nvSpPr>
        <p:spPr/>
        <p:txBody>
          <a:bodyPr vert="horz" lIns="91440" tIns="91440" rIns="91440" bIns="91440" rtlCol="0" anchor="t" anchorCtr="0">
            <a:normAutofit fontScale="90000"/>
          </a:bodyPr>
          <a:lstStyle/>
          <a:p>
            <a:pPr>
              <a:spcAft>
                <a:spcPts val="1600"/>
              </a:spcAft>
            </a:pPr>
            <a:r>
              <a:rPr lang="en-US" sz="4000" dirty="0"/>
              <a:t>Achieve Data Health with Talend</a:t>
            </a:r>
            <a:br>
              <a:rPr lang="en-US" sz="4000" dirty="0"/>
            </a:br>
            <a:endParaRPr lang="en-US" sz="3000" dirty="0">
              <a:solidFill>
                <a:schemeClr val="accent5">
                  <a:lumMod val="50000"/>
                </a:schemeClr>
              </a:solidFill>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6BBA080A-556D-B646-8F59-5C53C7F02AB0}"/>
              </a:ext>
            </a:extLst>
          </p:cNvPr>
          <p:cNvSpPr>
            <a:spLocks noGrp="1"/>
          </p:cNvSpPr>
          <p:nvPr>
            <p:ph type="body" sz="quarter" idx="11"/>
          </p:nvPr>
        </p:nvSpPr>
        <p:spPr>
          <a:xfrm>
            <a:off x="1145501" y="928941"/>
            <a:ext cx="11176000" cy="461665"/>
          </a:xfrm>
        </p:spPr>
        <p:txBody>
          <a:bodyPr/>
          <a:lstStyle/>
          <a:p>
            <a:r>
              <a:rPr lang="en-US" b="0" dirty="0">
                <a:solidFill>
                  <a:srgbClr val="FFFFFF">
                    <a:lumMod val="50000"/>
                  </a:srgbClr>
                </a:solidFill>
                <a:ea typeface="+mn-ea"/>
                <a:cs typeface="Calibri Light" panose="020F0302020204030204" pitchFamily="34" charset="0"/>
              </a:rPr>
              <a:t>Healthy data, healthy relationships</a:t>
            </a:r>
            <a:endParaRPr lang="en-US" b="0" dirty="0">
              <a:solidFill>
                <a:srgbClr val="323E48"/>
              </a:solidFill>
              <a:ea typeface="+mn-ea"/>
              <a:cs typeface="+mn-cs"/>
            </a:endParaRPr>
          </a:p>
        </p:txBody>
      </p:sp>
      <p:sp>
        <p:nvSpPr>
          <p:cNvPr id="20" name="TextBox 19">
            <a:extLst>
              <a:ext uri="{FF2B5EF4-FFF2-40B4-BE49-F238E27FC236}">
                <a16:creationId xmlns:a16="http://schemas.microsoft.com/office/drawing/2014/main" id="{71FE882D-9403-447A-BA58-8B35B346B404}"/>
              </a:ext>
            </a:extLst>
          </p:cNvPr>
          <p:cNvSpPr txBox="1"/>
          <p:nvPr/>
        </p:nvSpPr>
        <p:spPr>
          <a:xfrm>
            <a:off x="3425791" y="-742359"/>
            <a:ext cx="4888356" cy="287323"/>
          </a:xfrm>
          <a:prstGeom prst="rect">
            <a:avLst/>
          </a:prstGeom>
          <a:noFill/>
          <a:ln>
            <a:solidFill>
              <a:schemeClr val="accent3"/>
            </a:solidFill>
          </a:ln>
        </p:spPr>
        <p:txBody>
          <a:bodyPr wrap="square" lIns="0" tIns="0" rIns="0" bIns="0" rtlCol="0">
            <a:spAutoFit/>
          </a:bodyPr>
          <a:lstStyle/>
          <a:p>
            <a:pPr defTabSz="609585">
              <a:defRPr/>
            </a:pPr>
            <a:r>
              <a:rPr lang="en-US" sz="1867" dirty="0">
                <a:solidFill>
                  <a:srgbClr val="323E48"/>
                </a:solidFill>
                <a:latin typeface="Source Sans Pro"/>
              </a:rPr>
              <a:t>Update icons to ones that we have a right to use</a:t>
            </a:r>
          </a:p>
        </p:txBody>
      </p:sp>
      <p:grpSp>
        <p:nvGrpSpPr>
          <p:cNvPr id="3" name="Group 2">
            <a:extLst>
              <a:ext uri="{FF2B5EF4-FFF2-40B4-BE49-F238E27FC236}">
                <a16:creationId xmlns:a16="http://schemas.microsoft.com/office/drawing/2014/main" id="{FFFA58BE-E5F3-F946-8A84-E8272B7F5539}"/>
              </a:ext>
            </a:extLst>
          </p:cNvPr>
          <p:cNvGrpSpPr/>
          <p:nvPr/>
        </p:nvGrpSpPr>
        <p:grpSpPr>
          <a:xfrm>
            <a:off x="835040" y="2159001"/>
            <a:ext cx="3236715" cy="2858401"/>
            <a:chOff x="626280" y="1619250"/>
            <a:chExt cx="2427536" cy="2143801"/>
          </a:xfrm>
        </p:grpSpPr>
        <p:sp>
          <p:nvSpPr>
            <p:cNvPr id="30" name="Rounded Rectangle 29">
              <a:extLst>
                <a:ext uri="{FF2B5EF4-FFF2-40B4-BE49-F238E27FC236}">
                  <a16:creationId xmlns:a16="http://schemas.microsoft.com/office/drawing/2014/main" id="{43079A5C-F3A2-9F49-926A-E9B2971FCB23}"/>
                </a:ext>
              </a:extLst>
            </p:cNvPr>
            <p:cNvSpPr/>
            <p:nvPr/>
          </p:nvSpPr>
          <p:spPr>
            <a:xfrm>
              <a:off x="626280" y="1619250"/>
              <a:ext cx="2427536" cy="21438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dirty="0">
                <a:solidFill>
                  <a:srgbClr val="F8F3EF"/>
                </a:solidFill>
                <a:latin typeface="Source Sans Pro"/>
              </a:endParaRPr>
            </a:p>
          </p:txBody>
        </p:sp>
        <p:sp>
          <p:nvSpPr>
            <p:cNvPr id="4" name="Content Placeholder 3">
              <a:extLst>
                <a:ext uri="{FF2B5EF4-FFF2-40B4-BE49-F238E27FC236}">
                  <a16:creationId xmlns:a16="http://schemas.microsoft.com/office/drawing/2014/main" id="{9774AFF5-A6A3-49AA-B355-8D66F3D3F98C}"/>
                </a:ext>
              </a:extLst>
            </p:cNvPr>
            <p:cNvSpPr txBox="1">
              <a:spLocks/>
            </p:cNvSpPr>
            <p:nvPr/>
          </p:nvSpPr>
          <p:spPr>
            <a:xfrm>
              <a:off x="626280" y="2641552"/>
              <a:ext cx="2427536" cy="1121499"/>
            </a:xfrm>
            <a:prstGeom prst="rect">
              <a:avLst/>
            </a:prstGeom>
          </p:spPr>
          <p:txBody>
            <a:bodyPr vert="horz" lIns="243840" tIns="0" rIns="243840" bIns="0" rtlCol="0" anchor="t">
              <a:noAutofit/>
            </a:bodyPr>
            <a:lstStyle>
              <a:lvl1pPr marL="0" marR="0" indent="0" algn="l" defTabSz="685800" rtl="0" eaLnBrk="1" fontAlgn="auto" latinLnBrk="0" hangingPunct="1">
                <a:lnSpc>
                  <a:spcPct val="90000"/>
                </a:lnSpc>
                <a:spcBef>
                  <a:spcPts val="750"/>
                </a:spcBef>
                <a:spcAft>
                  <a:spcPts val="0"/>
                </a:spcAft>
                <a:buClr>
                  <a:schemeClr val="tx2"/>
                </a:buClr>
                <a:buSzPct val="80000"/>
                <a:buFont typeface="+mj-lt"/>
                <a:buNone/>
                <a:tabLst/>
                <a:defRPr sz="2100" b="0" i="0" kern="1200">
                  <a:solidFill>
                    <a:schemeClr val="tx1"/>
                  </a:solidFill>
                  <a:latin typeface="Source Sans Pro" panose="020B0503030403020204" pitchFamily="34" charset="0"/>
                  <a:ea typeface="+mn-ea"/>
                  <a:cs typeface="+mn-cs"/>
                </a:defRPr>
              </a:lvl1pPr>
              <a:lvl2pPr marL="177800"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mn-ea"/>
                  <a:cs typeface="+mn-cs"/>
                </a:defRPr>
              </a:lvl2pPr>
              <a:lvl3pPr marL="346075"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500" b="0" i="0" kern="1200">
                  <a:solidFill>
                    <a:schemeClr val="tx1"/>
                  </a:solidFill>
                  <a:latin typeface="Source Sans Pro" panose="020B0503030403020204" pitchFamily="34" charset="0"/>
                  <a:ea typeface="+mn-ea"/>
                  <a:cs typeface="+mn-cs"/>
                </a:defRPr>
              </a:lvl3pPr>
              <a:lvl4pPr marL="515938" marR="0" indent="-169863"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4pPr>
              <a:lvl5pPr marL="693738" marR="0" indent="-177800"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914354">
                <a:spcBef>
                  <a:spcPts val="1000"/>
                </a:spcBef>
                <a:buClr>
                  <a:srgbClr val="FF6D70"/>
                </a:buClr>
                <a:defRPr/>
              </a:pPr>
              <a:r>
                <a:rPr lang="en-US" sz="2133" b="1" dirty="0">
                  <a:solidFill>
                    <a:srgbClr val="323E48"/>
                  </a:solidFill>
                  <a:latin typeface="Source Sans Pro"/>
                  <a:cs typeface="Calibri" panose="020F0502020204030204" pitchFamily="34" charset="0"/>
                </a:rPr>
                <a:t>Preventive Measures </a:t>
              </a:r>
              <a:br>
                <a:rPr lang="en-US" sz="1600" b="1" dirty="0">
                  <a:solidFill>
                    <a:srgbClr val="323E48"/>
                  </a:solidFill>
                  <a:latin typeface="Source Sans Pro"/>
                  <a:cs typeface="Calibri" panose="020F0502020204030204" pitchFamily="34" charset="0"/>
                </a:rPr>
              </a:br>
              <a:endParaRPr lang="en-US" sz="1600" b="1" dirty="0">
                <a:solidFill>
                  <a:srgbClr val="323E48"/>
                </a:solidFill>
                <a:latin typeface="Source Sans Pro"/>
                <a:cs typeface="Calibri" panose="020F0502020204030204" pitchFamily="34" charset="0"/>
              </a:endParaRPr>
            </a:p>
            <a:p>
              <a:pPr algn="ctr" defTabSz="914354">
                <a:spcBef>
                  <a:spcPts val="1000"/>
                </a:spcBef>
                <a:buClr>
                  <a:srgbClr val="FF6D70"/>
                </a:buClr>
                <a:defRPr/>
              </a:pPr>
              <a:r>
                <a:rPr lang="en-US" sz="1600" dirty="0">
                  <a:solidFill>
                    <a:srgbClr val="323E48"/>
                  </a:solidFill>
                  <a:latin typeface="Source Sans Pro"/>
                </a:rPr>
                <a:t>Preemptively identify and resolve data challenges </a:t>
              </a:r>
            </a:p>
          </p:txBody>
        </p:sp>
        <p:pic>
          <p:nvPicPr>
            <p:cNvPr id="2" name="Picture 1">
              <a:extLst>
                <a:ext uri="{FF2B5EF4-FFF2-40B4-BE49-F238E27FC236}">
                  <a16:creationId xmlns:a16="http://schemas.microsoft.com/office/drawing/2014/main" id="{6D769306-16FC-6C4D-8575-0426173671D2}"/>
                </a:ext>
              </a:extLst>
            </p:cNvPr>
            <p:cNvPicPr>
              <a:picLocks noChangeAspect="1"/>
            </p:cNvPicPr>
            <p:nvPr/>
          </p:nvPicPr>
          <p:blipFill>
            <a:blip r:embed="rId3"/>
            <a:stretch>
              <a:fillRect/>
            </a:stretch>
          </p:blipFill>
          <p:spPr>
            <a:xfrm>
              <a:off x="1573349" y="1997073"/>
              <a:ext cx="533398" cy="368300"/>
            </a:xfrm>
            <a:prstGeom prst="rect">
              <a:avLst/>
            </a:prstGeom>
          </p:spPr>
        </p:pic>
      </p:grpSp>
      <p:grpSp>
        <p:nvGrpSpPr>
          <p:cNvPr id="10" name="Group 9">
            <a:extLst>
              <a:ext uri="{FF2B5EF4-FFF2-40B4-BE49-F238E27FC236}">
                <a16:creationId xmlns:a16="http://schemas.microsoft.com/office/drawing/2014/main" id="{18343EC3-5FD3-A448-B51E-4BBE3F32E27B}"/>
              </a:ext>
            </a:extLst>
          </p:cNvPr>
          <p:cNvGrpSpPr/>
          <p:nvPr/>
        </p:nvGrpSpPr>
        <p:grpSpPr>
          <a:xfrm>
            <a:off x="4436711" y="2159001"/>
            <a:ext cx="3240611" cy="2862100"/>
            <a:chOff x="3327533" y="1619250"/>
            <a:chExt cx="2430458" cy="2146575"/>
          </a:xfrm>
        </p:grpSpPr>
        <p:sp>
          <p:nvSpPr>
            <p:cNvPr id="31" name="Rounded Rectangle 30">
              <a:extLst>
                <a:ext uri="{FF2B5EF4-FFF2-40B4-BE49-F238E27FC236}">
                  <a16:creationId xmlns:a16="http://schemas.microsoft.com/office/drawing/2014/main" id="{79ABDD5C-DD21-4946-AC9C-BAA51A54FCA6}"/>
                </a:ext>
              </a:extLst>
            </p:cNvPr>
            <p:cNvSpPr/>
            <p:nvPr/>
          </p:nvSpPr>
          <p:spPr>
            <a:xfrm>
              <a:off x="3330455" y="1619250"/>
              <a:ext cx="2427536" cy="21438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F8F3EF"/>
                </a:solidFill>
                <a:latin typeface="Source Sans Pro"/>
              </a:endParaRPr>
            </a:p>
          </p:txBody>
        </p:sp>
        <p:sp>
          <p:nvSpPr>
            <p:cNvPr id="5" name="Content Placeholder 3">
              <a:extLst>
                <a:ext uri="{FF2B5EF4-FFF2-40B4-BE49-F238E27FC236}">
                  <a16:creationId xmlns:a16="http://schemas.microsoft.com/office/drawing/2014/main" id="{FFB702E4-57EC-43ED-AD0C-008C8EBC529C}"/>
                </a:ext>
              </a:extLst>
            </p:cNvPr>
            <p:cNvSpPr txBox="1">
              <a:spLocks/>
            </p:cNvSpPr>
            <p:nvPr/>
          </p:nvSpPr>
          <p:spPr>
            <a:xfrm>
              <a:off x="3327533" y="2644326"/>
              <a:ext cx="2427536" cy="1121499"/>
            </a:xfrm>
            <a:prstGeom prst="rect">
              <a:avLst/>
            </a:prstGeom>
          </p:spPr>
          <p:txBody>
            <a:bodyPr vert="horz" lIns="243840" tIns="0" rIns="243840" bIns="0" rtlCol="0" anchor="t">
              <a:noAutofit/>
            </a:bodyPr>
            <a:lstStyle>
              <a:lvl1pPr marL="0" marR="0" indent="0" algn="l" defTabSz="685800" rtl="0" eaLnBrk="1" fontAlgn="auto" latinLnBrk="0" hangingPunct="1">
                <a:lnSpc>
                  <a:spcPct val="90000"/>
                </a:lnSpc>
                <a:spcBef>
                  <a:spcPts val="750"/>
                </a:spcBef>
                <a:spcAft>
                  <a:spcPts val="0"/>
                </a:spcAft>
                <a:buClr>
                  <a:schemeClr val="tx2"/>
                </a:buClr>
                <a:buSzPct val="80000"/>
                <a:buFont typeface="+mj-lt"/>
                <a:buNone/>
                <a:tabLst/>
                <a:defRPr sz="2100" b="0" i="0" kern="1200">
                  <a:solidFill>
                    <a:schemeClr val="tx1"/>
                  </a:solidFill>
                  <a:latin typeface="Source Sans Pro" panose="020B0503030403020204" pitchFamily="34" charset="0"/>
                  <a:ea typeface="+mn-ea"/>
                  <a:cs typeface="+mn-cs"/>
                </a:defRPr>
              </a:lvl1pPr>
              <a:lvl2pPr marL="177800"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mn-ea"/>
                  <a:cs typeface="+mn-cs"/>
                </a:defRPr>
              </a:lvl2pPr>
              <a:lvl3pPr marL="346075"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500" b="0" i="0" kern="1200">
                  <a:solidFill>
                    <a:schemeClr val="tx1"/>
                  </a:solidFill>
                  <a:latin typeface="Source Sans Pro" panose="020B0503030403020204" pitchFamily="34" charset="0"/>
                  <a:ea typeface="+mn-ea"/>
                  <a:cs typeface="+mn-cs"/>
                </a:defRPr>
              </a:lvl3pPr>
              <a:lvl4pPr marL="515938" marR="0" indent="-169863"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4pPr>
              <a:lvl5pPr marL="693738" marR="0" indent="-177800"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914354">
                <a:spcBef>
                  <a:spcPts val="1000"/>
                </a:spcBef>
                <a:buClr>
                  <a:srgbClr val="FF6D70"/>
                </a:buClr>
                <a:defRPr/>
              </a:pPr>
              <a:r>
                <a:rPr lang="en-US" sz="2133" b="1" dirty="0">
                  <a:solidFill>
                    <a:srgbClr val="323E48"/>
                  </a:solidFill>
                  <a:latin typeface="Source Sans Pro"/>
                  <a:cs typeface="Calibri" panose="020F0502020204030204" pitchFamily="34" charset="0"/>
                </a:rPr>
                <a:t>Effective Treatments </a:t>
              </a:r>
              <a:br>
                <a:rPr lang="en-US" sz="1600" b="1" dirty="0">
                  <a:solidFill>
                    <a:srgbClr val="323E48"/>
                  </a:solidFill>
                  <a:latin typeface="Source Sans Pro"/>
                  <a:cs typeface="Calibri" panose="020F0502020204030204" pitchFamily="34" charset="0"/>
                </a:rPr>
              </a:br>
              <a:endParaRPr lang="en-US" sz="1600" b="1" dirty="0">
                <a:solidFill>
                  <a:srgbClr val="323E48"/>
                </a:solidFill>
                <a:latin typeface="Source Sans Pro"/>
                <a:cs typeface="Calibri" panose="020F0502020204030204" pitchFamily="34" charset="0"/>
              </a:endParaRPr>
            </a:p>
            <a:p>
              <a:pPr algn="ctr" defTabSz="914354">
                <a:spcBef>
                  <a:spcPts val="1000"/>
                </a:spcBef>
                <a:buClr>
                  <a:srgbClr val="FF6D70"/>
                </a:buClr>
                <a:defRPr/>
              </a:pPr>
              <a:r>
                <a:rPr lang="en-US" sz="1600" dirty="0">
                  <a:solidFill>
                    <a:srgbClr val="323E48"/>
                  </a:solidFill>
                  <a:latin typeface="Source Sans Pro"/>
                </a:rPr>
                <a:t>Systematically improve data reliability &amp; reduce risk at scale</a:t>
              </a:r>
            </a:p>
          </p:txBody>
        </p:sp>
        <p:pic>
          <p:nvPicPr>
            <p:cNvPr id="8" name="Picture 7">
              <a:extLst>
                <a:ext uri="{FF2B5EF4-FFF2-40B4-BE49-F238E27FC236}">
                  <a16:creationId xmlns:a16="http://schemas.microsoft.com/office/drawing/2014/main" id="{3DF38828-8847-0348-82A0-5DBB07AC723C}"/>
                </a:ext>
              </a:extLst>
            </p:cNvPr>
            <p:cNvPicPr>
              <a:picLocks noChangeAspect="1"/>
            </p:cNvPicPr>
            <p:nvPr/>
          </p:nvPicPr>
          <p:blipFill>
            <a:blip r:embed="rId4"/>
            <a:stretch>
              <a:fillRect/>
            </a:stretch>
          </p:blipFill>
          <p:spPr>
            <a:xfrm>
              <a:off x="4337050" y="1920873"/>
              <a:ext cx="482600" cy="520700"/>
            </a:xfrm>
            <a:prstGeom prst="rect">
              <a:avLst/>
            </a:prstGeom>
          </p:spPr>
        </p:pic>
      </p:grpSp>
      <p:grpSp>
        <p:nvGrpSpPr>
          <p:cNvPr id="11" name="Group 10">
            <a:extLst>
              <a:ext uri="{FF2B5EF4-FFF2-40B4-BE49-F238E27FC236}">
                <a16:creationId xmlns:a16="http://schemas.microsoft.com/office/drawing/2014/main" id="{3F593202-66EB-714D-B1B0-9B743E024FCB}"/>
              </a:ext>
            </a:extLst>
          </p:cNvPr>
          <p:cNvGrpSpPr/>
          <p:nvPr/>
        </p:nvGrpSpPr>
        <p:grpSpPr>
          <a:xfrm>
            <a:off x="8038381" y="2159001"/>
            <a:ext cx="3240611" cy="2859185"/>
            <a:chOff x="6028786" y="1619250"/>
            <a:chExt cx="2430458" cy="2144389"/>
          </a:xfrm>
        </p:grpSpPr>
        <p:sp>
          <p:nvSpPr>
            <p:cNvPr id="32" name="Rounded Rectangle 31">
              <a:extLst>
                <a:ext uri="{FF2B5EF4-FFF2-40B4-BE49-F238E27FC236}">
                  <a16:creationId xmlns:a16="http://schemas.microsoft.com/office/drawing/2014/main" id="{F29E6F11-5DC9-AB4C-9F9A-07FD2AB59DE2}"/>
                </a:ext>
              </a:extLst>
            </p:cNvPr>
            <p:cNvSpPr/>
            <p:nvPr/>
          </p:nvSpPr>
          <p:spPr>
            <a:xfrm>
              <a:off x="6031708" y="1619250"/>
              <a:ext cx="2427536" cy="2143801"/>
            </a:xfrm>
            <a:prstGeom prst="roundRect">
              <a:avLst>
                <a:gd name="adj" fmla="val 2753"/>
              </a:avLst>
            </a:prstGeom>
            <a:solidFill>
              <a:schemeClr val="accent5"/>
            </a:solidFill>
            <a:ln>
              <a:gradFill>
                <a:gsLst>
                  <a:gs pos="0">
                    <a:schemeClr val="accent3"/>
                  </a:gs>
                  <a:gs pos="100000">
                    <a:schemeClr val="accent1">
                      <a:lumMod val="60000"/>
                      <a:lumOff val="4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F8F3EF"/>
                </a:solidFill>
                <a:latin typeface="Source Sans Pro"/>
              </a:endParaRPr>
            </a:p>
          </p:txBody>
        </p:sp>
        <p:sp>
          <p:nvSpPr>
            <p:cNvPr id="6" name="Content Placeholder 3">
              <a:extLst>
                <a:ext uri="{FF2B5EF4-FFF2-40B4-BE49-F238E27FC236}">
                  <a16:creationId xmlns:a16="http://schemas.microsoft.com/office/drawing/2014/main" id="{8736C1AD-35BC-4BD5-9804-D1E8AD2FD4C2}"/>
                </a:ext>
              </a:extLst>
            </p:cNvPr>
            <p:cNvSpPr txBox="1">
              <a:spLocks/>
            </p:cNvSpPr>
            <p:nvPr/>
          </p:nvSpPr>
          <p:spPr>
            <a:xfrm>
              <a:off x="6028786" y="2644327"/>
              <a:ext cx="2427536" cy="1119312"/>
            </a:xfrm>
            <a:prstGeom prst="rect">
              <a:avLst/>
            </a:prstGeom>
          </p:spPr>
          <p:txBody>
            <a:bodyPr vert="horz" lIns="243840" tIns="0" rIns="243840" bIns="0" rtlCol="0" anchor="t">
              <a:noAutofit/>
            </a:bodyPr>
            <a:lstStyle>
              <a:lvl1pPr marL="0" marR="0" indent="0" algn="l" defTabSz="685800" rtl="0" eaLnBrk="1" fontAlgn="auto" latinLnBrk="0" hangingPunct="1">
                <a:lnSpc>
                  <a:spcPct val="90000"/>
                </a:lnSpc>
                <a:spcBef>
                  <a:spcPts val="750"/>
                </a:spcBef>
                <a:spcAft>
                  <a:spcPts val="0"/>
                </a:spcAft>
                <a:buClr>
                  <a:schemeClr val="tx2"/>
                </a:buClr>
                <a:buSzPct val="80000"/>
                <a:buFont typeface="+mj-lt"/>
                <a:buNone/>
                <a:tabLst/>
                <a:defRPr sz="2100" b="0" i="0" kern="1200">
                  <a:solidFill>
                    <a:schemeClr val="tx1"/>
                  </a:solidFill>
                  <a:latin typeface="Source Sans Pro" panose="020B0503030403020204" pitchFamily="34" charset="0"/>
                  <a:ea typeface="+mn-ea"/>
                  <a:cs typeface="+mn-cs"/>
                </a:defRPr>
              </a:lvl1pPr>
              <a:lvl2pPr marL="177800"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mn-ea"/>
                  <a:cs typeface="+mn-cs"/>
                </a:defRPr>
              </a:lvl2pPr>
              <a:lvl3pPr marL="346075"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500" b="0" i="0" kern="1200">
                  <a:solidFill>
                    <a:schemeClr val="tx1"/>
                  </a:solidFill>
                  <a:latin typeface="Source Sans Pro" panose="020B0503030403020204" pitchFamily="34" charset="0"/>
                  <a:ea typeface="+mn-ea"/>
                  <a:cs typeface="+mn-cs"/>
                </a:defRPr>
              </a:lvl3pPr>
              <a:lvl4pPr marL="515938" marR="0" indent="-169863"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4pPr>
              <a:lvl5pPr marL="693738" marR="0" indent="-177800"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85783">
                <a:spcBef>
                  <a:spcPts val="751"/>
                </a:spcBef>
                <a:buClr>
                  <a:srgbClr val="FF6D70"/>
                </a:buClr>
                <a:defRPr/>
              </a:pPr>
              <a:r>
                <a:rPr lang="en-US" sz="2133" b="1" dirty="0">
                  <a:solidFill>
                    <a:srgbClr val="323E48"/>
                  </a:solidFill>
                  <a:latin typeface="Source Sans Pro"/>
                  <a:cs typeface="Calibri" panose="020F0502020204030204" pitchFamily="34" charset="0"/>
                </a:rPr>
                <a:t>Supportive Culture</a:t>
              </a:r>
              <a:br>
                <a:rPr lang="en-US" sz="1600" b="1" dirty="0">
                  <a:solidFill>
                    <a:srgbClr val="323E48"/>
                  </a:solidFill>
                  <a:latin typeface="Source Sans Pro"/>
                  <a:cs typeface="Calibri" panose="020F0502020204030204" pitchFamily="34" charset="0"/>
                </a:rPr>
              </a:br>
              <a:endParaRPr lang="en-US" sz="1600" b="1" dirty="0">
                <a:solidFill>
                  <a:srgbClr val="323E48"/>
                </a:solidFill>
                <a:latin typeface="Source Sans Pro"/>
                <a:cs typeface="Calibri" panose="020F0502020204030204" pitchFamily="34" charset="0"/>
              </a:endParaRPr>
            </a:p>
            <a:p>
              <a:pPr algn="ctr" defTabSz="685783">
                <a:spcBef>
                  <a:spcPts val="751"/>
                </a:spcBef>
                <a:buClr>
                  <a:srgbClr val="FF6D70"/>
                </a:buClr>
                <a:defRPr/>
              </a:pPr>
              <a:r>
                <a:rPr lang="en-US" sz="1600" dirty="0">
                  <a:solidFill>
                    <a:srgbClr val="323E48"/>
                  </a:solidFill>
                  <a:latin typeface="Source Sans Pro"/>
                </a:rPr>
                <a:t>Establish an organizational discipline around data sharing, care &amp; maintenance</a:t>
              </a:r>
            </a:p>
          </p:txBody>
        </p:sp>
        <p:pic>
          <p:nvPicPr>
            <p:cNvPr id="9" name="Picture 8">
              <a:extLst>
                <a:ext uri="{FF2B5EF4-FFF2-40B4-BE49-F238E27FC236}">
                  <a16:creationId xmlns:a16="http://schemas.microsoft.com/office/drawing/2014/main" id="{159D748D-637D-2D45-947B-DDF38405B320}"/>
                </a:ext>
              </a:extLst>
            </p:cNvPr>
            <p:cNvPicPr>
              <a:picLocks noChangeAspect="1"/>
            </p:cNvPicPr>
            <p:nvPr/>
          </p:nvPicPr>
          <p:blipFill>
            <a:blip r:embed="rId5"/>
            <a:stretch>
              <a:fillRect/>
            </a:stretch>
          </p:blipFill>
          <p:spPr>
            <a:xfrm>
              <a:off x="6963155" y="1857374"/>
              <a:ext cx="558798" cy="647698"/>
            </a:xfrm>
            <a:prstGeom prst="rect">
              <a:avLst/>
            </a:prstGeom>
          </p:spPr>
        </p:pic>
      </p:grpSp>
      <p:grpSp>
        <p:nvGrpSpPr>
          <p:cNvPr id="23" name="4 Xs">
            <a:extLst>
              <a:ext uri="{FF2B5EF4-FFF2-40B4-BE49-F238E27FC236}">
                <a16:creationId xmlns:a16="http://schemas.microsoft.com/office/drawing/2014/main" id="{7B881DEC-ADD8-CA44-86DB-55FA3AB6662C}"/>
              </a:ext>
            </a:extLst>
          </p:cNvPr>
          <p:cNvGrpSpPr/>
          <p:nvPr/>
        </p:nvGrpSpPr>
        <p:grpSpPr>
          <a:xfrm>
            <a:off x="10187145" y="5496168"/>
            <a:ext cx="1738833" cy="955859"/>
            <a:chOff x="4350238" y="4169018"/>
            <a:chExt cx="1298751" cy="713976"/>
          </a:xfrm>
          <a:solidFill>
            <a:schemeClr val="accent5"/>
          </a:solidFill>
        </p:grpSpPr>
        <p:sp>
          <p:nvSpPr>
            <p:cNvPr id="24" name="Graphic 37">
              <a:extLst>
                <a:ext uri="{FF2B5EF4-FFF2-40B4-BE49-F238E27FC236}">
                  <a16:creationId xmlns:a16="http://schemas.microsoft.com/office/drawing/2014/main" id="{F553A3A5-2720-0A46-B70A-A1E4030DEF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sp>
          <p:nvSpPr>
            <p:cNvPr id="25" name="Graphic 37">
              <a:extLst>
                <a:ext uri="{FF2B5EF4-FFF2-40B4-BE49-F238E27FC236}">
                  <a16:creationId xmlns:a16="http://schemas.microsoft.com/office/drawing/2014/main" id="{98219278-1395-1F42-80C9-089F7A9DA6F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sp>
          <p:nvSpPr>
            <p:cNvPr id="26" name="Graphic 37">
              <a:extLst>
                <a:ext uri="{FF2B5EF4-FFF2-40B4-BE49-F238E27FC236}">
                  <a16:creationId xmlns:a16="http://schemas.microsoft.com/office/drawing/2014/main" id="{39DA1BCF-9304-5341-91AF-5790B0CDA9F0}"/>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sp>
          <p:nvSpPr>
            <p:cNvPr id="27" name="Graphic 37">
              <a:extLst>
                <a:ext uri="{FF2B5EF4-FFF2-40B4-BE49-F238E27FC236}">
                  <a16:creationId xmlns:a16="http://schemas.microsoft.com/office/drawing/2014/main" id="{D853CF80-0840-1A42-B638-6C9C2F6518A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grpSp>
      <p:grpSp>
        <p:nvGrpSpPr>
          <p:cNvPr id="29" name="4 Xs">
            <a:extLst>
              <a:ext uri="{FF2B5EF4-FFF2-40B4-BE49-F238E27FC236}">
                <a16:creationId xmlns:a16="http://schemas.microsoft.com/office/drawing/2014/main" id="{4F314BAD-2790-E44C-8497-AC49F34F2700}"/>
              </a:ext>
            </a:extLst>
          </p:cNvPr>
          <p:cNvGrpSpPr/>
          <p:nvPr/>
        </p:nvGrpSpPr>
        <p:grpSpPr>
          <a:xfrm flipH="1">
            <a:off x="296657" y="882677"/>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33" name="Graphic 37">
              <a:extLst>
                <a:ext uri="{FF2B5EF4-FFF2-40B4-BE49-F238E27FC236}">
                  <a16:creationId xmlns:a16="http://schemas.microsoft.com/office/drawing/2014/main" id="{75FE0D5C-53F5-2345-8CDF-3ECD700C2D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sp>
          <p:nvSpPr>
            <p:cNvPr id="35" name="Graphic 37">
              <a:extLst>
                <a:ext uri="{FF2B5EF4-FFF2-40B4-BE49-F238E27FC236}">
                  <a16:creationId xmlns:a16="http://schemas.microsoft.com/office/drawing/2014/main" id="{0FF81E60-85BB-E643-87A1-40B81EBB607F}"/>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sp>
          <p:nvSpPr>
            <p:cNvPr id="38" name="Graphic 37">
              <a:extLst>
                <a:ext uri="{FF2B5EF4-FFF2-40B4-BE49-F238E27FC236}">
                  <a16:creationId xmlns:a16="http://schemas.microsoft.com/office/drawing/2014/main" id="{072C4D20-0B3C-D245-B151-FAD99526CBC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grpSp>
    </p:spTree>
    <p:extLst>
      <p:ext uri="{BB962C8B-B14F-4D97-AF65-F5344CB8AC3E}">
        <p14:creationId xmlns:p14="http://schemas.microsoft.com/office/powerpoint/2010/main" val="1872843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nodeType="withEffect">
                                  <p:stCondLst>
                                    <p:cond delay="0"/>
                                  </p:stCondLst>
                                  <p:childTnLst>
                                    <p:animMotion origin="layout" path="M 2.5E-6 -0.03457 L 2.5E-6 -2.34568E-6 " pathEditMode="relative" rAng="0" ptsTypes="AA">
                                      <p:cBhvr>
                                        <p:cTn id="9" dur="500" fill="hold"/>
                                        <p:tgtEl>
                                          <p:spTgt spid="3"/>
                                        </p:tgtEl>
                                        <p:attrNameLst>
                                          <p:attrName>ppt_x</p:attrName>
                                          <p:attrName>ppt_y</p:attrName>
                                        </p:attrNameLst>
                                      </p:cBhvr>
                                      <p:rCtr x="0" y="1728"/>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50"/>
                                        <p:tgtEl>
                                          <p:spTgt spid="10"/>
                                        </p:tgtEl>
                                      </p:cBhvr>
                                    </p:animEffect>
                                  </p:childTnLst>
                                </p:cTn>
                              </p:par>
                              <p:par>
                                <p:cTn id="14" presetID="42" presetClass="path" presetSubtype="0" decel="100000" fill="hold" nodeType="withEffect">
                                  <p:stCondLst>
                                    <p:cond delay="0"/>
                                  </p:stCondLst>
                                  <p:childTnLst>
                                    <p:animMotion origin="layout" path="M 2.5E-6 -0.03457 L 2.5E-6 -2.34568E-6 " pathEditMode="relative" rAng="0" ptsTypes="AA">
                                      <p:cBhvr>
                                        <p:cTn id="15" dur="500" fill="hold"/>
                                        <p:tgtEl>
                                          <p:spTgt spid="10"/>
                                        </p:tgtEl>
                                        <p:attrNameLst>
                                          <p:attrName>ppt_x</p:attrName>
                                          <p:attrName>ppt_y</p:attrName>
                                        </p:attrNameLst>
                                      </p:cBhvr>
                                      <p:rCtr x="0" y="1728"/>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par>
                                <p:cTn id="20" presetID="42" presetClass="path" presetSubtype="0" decel="100000" fill="hold" nodeType="withEffect">
                                  <p:stCondLst>
                                    <p:cond delay="0"/>
                                  </p:stCondLst>
                                  <p:childTnLst>
                                    <p:animMotion origin="layout" path="M 2.5E-6 -0.03457 L 2.5E-6 -2.34568E-6 " pathEditMode="relative" rAng="0" ptsTypes="AA">
                                      <p:cBhvr>
                                        <p:cTn id="21" dur="500" fill="hold"/>
                                        <p:tgtEl>
                                          <p:spTgt spid="11"/>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8553501"/>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rapezoid 90">
            <a:extLst>
              <a:ext uri="{FF2B5EF4-FFF2-40B4-BE49-F238E27FC236}">
                <a16:creationId xmlns:a16="http://schemas.microsoft.com/office/drawing/2014/main" id="{BF7CF18C-4622-A941-8913-3A1A4335D360}"/>
              </a:ext>
            </a:extLst>
          </p:cNvPr>
          <p:cNvSpPr/>
          <p:nvPr/>
        </p:nvSpPr>
        <p:spPr>
          <a:xfrm rot="16200000" flipH="1">
            <a:off x="6324857" y="995442"/>
            <a:ext cx="6858000" cy="4867124"/>
          </a:xfrm>
          <a:prstGeom prst="trapezoid">
            <a:avLst>
              <a:gd name="adj" fmla="val 44881"/>
            </a:avLst>
          </a:prstGeom>
          <a:gradFill flip="none" rotWithShape="1">
            <a:gsLst>
              <a:gs pos="99000">
                <a:schemeClr val="accent4">
                  <a:alpha val="5202"/>
                </a:schemeClr>
              </a:gs>
              <a:gs pos="0">
                <a:schemeClr val="accent5">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F8F3EF"/>
              </a:solidFill>
              <a:latin typeface="Source Sans Pro"/>
            </a:endParaRPr>
          </a:p>
        </p:txBody>
      </p:sp>
      <p:sp>
        <p:nvSpPr>
          <p:cNvPr id="90" name="Trapezoid 89">
            <a:extLst>
              <a:ext uri="{FF2B5EF4-FFF2-40B4-BE49-F238E27FC236}">
                <a16:creationId xmlns:a16="http://schemas.microsoft.com/office/drawing/2014/main" id="{4829406E-2518-E94D-8237-C698CA31EA9D}"/>
              </a:ext>
            </a:extLst>
          </p:cNvPr>
          <p:cNvSpPr/>
          <p:nvPr/>
        </p:nvSpPr>
        <p:spPr>
          <a:xfrm rot="5400000">
            <a:off x="-1007785" y="995438"/>
            <a:ext cx="6858000" cy="4867124"/>
          </a:xfrm>
          <a:prstGeom prst="trapezoid">
            <a:avLst>
              <a:gd name="adj" fmla="val 44881"/>
            </a:avLst>
          </a:prstGeom>
          <a:gradFill flip="none" rotWithShape="1">
            <a:gsLst>
              <a:gs pos="99000">
                <a:schemeClr val="accent4">
                  <a:alpha val="5202"/>
                </a:schemeClr>
              </a:gs>
              <a:gs pos="0">
                <a:schemeClr val="accent5">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F8F3EF"/>
              </a:solidFill>
              <a:latin typeface="Source Sans Pro"/>
            </a:endParaRPr>
          </a:p>
        </p:txBody>
      </p:sp>
      <p:grpSp>
        <p:nvGrpSpPr>
          <p:cNvPr id="15" name="Group 14">
            <a:extLst>
              <a:ext uri="{FF2B5EF4-FFF2-40B4-BE49-F238E27FC236}">
                <a16:creationId xmlns:a16="http://schemas.microsoft.com/office/drawing/2014/main" id="{54CBEF65-730C-4F98-BBED-656FD9B1C2FC}"/>
              </a:ext>
            </a:extLst>
          </p:cNvPr>
          <p:cNvGrpSpPr/>
          <p:nvPr/>
        </p:nvGrpSpPr>
        <p:grpSpPr>
          <a:xfrm>
            <a:off x="3836328" y="1165868"/>
            <a:ext cx="4511040" cy="4511040"/>
            <a:chOff x="2877246" y="874401"/>
            <a:chExt cx="3383280" cy="3383280"/>
          </a:xfrm>
        </p:grpSpPr>
        <p:sp>
          <p:nvSpPr>
            <p:cNvPr id="4" name="Oval 3">
              <a:extLst>
                <a:ext uri="{FF2B5EF4-FFF2-40B4-BE49-F238E27FC236}">
                  <a16:creationId xmlns:a16="http://schemas.microsoft.com/office/drawing/2014/main" id="{9A4C2724-E4BE-4FBA-AC57-27A120021CC1}"/>
                </a:ext>
              </a:extLst>
            </p:cNvPr>
            <p:cNvSpPr/>
            <p:nvPr/>
          </p:nvSpPr>
          <p:spPr>
            <a:xfrm>
              <a:off x="2877246" y="874401"/>
              <a:ext cx="3383280" cy="3383280"/>
            </a:xfrm>
            <a:prstGeom prst="ellipse">
              <a:avLst/>
            </a:prstGeom>
            <a:gradFill flip="none" rotWithShape="1">
              <a:gsLst>
                <a:gs pos="0">
                  <a:schemeClr val="accent2">
                    <a:lumMod val="80000"/>
                  </a:schemeClr>
                </a:gs>
                <a:gs pos="100000">
                  <a:srgbClr val="1D2024"/>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dirty="0">
                <a:solidFill>
                  <a:srgbClr val="F8F3EF"/>
                </a:solidFill>
                <a:latin typeface="Source Sans Pro"/>
              </a:endParaRPr>
            </a:p>
          </p:txBody>
        </p:sp>
        <p:sp>
          <p:nvSpPr>
            <p:cNvPr id="6" name="TextBox 5">
              <a:extLst>
                <a:ext uri="{FF2B5EF4-FFF2-40B4-BE49-F238E27FC236}">
                  <a16:creationId xmlns:a16="http://schemas.microsoft.com/office/drawing/2014/main" id="{264F8926-7EDF-4B34-B917-964D056C97E1}"/>
                </a:ext>
              </a:extLst>
            </p:cNvPr>
            <p:cNvSpPr txBox="1"/>
            <p:nvPr/>
          </p:nvSpPr>
          <p:spPr>
            <a:xfrm>
              <a:off x="3531162" y="1068338"/>
              <a:ext cx="2103120" cy="1188720"/>
            </a:xfrm>
            <a:prstGeom prst="rect">
              <a:avLst/>
            </a:prstGeom>
            <a:noFill/>
          </p:spPr>
          <p:txBody>
            <a:bodyPr spcFirstLastPara="1" wrap="none" lIns="0" tIns="0" rIns="0" bIns="0" numCol="1" rtlCol="0">
              <a:prstTxWarp prst="textCircle">
                <a:avLst>
                  <a:gd name="adj" fmla="val 12385444"/>
                </a:avLst>
              </a:prstTxWarp>
              <a:spAutoFit/>
            </a:bodyPr>
            <a:lstStyle/>
            <a:p>
              <a:pPr defTabSz="609585">
                <a:defRPr/>
              </a:pPr>
              <a:r>
                <a:rPr lang="en-US" sz="1867" b="1" dirty="0">
                  <a:solidFill>
                    <a:srgbClr val="FFFFFF"/>
                  </a:solidFill>
                  <a:latin typeface="Source Sans Pro"/>
                </a:rPr>
                <a:t>Best Practices and Services</a:t>
              </a:r>
            </a:p>
          </p:txBody>
        </p:sp>
      </p:grpSp>
      <p:grpSp>
        <p:nvGrpSpPr>
          <p:cNvPr id="99" name="Group 98">
            <a:extLst>
              <a:ext uri="{FF2B5EF4-FFF2-40B4-BE49-F238E27FC236}">
                <a16:creationId xmlns:a16="http://schemas.microsoft.com/office/drawing/2014/main" id="{EB0A86C1-8CB6-48C2-9A44-737C20CEB194}"/>
              </a:ext>
            </a:extLst>
          </p:cNvPr>
          <p:cNvGrpSpPr/>
          <p:nvPr/>
        </p:nvGrpSpPr>
        <p:grpSpPr>
          <a:xfrm>
            <a:off x="4221915" y="1575421"/>
            <a:ext cx="3755984" cy="3747543"/>
            <a:chOff x="3166436" y="1454407"/>
            <a:chExt cx="2816988" cy="2810657"/>
          </a:xfrm>
        </p:grpSpPr>
        <p:pic>
          <p:nvPicPr>
            <p:cNvPr id="35" name="Picture 34">
              <a:extLst>
                <a:ext uri="{FF2B5EF4-FFF2-40B4-BE49-F238E27FC236}">
                  <a16:creationId xmlns:a16="http://schemas.microsoft.com/office/drawing/2014/main" id="{8DE27BE2-AAAC-40A3-B342-10F76A1F18B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166436" y="1454407"/>
              <a:ext cx="2816988" cy="2810657"/>
            </a:xfrm>
            <a:prstGeom prst="rect">
              <a:avLst/>
            </a:prstGeom>
          </p:spPr>
        </p:pic>
        <p:sp>
          <p:nvSpPr>
            <p:cNvPr id="54" name="Oval 53">
              <a:extLst>
                <a:ext uri="{FF2B5EF4-FFF2-40B4-BE49-F238E27FC236}">
                  <a16:creationId xmlns:a16="http://schemas.microsoft.com/office/drawing/2014/main" id="{F3D85815-E3F7-4BC8-9C92-E41E15C63DC3}"/>
                </a:ext>
              </a:extLst>
            </p:cNvPr>
            <p:cNvSpPr/>
            <p:nvPr/>
          </p:nvSpPr>
          <p:spPr>
            <a:xfrm>
              <a:off x="4403330" y="1806969"/>
              <a:ext cx="1463040" cy="1463040"/>
            </a:xfrm>
            <a:prstGeom prst="ellipse">
              <a:avLst/>
            </a:prstGeom>
            <a:gradFill flip="none" rotWithShape="1">
              <a:gsLst>
                <a:gs pos="0">
                  <a:schemeClr val="bg1">
                    <a:alpha val="70000"/>
                  </a:schemeClr>
                </a:gs>
                <a:gs pos="100000">
                  <a:schemeClr val="bg1">
                    <a:shade val="100000"/>
                    <a:satMod val="115000"/>
                  </a:schemeClr>
                </a:gs>
              </a:gsLst>
              <a:path path="circle">
                <a:fillToRect r="100000" b="100000"/>
              </a:path>
              <a:tileRect l="-100000" t="-100000"/>
            </a:gradFill>
            <a:ln w="12700">
              <a:solidFill>
                <a:schemeClr val="accent1">
                  <a:lumMod val="40000"/>
                  <a:lumOff val="60000"/>
                  <a:alpha val="19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defTabSz="609585">
                <a:defRPr/>
              </a:pPr>
              <a:r>
                <a:rPr lang="en-US" sz="1333" b="1">
                  <a:solidFill>
                    <a:srgbClr val="323E48"/>
                  </a:solidFill>
                  <a:latin typeface="Source Sans Pro"/>
                  <a:cs typeface="Calibri" panose="020F0502020204030204" pitchFamily="34" charset="0"/>
                </a:rPr>
                <a:t>Data Integrity &amp; Governance</a:t>
              </a:r>
            </a:p>
            <a:p>
              <a:pPr algn="r" defTabSz="609585">
                <a:defRPr/>
              </a:pPr>
              <a:endParaRPr lang="en-US" sz="1200" b="1">
                <a:solidFill>
                  <a:srgbClr val="323E48"/>
                </a:solidFill>
                <a:latin typeface="Source Sans Pro"/>
                <a:cs typeface="Calibri" panose="020F0502020204030204" pitchFamily="34" charset="0"/>
              </a:endParaRPr>
            </a:p>
            <a:p>
              <a:pPr algn="r" defTabSz="609585">
                <a:defRPr/>
              </a:pPr>
              <a:endParaRPr lang="en-US" sz="1200" b="1">
                <a:solidFill>
                  <a:srgbClr val="323E48"/>
                </a:solidFill>
                <a:latin typeface="Source Sans Pro"/>
                <a:cs typeface="Calibri" panose="020F0502020204030204" pitchFamily="34" charset="0"/>
              </a:endParaRPr>
            </a:p>
            <a:p>
              <a:pPr algn="r" defTabSz="609585">
                <a:defRPr/>
              </a:pPr>
              <a:endParaRPr lang="en-US" sz="1200" b="1">
                <a:solidFill>
                  <a:srgbClr val="323E48"/>
                </a:solidFill>
                <a:latin typeface="Source Sans Pro"/>
                <a:cs typeface="Calibri" panose="020F0502020204030204" pitchFamily="34" charset="0"/>
              </a:endParaRPr>
            </a:p>
            <a:p>
              <a:pPr algn="r" defTabSz="609585">
                <a:defRPr/>
              </a:pPr>
              <a:endParaRPr lang="en-US" sz="1200" b="1">
                <a:solidFill>
                  <a:srgbClr val="323E48"/>
                </a:solidFill>
                <a:latin typeface="Source Sans Pro"/>
                <a:cs typeface="Calibri" panose="020F0502020204030204" pitchFamily="34" charset="0"/>
              </a:endParaRPr>
            </a:p>
          </p:txBody>
        </p:sp>
        <p:sp>
          <p:nvSpPr>
            <p:cNvPr id="55" name="Oval 54">
              <a:extLst>
                <a:ext uri="{FF2B5EF4-FFF2-40B4-BE49-F238E27FC236}">
                  <a16:creationId xmlns:a16="http://schemas.microsoft.com/office/drawing/2014/main" id="{C87B71A1-B6BC-454F-9C51-535F6AC505BA}"/>
                </a:ext>
              </a:extLst>
            </p:cNvPr>
            <p:cNvSpPr/>
            <p:nvPr/>
          </p:nvSpPr>
          <p:spPr>
            <a:xfrm>
              <a:off x="3303878" y="1811323"/>
              <a:ext cx="1463040" cy="1463040"/>
            </a:xfrm>
            <a:prstGeom prst="ellipse">
              <a:avLst/>
            </a:prstGeom>
            <a:gradFill flip="none" rotWithShape="1">
              <a:gsLst>
                <a:gs pos="0">
                  <a:schemeClr val="bg1">
                    <a:alpha val="70000"/>
                  </a:schemeClr>
                </a:gs>
                <a:gs pos="100000">
                  <a:schemeClr val="bg1">
                    <a:shade val="100000"/>
                    <a:satMod val="115000"/>
                  </a:schemeClr>
                </a:gs>
              </a:gsLst>
              <a:path path="circle">
                <a:fillToRect r="100000" b="100000"/>
              </a:path>
              <a:tileRect l="-100000" t="-100000"/>
            </a:gradFill>
            <a:ln w="12700">
              <a:solidFill>
                <a:schemeClr val="accent1">
                  <a:lumMod val="40000"/>
                  <a:lumOff val="60000"/>
                  <a:alpha val="19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585">
                <a:defRPr/>
              </a:pPr>
              <a:endParaRPr lang="en-US" sz="1200" b="1" dirty="0">
                <a:solidFill>
                  <a:srgbClr val="323E48"/>
                </a:solidFill>
                <a:latin typeface="Source Sans Pro"/>
                <a:cs typeface="Calibri" panose="020F0502020204030204" pitchFamily="34" charset="0"/>
              </a:endParaRPr>
            </a:p>
            <a:p>
              <a:pPr algn="ctr" defTabSz="609585">
                <a:defRPr/>
              </a:pPr>
              <a:endParaRPr lang="en-US" sz="1200" b="1" dirty="0">
                <a:solidFill>
                  <a:srgbClr val="323E48"/>
                </a:solidFill>
                <a:latin typeface="Source Sans Pro"/>
                <a:cs typeface="Calibri" panose="020F0502020204030204" pitchFamily="34" charset="0"/>
              </a:endParaRPr>
            </a:p>
            <a:p>
              <a:pPr algn="ctr" defTabSz="609585">
                <a:defRPr/>
              </a:pPr>
              <a:endParaRPr lang="en-US" sz="1200" b="1" dirty="0">
                <a:solidFill>
                  <a:srgbClr val="323E48"/>
                </a:solidFill>
                <a:latin typeface="Source Sans Pro"/>
                <a:cs typeface="Calibri" panose="020F0502020204030204" pitchFamily="34" charset="0"/>
              </a:endParaRPr>
            </a:p>
            <a:p>
              <a:pPr defTabSz="609585">
                <a:defRPr/>
              </a:pPr>
              <a:r>
                <a:rPr lang="en-US" sz="1333" b="1" dirty="0">
                  <a:solidFill>
                    <a:srgbClr val="323E48"/>
                  </a:solidFill>
                  <a:latin typeface="Source Sans Pro"/>
                  <a:cs typeface="Calibri" panose="020F0502020204030204" pitchFamily="34" charset="0"/>
                </a:rPr>
                <a:t>Data</a:t>
              </a:r>
            </a:p>
            <a:p>
              <a:pPr defTabSz="609585">
                <a:defRPr/>
              </a:pPr>
              <a:r>
                <a:rPr lang="en-US" sz="1333" b="1" dirty="0">
                  <a:solidFill>
                    <a:srgbClr val="323E48"/>
                  </a:solidFill>
                  <a:latin typeface="Source Sans Pro"/>
                  <a:cs typeface="Calibri" panose="020F0502020204030204" pitchFamily="34" charset="0"/>
                </a:rPr>
                <a:t>Integration</a:t>
              </a:r>
            </a:p>
            <a:p>
              <a:pPr defTabSz="609585">
                <a:defRPr/>
              </a:pPr>
              <a:endParaRPr lang="en-US" sz="1200" b="1" dirty="0">
                <a:solidFill>
                  <a:srgbClr val="323E48"/>
                </a:solidFill>
                <a:latin typeface="Source Sans Pro"/>
                <a:cs typeface="Calibri" panose="020F0502020204030204" pitchFamily="34" charset="0"/>
              </a:endParaRPr>
            </a:p>
            <a:p>
              <a:pPr defTabSz="609585">
                <a:defRPr/>
              </a:pPr>
              <a:endParaRPr lang="en-US" sz="1200" b="1" dirty="0">
                <a:solidFill>
                  <a:srgbClr val="323E48"/>
                </a:solidFill>
                <a:latin typeface="Source Sans Pro"/>
                <a:cs typeface="Calibri" panose="020F0502020204030204" pitchFamily="34" charset="0"/>
              </a:endParaRPr>
            </a:p>
            <a:p>
              <a:pPr defTabSz="609585">
                <a:defRPr/>
              </a:pPr>
              <a:endParaRPr lang="en-US" sz="1200" b="1" dirty="0">
                <a:solidFill>
                  <a:srgbClr val="323E48"/>
                </a:solidFill>
                <a:latin typeface="Source Sans Pro"/>
                <a:cs typeface="Calibri" panose="020F0502020204030204" pitchFamily="34" charset="0"/>
              </a:endParaRPr>
            </a:p>
            <a:p>
              <a:pPr defTabSz="609585">
                <a:defRPr/>
              </a:pPr>
              <a:endParaRPr lang="en-US" sz="1200" b="1" dirty="0">
                <a:solidFill>
                  <a:srgbClr val="323E48"/>
                </a:solidFill>
                <a:latin typeface="Source Sans Pro"/>
                <a:cs typeface="Calibri" panose="020F0502020204030204" pitchFamily="34" charset="0"/>
              </a:endParaRPr>
            </a:p>
            <a:p>
              <a:pPr defTabSz="609585">
                <a:defRPr/>
              </a:pPr>
              <a:endParaRPr lang="en-US" sz="1200" b="1" dirty="0">
                <a:solidFill>
                  <a:srgbClr val="323E48"/>
                </a:solidFill>
                <a:latin typeface="Source Sans Pro"/>
                <a:cs typeface="Calibri" panose="020F0502020204030204" pitchFamily="34" charset="0"/>
              </a:endParaRPr>
            </a:p>
            <a:p>
              <a:pPr defTabSz="609585">
                <a:defRPr/>
              </a:pPr>
              <a:endParaRPr lang="en-US" sz="1200" b="1" dirty="0">
                <a:solidFill>
                  <a:srgbClr val="323E48"/>
                </a:solidFill>
                <a:latin typeface="Source Sans Pro"/>
                <a:cs typeface="Calibri" panose="020F0502020204030204" pitchFamily="34" charset="0"/>
              </a:endParaRPr>
            </a:p>
            <a:p>
              <a:pPr defTabSz="609585">
                <a:defRPr/>
              </a:pPr>
              <a:endParaRPr lang="en-US" sz="1200" b="1" dirty="0">
                <a:solidFill>
                  <a:srgbClr val="323E48"/>
                </a:solidFill>
                <a:latin typeface="Source Sans Pro"/>
                <a:cs typeface="Calibri" panose="020F0502020204030204" pitchFamily="34" charset="0"/>
              </a:endParaRPr>
            </a:p>
          </p:txBody>
        </p:sp>
        <p:sp>
          <p:nvSpPr>
            <p:cNvPr id="56" name="Oval 55">
              <a:extLst>
                <a:ext uri="{FF2B5EF4-FFF2-40B4-BE49-F238E27FC236}">
                  <a16:creationId xmlns:a16="http://schemas.microsoft.com/office/drawing/2014/main" id="{42F5F774-4023-4F3B-B5C5-693C3086CD01}"/>
                </a:ext>
              </a:extLst>
            </p:cNvPr>
            <p:cNvSpPr/>
            <p:nvPr/>
          </p:nvSpPr>
          <p:spPr>
            <a:xfrm>
              <a:off x="3857238" y="2751531"/>
              <a:ext cx="1463040" cy="1463040"/>
            </a:xfrm>
            <a:prstGeom prst="ellipse">
              <a:avLst/>
            </a:prstGeom>
            <a:gradFill flip="none" rotWithShape="1">
              <a:gsLst>
                <a:gs pos="0">
                  <a:schemeClr val="bg1">
                    <a:alpha val="70000"/>
                  </a:schemeClr>
                </a:gs>
                <a:gs pos="100000">
                  <a:schemeClr val="bg1">
                    <a:shade val="100000"/>
                    <a:satMod val="115000"/>
                  </a:schemeClr>
                </a:gs>
              </a:gsLst>
              <a:path path="circle">
                <a:fillToRect r="100000" b="100000"/>
              </a:path>
              <a:tileRect l="-100000" t="-100000"/>
            </a:gradFill>
            <a:ln w="12700">
              <a:solidFill>
                <a:schemeClr val="accent1">
                  <a:lumMod val="40000"/>
                  <a:lumOff val="60000"/>
                  <a:alpha val="19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585">
                <a:defRPr/>
              </a:pPr>
              <a:endParaRPr lang="en-US" sz="1200" b="1" dirty="0">
                <a:solidFill>
                  <a:srgbClr val="323E48"/>
                </a:solidFill>
                <a:latin typeface="Source Sans Pro"/>
                <a:cs typeface="Calibri" panose="020F0502020204030204" pitchFamily="34" charset="0"/>
              </a:endParaRPr>
            </a:p>
            <a:p>
              <a:pPr algn="ctr" defTabSz="609585">
                <a:defRPr/>
              </a:pPr>
              <a:endParaRPr lang="en-US" sz="1200" b="1" dirty="0">
                <a:solidFill>
                  <a:srgbClr val="323E48"/>
                </a:solidFill>
                <a:latin typeface="Source Sans Pro"/>
                <a:cs typeface="Calibri" panose="020F0502020204030204" pitchFamily="34" charset="0"/>
              </a:endParaRPr>
            </a:p>
            <a:p>
              <a:pPr algn="ctr" defTabSz="609585">
                <a:defRPr/>
              </a:pPr>
              <a:endParaRPr lang="en-US" sz="1200" b="1" dirty="0">
                <a:solidFill>
                  <a:srgbClr val="323E48"/>
                </a:solidFill>
                <a:latin typeface="Source Sans Pro"/>
                <a:cs typeface="Calibri" panose="020F0502020204030204" pitchFamily="34" charset="0"/>
              </a:endParaRPr>
            </a:p>
            <a:p>
              <a:pPr algn="ctr" defTabSz="609585">
                <a:defRPr/>
              </a:pPr>
              <a:r>
                <a:rPr lang="en-US" sz="1333" b="1" dirty="0">
                  <a:solidFill>
                    <a:srgbClr val="323E48"/>
                  </a:solidFill>
                  <a:latin typeface="Source Sans Pro"/>
                  <a:cs typeface="Calibri" panose="020F0502020204030204" pitchFamily="34" charset="0"/>
                </a:rPr>
                <a:t>Application &amp; API  Integration</a:t>
              </a:r>
            </a:p>
          </p:txBody>
        </p:sp>
        <p:pic>
          <p:nvPicPr>
            <p:cNvPr id="33" name="Picture 4" descr="curved-arrow-clip-art3 | Krave Fitness">
              <a:extLst>
                <a:ext uri="{FF2B5EF4-FFF2-40B4-BE49-F238E27FC236}">
                  <a16:creationId xmlns:a16="http://schemas.microsoft.com/office/drawing/2014/main" id="{11A131AD-103C-4575-B78F-9E97CB79622C}"/>
                </a:ext>
              </a:extLst>
            </p:cNvPr>
            <p:cNvPicPr>
              <a:picLocks noChangeArrowheads="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4177873" y="1812913"/>
              <a:ext cx="822960" cy="22860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curved-arrow-clip-art3 | Krave Fitness">
              <a:extLst>
                <a:ext uri="{FF2B5EF4-FFF2-40B4-BE49-F238E27FC236}">
                  <a16:creationId xmlns:a16="http://schemas.microsoft.com/office/drawing/2014/main" id="{E1291F89-61A0-4795-8166-04CF6A3AA27E}"/>
                </a:ext>
              </a:extLst>
            </p:cNvPr>
            <p:cNvPicPr>
              <a:picLocks noChangeArrowheads="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7200000" flipV="1">
              <a:off x="4999642" y="3218561"/>
              <a:ext cx="822960" cy="2286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curved-arrow-clip-art3 | Krave Fitness">
              <a:extLst>
                <a:ext uri="{FF2B5EF4-FFF2-40B4-BE49-F238E27FC236}">
                  <a16:creationId xmlns:a16="http://schemas.microsoft.com/office/drawing/2014/main" id="{322941FA-89EB-4AD5-BB18-066C729F2D2E}"/>
                </a:ext>
              </a:extLst>
            </p:cNvPr>
            <p:cNvPicPr>
              <a:picLocks noChangeArrowheads="1"/>
            </p:cNvPicPr>
            <p:nvPr/>
          </p:nvPicPr>
          <p:blipFill>
            <a:blip r:embed="rId4"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14400000" flipV="1">
              <a:off x="3380508" y="3224170"/>
              <a:ext cx="822960" cy="2286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close up of a sign&#10;&#10;Description automatically generated">
              <a:extLst>
                <a:ext uri="{FF2B5EF4-FFF2-40B4-BE49-F238E27FC236}">
                  <a16:creationId xmlns:a16="http://schemas.microsoft.com/office/drawing/2014/main" id="{77CFC80B-0575-4322-A61A-F2C93812C6A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80563" y="2265368"/>
              <a:ext cx="1188734" cy="1188734"/>
            </a:xfrm>
            <a:prstGeom prst="rect">
              <a:avLst/>
            </a:prstGeom>
          </p:spPr>
        </p:pic>
      </p:grpSp>
      <p:grpSp>
        <p:nvGrpSpPr>
          <p:cNvPr id="63" name="Group 62">
            <a:extLst>
              <a:ext uri="{FF2B5EF4-FFF2-40B4-BE49-F238E27FC236}">
                <a16:creationId xmlns:a16="http://schemas.microsoft.com/office/drawing/2014/main" id="{CAC6CFB9-4EBB-4C05-A05E-F70A38A465B4}"/>
              </a:ext>
            </a:extLst>
          </p:cNvPr>
          <p:cNvGrpSpPr/>
          <p:nvPr/>
        </p:nvGrpSpPr>
        <p:grpSpPr>
          <a:xfrm>
            <a:off x="8961563" y="2546961"/>
            <a:ext cx="2742316" cy="1764078"/>
            <a:chOff x="714128" y="2774148"/>
            <a:chExt cx="2056737" cy="1323059"/>
          </a:xfrm>
        </p:grpSpPr>
        <p:sp>
          <p:nvSpPr>
            <p:cNvPr id="64" name="TextBox 61">
              <a:extLst>
                <a:ext uri="{FF2B5EF4-FFF2-40B4-BE49-F238E27FC236}">
                  <a16:creationId xmlns:a16="http://schemas.microsoft.com/office/drawing/2014/main" id="{64621170-13E0-4F4F-91FE-95E39ED14F11}"/>
                </a:ext>
              </a:extLst>
            </p:cNvPr>
            <p:cNvSpPr txBox="1"/>
            <p:nvPr/>
          </p:nvSpPr>
          <p:spPr>
            <a:xfrm>
              <a:off x="1016322" y="2774148"/>
              <a:ext cx="1691796" cy="407900"/>
            </a:xfrm>
            <a:prstGeom prst="rect">
              <a:avLst/>
            </a:prstGeom>
            <a:noFill/>
          </p:spPr>
          <p:txBody>
            <a:bodyPr wrap="square" rtlCol="0">
              <a:spAutoFit/>
            </a:bodyPr>
            <a:lstStyle/>
            <a:p>
              <a:pPr defTabSz="609555" fontAlgn="base">
                <a:spcBef>
                  <a:spcPct val="0"/>
                </a:spcBef>
                <a:spcAft>
                  <a:spcPct val="0"/>
                </a:spcAft>
                <a:defRPr/>
              </a:pPr>
              <a:r>
                <a:rPr lang="en-US" sz="1467" dirty="0">
                  <a:solidFill>
                    <a:srgbClr val="323E48"/>
                  </a:solidFill>
                  <a:latin typeface="Source Sans Pro"/>
                  <a:ea typeface="ＭＳ Ｐゴシック" charset="0"/>
                </a:rPr>
                <a:t>Streamlined onboarding/ transaction processes</a:t>
              </a:r>
            </a:p>
          </p:txBody>
        </p:sp>
        <p:sp>
          <p:nvSpPr>
            <p:cNvPr id="67" name="TextBox 61">
              <a:extLst>
                <a:ext uri="{FF2B5EF4-FFF2-40B4-BE49-F238E27FC236}">
                  <a16:creationId xmlns:a16="http://schemas.microsoft.com/office/drawing/2014/main" id="{E43479A5-29C4-46CD-A399-1A108E9A696F}"/>
                </a:ext>
              </a:extLst>
            </p:cNvPr>
            <p:cNvSpPr txBox="1"/>
            <p:nvPr/>
          </p:nvSpPr>
          <p:spPr>
            <a:xfrm>
              <a:off x="1016320" y="3232486"/>
              <a:ext cx="1546317" cy="407900"/>
            </a:xfrm>
            <a:prstGeom prst="rect">
              <a:avLst/>
            </a:prstGeom>
            <a:noFill/>
          </p:spPr>
          <p:txBody>
            <a:bodyPr wrap="square" rtlCol="0">
              <a:spAutoFit/>
            </a:bodyPr>
            <a:lstStyle/>
            <a:p>
              <a:pPr defTabSz="609555" fontAlgn="base">
                <a:spcBef>
                  <a:spcPct val="0"/>
                </a:spcBef>
                <a:spcAft>
                  <a:spcPct val="0"/>
                </a:spcAft>
                <a:defRPr/>
              </a:pPr>
              <a:r>
                <a:rPr lang="en-US" sz="1467" dirty="0">
                  <a:solidFill>
                    <a:srgbClr val="323E48"/>
                  </a:solidFill>
                  <a:latin typeface="Source Sans Pro"/>
                  <a:ea typeface="ＭＳ Ｐゴシック" charset="0"/>
                </a:rPr>
                <a:t>Improved customer support/success</a:t>
              </a:r>
              <a:endParaRPr lang="en-US" sz="1200" dirty="0">
                <a:solidFill>
                  <a:srgbClr val="323E48"/>
                </a:solidFill>
                <a:latin typeface="Source Sans Pro"/>
                <a:ea typeface="ＭＳ Ｐゴシック" charset="0"/>
              </a:endParaRPr>
            </a:p>
          </p:txBody>
        </p:sp>
        <p:sp>
          <p:nvSpPr>
            <p:cNvPr id="72" name="TextBox 71">
              <a:extLst>
                <a:ext uri="{FF2B5EF4-FFF2-40B4-BE49-F238E27FC236}">
                  <a16:creationId xmlns:a16="http://schemas.microsoft.com/office/drawing/2014/main" id="{97A274A1-8AA4-4F27-BF7F-797E0DDE20BB}"/>
                </a:ext>
              </a:extLst>
            </p:cNvPr>
            <p:cNvSpPr txBox="1"/>
            <p:nvPr/>
          </p:nvSpPr>
          <p:spPr>
            <a:xfrm>
              <a:off x="1016323" y="3689307"/>
              <a:ext cx="1754542" cy="407900"/>
            </a:xfrm>
            <a:prstGeom prst="rect">
              <a:avLst/>
            </a:prstGeom>
            <a:noFill/>
          </p:spPr>
          <p:txBody>
            <a:bodyPr wrap="square" rtlCol="0">
              <a:spAutoFit/>
            </a:bodyPr>
            <a:lstStyle>
              <a:defPPr>
                <a:defRPr lang="en-US"/>
              </a:defPPr>
              <a:lvl1pPr marR="0" lvl="0" indent="0" defTabSz="457178" fontAlgn="base">
                <a:lnSpc>
                  <a:spcPct val="100000"/>
                </a:lnSpc>
                <a:spcBef>
                  <a:spcPct val="0"/>
                </a:spcBef>
                <a:spcAft>
                  <a:spcPct val="0"/>
                </a:spcAft>
                <a:buClrTx/>
                <a:buSzTx/>
                <a:buFontTx/>
                <a:buNone/>
                <a:tabLst/>
                <a:defRPr kumimoji="0" sz="1200" i="0" u="none" strike="noStrike" cap="none" spc="0" normalizeH="0" baseline="0">
                  <a:ln>
                    <a:noFill/>
                  </a:ln>
                  <a:solidFill>
                    <a:schemeClr val="accent4"/>
                  </a:solidFill>
                  <a:effectLst/>
                  <a:uLnTx/>
                  <a:uFillTx/>
                  <a:ea typeface="ＭＳ Ｐゴシック" charset="0"/>
                </a:defRPr>
              </a:lvl1pPr>
            </a:lstStyle>
            <a:p>
              <a:pPr defTabSz="609555">
                <a:defRPr/>
              </a:pPr>
              <a:r>
                <a:rPr lang="en-US" sz="1467" dirty="0">
                  <a:solidFill>
                    <a:srgbClr val="323E48"/>
                  </a:solidFill>
                  <a:latin typeface="Source Sans Pro"/>
                </a:rPr>
                <a:t>Innovation/new </a:t>
              </a:r>
            </a:p>
            <a:p>
              <a:pPr defTabSz="609555">
                <a:defRPr/>
              </a:pPr>
              <a:r>
                <a:rPr lang="en-US" sz="1467" dirty="0">
                  <a:solidFill>
                    <a:srgbClr val="323E48"/>
                  </a:solidFill>
                  <a:latin typeface="Source Sans Pro"/>
                </a:rPr>
                <a:t>product development</a:t>
              </a:r>
            </a:p>
          </p:txBody>
        </p:sp>
        <p:sp>
          <p:nvSpPr>
            <p:cNvPr id="77" name="Oval 76">
              <a:extLst>
                <a:ext uri="{FF2B5EF4-FFF2-40B4-BE49-F238E27FC236}">
                  <a16:creationId xmlns:a16="http://schemas.microsoft.com/office/drawing/2014/main" id="{03B64236-1811-4213-8A3E-0EF335C237C5}"/>
                </a:ext>
              </a:extLst>
            </p:cNvPr>
            <p:cNvSpPr/>
            <p:nvPr/>
          </p:nvSpPr>
          <p:spPr>
            <a:xfrm>
              <a:off x="714128" y="2850526"/>
              <a:ext cx="274320" cy="274320"/>
            </a:xfrm>
            <a:prstGeom prst="ellipse">
              <a:avLst/>
            </a:prstGeom>
            <a:gradFill>
              <a:gsLst>
                <a:gs pos="2000">
                  <a:schemeClr val="accent2">
                    <a:lumMod val="75000"/>
                  </a:schemeClr>
                </a:gs>
                <a:gs pos="72000">
                  <a:schemeClr val="bg2"/>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323E48"/>
                </a:solidFill>
                <a:latin typeface="Source Sans Pro"/>
              </a:endParaRPr>
            </a:p>
          </p:txBody>
        </p:sp>
        <p:sp>
          <p:nvSpPr>
            <p:cNvPr id="78" name="Oval 77">
              <a:extLst>
                <a:ext uri="{FF2B5EF4-FFF2-40B4-BE49-F238E27FC236}">
                  <a16:creationId xmlns:a16="http://schemas.microsoft.com/office/drawing/2014/main" id="{93EA176D-557B-4171-BA41-DBFA0FFFBA84}"/>
                </a:ext>
              </a:extLst>
            </p:cNvPr>
            <p:cNvSpPr/>
            <p:nvPr/>
          </p:nvSpPr>
          <p:spPr>
            <a:xfrm>
              <a:off x="718491" y="3307726"/>
              <a:ext cx="274320" cy="274320"/>
            </a:xfrm>
            <a:prstGeom prst="ellipse">
              <a:avLst/>
            </a:prstGeom>
            <a:gradFill>
              <a:gsLst>
                <a:gs pos="2000">
                  <a:schemeClr val="accent2">
                    <a:lumMod val="75000"/>
                  </a:schemeClr>
                </a:gs>
                <a:gs pos="72000">
                  <a:schemeClr val="bg2"/>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323E48"/>
                </a:solidFill>
                <a:latin typeface="Source Sans Pro"/>
              </a:endParaRPr>
            </a:p>
          </p:txBody>
        </p:sp>
        <p:sp>
          <p:nvSpPr>
            <p:cNvPr id="79" name="Oval 78">
              <a:extLst>
                <a:ext uri="{FF2B5EF4-FFF2-40B4-BE49-F238E27FC236}">
                  <a16:creationId xmlns:a16="http://schemas.microsoft.com/office/drawing/2014/main" id="{F65D1340-E4CE-4525-BBCA-E01484BBD7A7}"/>
                </a:ext>
              </a:extLst>
            </p:cNvPr>
            <p:cNvSpPr/>
            <p:nvPr/>
          </p:nvSpPr>
          <p:spPr>
            <a:xfrm>
              <a:off x="718491" y="3764926"/>
              <a:ext cx="274320" cy="274320"/>
            </a:xfrm>
            <a:prstGeom prst="ellipse">
              <a:avLst/>
            </a:prstGeom>
            <a:gradFill>
              <a:gsLst>
                <a:gs pos="2000">
                  <a:schemeClr val="accent2">
                    <a:lumMod val="75000"/>
                  </a:schemeClr>
                </a:gs>
                <a:gs pos="72000">
                  <a:schemeClr val="bg2"/>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323E48"/>
                </a:solidFill>
                <a:latin typeface="Source Sans Pro"/>
              </a:endParaRPr>
            </a:p>
          </p:txBody>
        </p:sp>
        <p:pic>
          <p:nvPicPr>
            <p:cNvPr id="82" name="Graphic 81" descr="Lights On with solid fill">
              <a:extLst>
                <a:ext uri="{FF2B5EF4-FFF2-40B4-BE49-F238E27FC236}">
                  <a16:creationId xmlns:a16="http://schemas.microsoft.com/office/drawing/2014/main" id="{520A6A82-3567-4125-BB88-1EBCE6B1386C}"/>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40951" y="3786791"/>
              <a:ext cx="228600" cy="228600"/>
            </a:xfrm>
            <a:prstGeom prst="rect">
              <a:avLst/>
            </a:prstGeom>
          </p:spPr>
        </p:pic>
        <p:pic>
          <p:nvPicPr>
            <p:cNvPr id="85" name="Graphic 84" descr="Chevron arrows with solid fill">
              <a:extLst>
                <a:ext uri="{FF2B5EF4-FFF2-40B4-BE49-F238E27FC236}">
                  <a16:creationId xmlns:a16="http://schemas.microsoft.com/office/drawing/2014/main" id="{8DD5CA12-29E7-4506-B4C7-E11918553254}"/>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33926" y="2871969"/>
              <a:ext cx="228600" cy="228600"/>
            </a:xfrm>
            <a:prstGeom prst="rect">
              <a:avLst/>
            </a:prstGeom>
          </p:spPr>
        </p:pic>
        <p:pic>
          <p:nvPicPr>
            <p:cNvPr id="87" name="Graphic 86" descr="Call center with solid fill">
              <a:extLst>
                <a:ext uri="{FF2B5EF4-FFF2-40B4-BE49-F238E27FC236}">
                  <a16:creationId xmlns:a16="http://schemas.microsoft.com/office/drawing/2014/main" id="{6EE75432-D183-4D3A-9A28-6DA85D92A64D}"/>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42848" y="3333514"/>
              <a:ext cx="228600" cy="228600"/>
            </a:xfrm>
            <a:prstGeom prst="rect">
              <a:avLst/>
            </a:prstGeom>
          </p:spPr>
        </p:pic>
      </p:grpSp>
      <p:sp>
        <p:nvSpPr>
          <p:cNvPr id="36" name="Title 1">
            <a:extLst>
              <a:ext uri="{FF2B5EF4-FFF2-40B4-BE49-F238E27FC236}">
                <a16:creationId xmlns:a16="http://schemas.microsoft.com/office/drawing/2014/main" id="{D3EDC911-468C-46DA-A0B4-3AA31FA5F9B4}"/>
              </a:ext>
            </a:extLst>
          </p:cNvPr>
          <p:cNvSpPr>
            <a:spLocks noGrp="1"/>
          </p:cNvSpPr>
          <p:nvPr>
            <p:ph type="title"/>
          </p:nvPr>
        </p:nvSpPr>
        <p:spPr>
          <a:xfrm>
            <a:off x="508000" y="405548"/>
            <a:ext cx="11176000" cy="516480"/>
          </a:xfrm>
        </p:spPr>
        <p:txBody>
          <a:bodyPr>
            <a:normAutofit/>
          </a:bodyPr>
          <a:lstStyle/>
          <a:p>
            <a:pPr algn="ctr"/>
            <a:r>
              <a:rPr lang="en-US" dirty="0"/>
              <a:t>Talend delivers value to Customer 360</a:t>
            </a:r>
          </a:p>
        </p:txBody>
      </p:sp>
      <p:sp>
        <p:nvSpPr>
          <p:cNvPr id="8" name="Oval 7">
            <a:extLst>
              <a:ext uri="{FF2B5EF4-FFF2-40B4-BE49-F238E27FC236}">
                <a16:creationId xmlns:a16="http://schemas.microsoft.com/office/drawing/2014/main" id="{963B058F-20F0-4551-B594-DCD8899683BC}"/>
              </a:ext>
            </a:extLst>
          </p:cNvPr>
          <p:cNvSpPr/>
          <p:nvPr/>
        </p:nvSpPr>
        <p:spPr>
          <a:xfrm>
            <a:off x="5423865" y="2783865"/>
            <a:ext cx="1341120" cy="1341120"/>
          </a:xfrm>
          <a:prstGeom prst="ellipse">
            <a:avLst/>
          </a:prstGeom>
          <a:gradFill flip="none" rotWithShape="1">
            <a:gsLst>
              <a:gs pos="0">
                <a:srgbClr val="736DB2"/>
              </a:gs>
              <a:gs pos="100000">
                <a:srgbClr val="95AFD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585">
              <a:defRPr/>
            </a:pPr>
            <a:r>
              <a:rPr lang="en-US" sz="2400" b="1" dirty="0">
                <a:solidFill>
                  <a:srgbClr val="F8F3EF"/>
                </a:solidFill>
                <a:latin typeface="Source Sans Pro"/>
              </a:rPr>
              <a:t>Data Health</a:t>
            </a:r>
          </a:p>
        </p:txBody>
      </p:sp>
      <p:grpSp>
        <p:nvGrpSpPr>
          <p:cNvPr id="68" name="4 Xs">
            <a:extLst>
              <a:ext uri="{FF2B5EF4-FFF2-40B4-BE49-F238E27FC236}">
                <a16:creationId xmlns:a16="http://schemas.microsoft.com/office/drawing/2014/main" id="{2AE1D6EE-2104-6D49-8B8E-DFDA3E90FCBA}"/>
              </a:ext>
            </a:extLst>
          </p:cNvPr>
          <p:cNvGrpSpPr/>
          <p:nvPr/>
        </p:nvGrpSpPr>
        <p:grpSpPr>
          <a:xfrm>
            <a:off x="7370863" y="5016374"/>
            <a:ext cx="901927" cy="495801"/>
            <a:chOff x="4350238" y="4169018"/>
            <a:chExt cx="1298751" cy="713976"/>
          </a:xfrm>
          <a:gradFill>
            <a:gsLst>
              <a:gs pos="100000">
                <a:schemeClr val="accent1">
                  <a:lumMod val="40000"/>
                  <a:lumOff val="60000"/>
                </a:schemeClr>
              </a:gs>
              <a:gs pos="0">
                <a:schemeClr val="accent3">
                  <a:lumMod val="40000"/>
                  <a:lumOff val="60000"/>
                </a:schemeClr>
              </a:gs>
            </a:gsLst>
            <a:lin ang="0" scaled="0"/>
          </a:gradFill>
        </p:grpSpPr>
        <p:sp>
          <p:nvSpPr>
            <p:cNvPr id="69" name="Graphic 37">
              <a:extLst>
                <a:ext uri="{FF2B5EF4-FFF2-40B4-BE49-F238E27FC236}">
                  <a16:creationId xmlns:a16="http://schemas.microsoft.com/office/drawing/2014/main" id="{553BA019-8DAE-E444-B942-4F5641EF7497}"/>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sp>
          <p:nvSpPr>
            <p:cNvPr id="70" name="Graphic 37">
              <a:extLst>
                <a:ext uri="{FF2B5EF4-FFF2-40B4-BE49-F238E27FC236}">
                  <a16:creationId xmlns:a16="http://schemas.microsoft.com/office/drawing/2014/main" id="{EAFA463C-CA63-4740-B30C-B86F2399FDE1}"/>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sp>
          <p:nvSpPr>
            <p:cNvPr id="73" name="Graphic 37">
              <a:extLst>
                <a:ext uri="{FF2B5EF4-FFF2-40B4-BE49-F238E27FC236}">
                  <a16:creationId xmlns:a16="http://schemas.microsoft.com/office/drawing/2014/main" id="{30473DAB-1485-8D4B-8ABC-99570A48E9A5}"/>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sp>
          <p:nvSpPr>
            <p:cNvPr id="86" name="Graphic 37">
              <a:extLst>
                <a:ext uri="{FF2B5EF4-FFF2-40B4-BE49-F238E27FC236}">
                  <a16:creationId xmlns:a16="http://schemas.microsoft.com/office/drawing/2014/main" id="{CF1760CC-AF43-7A45-B28D-712D9AD8DB6E}"/>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defTabSz="609585">
                <a:defRPr/>
              </a:pPr>
              <a:endParaRPr lang="en-US" sz="1249">
                <a:solidFill>
                  <a:srgbClr val="323E48"/>
                </a:solidFill>
                <a:latin typeface="Source Sans Pro"/>
              </a:endParaRPr>
            </a:p>
          </p:txBody>
        </p:sp>
      </p:grpSp>
      <p:grpSp>
        <p:nvGrpSpPr>
          <p:cNvPr id="88" name="Group 87">
            <a:extLst>
              <a:ext uri="{FF2B5EF4-FFF2-40B4-BE49-F238E27FC236}">
                <a16:creationId xmlns:a16="http://schemas.microsoft.com/office/drawing/2014/main" id="{24D29165-8442-4CD1-9C39-73605690A036}"/>
              </a:ext>
            </a:extLst>
          </p:cNvPr>
          <p:cNvGrpSpPr/>
          <p:nvPr/>
        </p:nvGrpSpPr>
        <p:grpSpPr>
          <a:xfrm>
            <a:off x="446157" y="2677389"/>
            <a:ext cx="3055127" cy="1759746"/>
            <a:chOff x="714128" y="1405770"/>
            <a:chExt cx="2291345" cy="1319810"/>
          </a:xfrm>
        </p:grpSpPr>
        <p:sp>
          <p:nvSpPr>
            <p:cNvPr id="92" name="TextBox 61">
              <a:extLst>
                <a:ext uri="{FF2B5EF4-FFF2-40B4-BE49-F238E27FC236}">
                  <a16:creationId xmlns:a16="http://schemas.microsoft.com/office/drawing/2014/main" id="{8A30887C-CA62-4DFA-B1AC-111C20EB5ECB}"/>
                </a:ext>
              </a:extLst>
            </p:cNvPr>
            <p:cNvSpPr txBox="1"/>
            <p:nvPr/>
          </p:nvSpPr>
          <p:spPr>
            <a:xfrm>
              <a:off x="1016321" y="1862970"/>
              <a:ext cx="1922613" cy="407900"/>
            </a:xfrm>
            <a:prstGeom prst="rect">
              <a:avLst/>
            </a:prstGeom>
            <a:noFill/>
          </p:spPr>
          <p:txBody>
            <a:bodyPr wrap="square" rtlCol="0">
              <a:spAutoFit/>
            </a:bodyPr>
            <a:lstStyle/>
            <a:p>
              <a:pPr defTabSz="609555" fontAlgn="base">
                <a:spcBef>
                  <a:spcPct val="0"/>
                </a:spcBef>
                <a:spcAft>
                  <a:spcPct val="0"/>
                </a:spcAft>
                <a:defRPr/>
              </a:pPr>
              <a:r>
                <a:rPr lang="en-US" sz="1467" dirty="0">
                  <a:solidFill>
                    <a:srgbClr val="323E48"/>
                  </a:solidFill>
                  <a:latin typeface="Source Sans Pro"/>
                  <a:ea typeface="ＭＳ Ｐゴシック" charset="0"/>
                </a:rPr>
                <a:t>Consistent, multi-channel customer experience</a:t>
              </a:r>
            </a:p>
          </p:txBody>
        </p:sp>
        <p:sp>
          <p:nvSpPr>
            <p:cNvPr id="93" name="TextBox 61">
              <a:extLst>
                <a:ext uri="{FF2B5EF4-FFF2-40B4-BE49-F238E27FC236}">
                  <a16:creationId xmlns:a16="http://schemas.microsoft.com/office/drawing/2014/main" id="{8D3A9B4B-35DD-4BF0-A516-1057951C0733}"/>
                </a:ext>
              </a:extLst>
            </p:cNvPr>
            <p:cNvSpPr txBox="1"/>
            <p:nvPr/>
          </p:nvSpPr>
          <p:spPr>
            <a:xfrm>
              <a:off x="1016322" y="2317680"/>
              <a:ext cx="1989151" cy="407900"/>
            </a:xfrm>
            <a:prstGeom prst="rect">
              <a:avLst/>
            </a:prstGeom>
            <a:noFill/>
          </p:spPr>
          <p:txBody>
            <a:bodyPr wrap="square" rtlCol="0">
              <a:spAutoFit/>
            </a:bodyPr>
            <a:lstStyle/>
            <a:p>
              <a:pPr defTabSz="609555" fontAlgn="base">
                <a:spcBef>
                  <a:spcPct val="0"/>
                </a:spcBef>
                <a:spcAft>
                  <a:spcPct val="0"/>
                </a:spcAft>
                <a:defRPr/>
              </a:pPr>
              <a:r>
                <a:rPr lang="en-US" sz="1467" dirty="0">
                  <a:solidFill>
                    <a:srgbClr val="323E48"/>
                  </a:solidFill>
                  <a:latin typeface="Source Sans Pro"/>
                  <a:ea typeface="ＭＳ Ｐゴシック" charset="0"/>
                </a:rPr>
                <a:t>More customized engagement driven by analytics</a:t>
              </a:r>
            </a:p>
          </p:txBody>
        </p:sp>
        <p:sp>
          <p:nvSpPr>
            <p:cNvPr id="95" name="TextBox 94">
              <a:extLst>
                <a:ext uri="{FF2B5EF4-FFF2-40B4-BE49-F238E27FC236}">
                  <a16:creationId xmlns:a16="http://schemas.microsoft.com/office/drawing/2014/main" id="{98DB6CE9-3FC6-4B26-809B-13AC9ED158A0}"/>
                </a:ext>
              </a:extLst>
            </p:cNvPr>
            <p:cNvSpPr txBox="1"/>
            <p:nvPr/>
          </p:nvSpPr>
          <p:spPr>
            <a:xfrm>
              <a:off x="1016322" y="1405770"/>
              <a:ext cx="1860346" cy="407900"/>
            </a:xfrm>
            <a:prstGeom prst="rect">
              <a:avLst/>
            </a:prstGeom>
            <a:noFill/>
          </p:spPr>
          <p:txBody>
            <a:bodyPr wrap="square" rtlCol="0">
              <a:spAutoFit/>
            </a:bodyPr>
            <a:lstStyle>
              <a:defPPr>
                <a:defRPr lang="en-US"/>
              </a:defPPr>
              <a:lvl1pPr marR="0" lvl="0" indent="0" defTabSz="457178" fontAlgn="base">
                <a:lnSpc>
                  <a:spcPct val="100000"/>
                </a:lnSpc>
                <a:spcBef>
                  <a:spcPct val="0"/>
                </a:spcBef>
                <a:spcAft>
                  <a:spcPct val="0"/>
                </a:spcAft>
                <a:buClrTx/>
                <a:buSzTx/>
                <a:buFontTx/>
                <a:buNone/>
                <a:tabLst/>
                <a:defRPr kumimoji="0" sz="1200" i="0" u="none" strike="noStrike" cap="none" spc="0" normalizeH="0" baseline="0">
                  <a:ln>
                    <a:noFill/>
                  </a:ln>
                  <a:solidFill>
                    <a:schemeClr val="accent4"/>
                  </a:solidFill>
                  <a:effectLst/>
                  <a:uLnTx/>
                  <a:uFillTx/>
                  <a:ea typeface="ＭＳ Ｐゴシック" charset="0"/>
                </a:defRPr>
              </a:lvl1pPr>
            </a:lstStyle>
            <a:p>
              <a:pPr defTabSz="609555">
                <a:defRPr/>
              </a:pPr>
              <a:r>
                <a:rPr lang="en-US" sz="1467" dirty="0">
                  <a:solidFill>
                    <a:srgbClr val="323E48"/>
                  </a:solidFill>
                  <a:latin typeface="Source Sans Pro"/>
                </a:rPr>
                <a:t>More targeted campaigns/ advertisement</a:t>
              </a:r>
            </a:p>
          </p:txBody>
        </p:sp>
        <p:sp>
          <p:nvSpPr>
            <p:cNvPr id="103" name="Oval 102">
              <a:extLst>
                <a:ext uri="{FF2B5EF4-FFF2-40B4-BE49-F238E27FC236}">
                  <a16:creationId xmlns:a16="http://schemas.microsoft.com/office/drawing/2014/main" id="{9E6E9507-1C90-4637-8D3A-1F96406E978E}"/>
                </a:ext>
              </a:extLst>
            </p:cNvPr>
            <p:cNvSpPr/>
            <p:nvPr/>
          </p:nvSpPr>
          <p:spPr>
            <a:xfrm>
              <a:off x="714128" y="1474089"/>
              <a:ext cx="274320" cy="274320"/>
            </a:xfrm>
            <a:prstGeom prst="ellipse">
              <a:avLst/>
            </a:prstGeom>
            <a:gradFill>
              <a:gsLst>
                <a:gs pos="2000">
                  <a:schemeClr val="accent2">
                    <a:lumMod val="75000"/>
                  </a:schemeClr>
                </a:gs>
                <a:gs pos="72000">
                  <a:schemeClr val="bg2"/>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323E48"/>
                </a:solidFill>
                <a:latin typeface="Source Sans Pro"/>
              </a:endParaRPr>
            </a:p>
          </p:txBody>
        </p:sp>
        <p:sp>
          <p:nvSpPr>
            <p:cNvPr id="104" name="Oval 103">
              <a:extLst>
                <a:ext uri="{FF2B5EF4-FFF2-40B4-BE49-F238E27FC236}">
                  <a16:creationId xmlns:a16="http://schemas.microsoft.com/office/drawing/2014/main" id="{03BF03D0-9822-4E3F-8B3D-E201A0DBA1E1}"/>
                </a:ext>
              </a:extLst>
            </p:cNvPr>
            <p:cNvSpPr/>
            <p:nvPr/>
          </p:nvSpPr>
          <p:spPr>
            <a:xfrm>
              <a:off x="714128" y="1936126"/>
              <a:ext cx="274320" cy="274320"/>
            </a:xfrm>
            <a:prstGeom prst="ellipse">
              <a:avLst/>
            </a:prstGeom>
            <a:gradFill>
              <a:gsLst>
                <a:gs pos="2000">
                  <a:schemeClr val="accent2">
                    <a:lumMod val="75000"/>
                  </a:schemeClr>
                </a:gs>
                <a:gs pos="72000">
                  <a:schemeClr val="bg2"/>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323E48"/>
                </a:solidFill>
                <a:latin typeface="Source Sans Pro"/>
              </a:endParaRPr>
            </a:p>
          </p:txBody>
        </p:sp>
        <p:sp>
          <p:nvSpPr>
            <p:cNvPr id="105" name="Oval 104">
              <a:extLst>
                <a:ext uri="{FF2B5EF4-FFF2-40B4-BE49-F238E27FC236}">
                  <a16:creationId xmlns:a16="http://schemas.microsoft.com/office/drawing/2014/main" id="{A5B4FDFB-680B-4E01-B9B7-137F8C0C6C66}"/>
                </a:ext>
              </a:extLst>
            </p:cNvPr>
            <p:cNvSpPr/>
            <p:nvPr/>
          </p:nvSpPr>
          <p:spPr>
            <a:xfrm>
              <a:off x="718491" y="2393326"/>
              <a:ext cx="274320" cy="274320"/>
            </a:xfrm>
            <a:prstGeom prst="ellipse">
              <a:avLst/>
            </a:prstGeom>
            <a:gradFill>
              <a:gsLst>
                <a:gs pos="2000">
                  <a:schemeClr val="accent2">
                    <a:lumMod val="75000"/>
                  </a:schemeClr>
                </a:gs>
                <a:gs pos="72000">
                  <a:schemeClr val="bg2"/>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n-US" sz="2400">
                <a:solidFill>
                  <a:srgbClr val="323E48"/>
                </a:solidFill>
                <a:latin typeface="Source Sans Pro"/>
              </a:endParaRPr>
            </a:p>
          </p:txBody>
        </p:sp>
        <p:pic>
          <p:nvPicPr>
            <p:cNvPr id="112" name="Graphic 111" descr="Ecommerce with solid fill">
              <a:extLst>
                <a:ext uri="{FF2B5EF4-FFF2-40B4-BE49-F238E27FC236}">
                  <a16:creationId xmlns:a16="http://schemas.microsoft.com/office/drawing/2014/main" id="{5D0C2C3C-26D8-4EDB-839C-4D61D4E66983}"/>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41882" y="1962313"/>
              <a:ext cx="228600" cy="228600"/>
            </a:xfrm>
            <a:prstGeom prst="rect">
              <a:avLst/>
            </a:prstGeom>
          </p:spPr>
        </p:pic>
        <p:pic>
          <p:nvPicPr>
            <p:cNvPr id="119" name="Graphic 118" descr="Bullseye with solid fill">
              <a:extLst>
                <a:ext uri="{FF2B5EF4-FFF2-40B4-BE49-F238E27FC236}">
                  <a16:creationId xmlns:a16="http://schemas.microsoft.com/office/drawing/2014/main" id="{0F89A9A4-E64E-43FB-A355-C55D94837D79}"/>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36328" y="1495068"/>
              <a:ext cx="228600" cy="228600"/>
            </a:xfrm>
            <a:prstGeom prst="rect">
              <a:avLst/>
            </a:prstGeom>
          </p:spPr>
        </p:pic>
        <p:pic>
          <p:nvPicPr>
            <p:cNvPr id="120" name="Graphic 119" descr="Target Audience with solid fill">
              <a:extLst>
                <a:ext uri="{FF2B5EF4-FFF2-40B4-BE49-F238E27FC236}">
                  <a16:creationId xmlns:a16="http://schemas.microsoft.com/office/drawing/2014/main" id="{2C66697D-03A1-424C-87C5-1DCD4070AC01}"/>
                </a:ext>
              </a:extLst>
            </p:cNvPr>
            <p:cNvPicPr>
              <a:picLocks noChangeAspect="1"/>
            </p:cNvPicPr>
            <p:nvPr/>
          </p:nvPicPr>
          <p:blipFill>
            <a:blip r:embed="rId16" cstate="hq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43333" y="2423815"/>
              <a:ext cx="228600" cy="228600"/>
            </a:xfrm>
            <a:prstGeom prst="rect">
              <a:avLst/>
            </a:prstGeom>
          </p:spPr>
        </p:pic>
      </p:grpSp>
    </p:spTree>
    <p:extLst>
      <p:ext uri="{BB962C8B-B14F-4D97-AF65-F5344CB8AC3E}">
        <p14:creationId xmlns:p14="http://schemas.microsoft.com/office/powerpoint/2010/main" val="295682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D8A3FE-415D-47C5-8674-16896D1A1124}"/>
              </a:ext>
            </a:extLst>
          </p:cNvPr>
          <p:cNvSpPr>
            <a:spLocks noGrp="1"/>
          </p:cNvSpPr>
          <p:nvPr>
            <p:ph type="title"/>
          </p:nvPr>
        </p:nvSpPr>
        <p:spPr/>
        <p:txBody>
          <a:bodyPr/>
          <a:lstStyle/>
          <a:p>
            <a:r>
              <a:rPr lang="en-US" dirty="0"/>
              <a:t>A typical customer</a:t>
            </a:r>
          </a:p>
        </p:txBody>
      </p:sp>
      <p:grpSp>
        <p:nvGrpSpPr>
          <p:cNvPr id="4" name="Group 3">
            <a:extLst>
              <a:ext uri="{FF2B5EF4-FFF2-40B4-BE49-F238E27FC236}">
                <a16:creationId xmlns:a16="http://schemas.microsoft.com/office/drawing/2014/main" id="{657CCA61-FF52-47F3-AFF9-1E357A474CA8}"/>
              </a:ext>
            </a:extLst>
          </p:cNvPr>
          <p:cNvGrpSpPr/>
          <p:nvPr/>
        </p:nvGrpSpPr>
        <p:grpSpPr>
          <a:xfrm>
            <a:off x="7954502" y="2967937"/>
            <a:ext cx="1235844" cy="1145653"/>
            <a:chOff x="7905389" y="3041290"/>
            <a:chExt cx="953220" cy="953220"/>
          </a:xfrm>
        </p:grpSpPr>
        <p:sp>
          <p:nvSpPr>
            <p:cNvPr id="18" name="Oval 17">
              <a:extLst>
                <a:ext uri="{FF2B5EF4-FFF2-40B4-BE49-F238E27FC236}">
                  <a16:creationId xmlns:a16="http://schemas.microsoft.com/office/drawing/2014/main" id="{8157E9FA-AC1A-41B3-8024-900605D0C880}"/>
                </a:ext>
              </a:extLst>
            </p:cNvPr>
            <p:cNvSpPr/>
            <p:nvPr/>
          </p:nvSpPr>
          <p:spPr>
            <a:xfrm>
              <a:off x="7905389" y="3041290"/>
              <a:ext cx="953220" cy="953220"/>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pic>
          <p:nvPicPr>
            <p:cNvPr id="7" name="Graphic 6">
              <a:extLst>
                <a:ext uri="{FF2B5EF4-FFF2-40B4-BE49-F238E27FC236}">
                  <a16:creationId xmlns:a16="http://schemas.microsoft.com/office/drawing/2014/main" id="{D7F409C9-5A52-4933-AFE1-C4BF01BCA6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82253" y="3318154"/>
              <a:ext cx="399492" cy="399492"/>
            </a:xfrm>
            <a:prstGeom prst="rect">
              <a:avLst/>
            </a:prstGeom>
          </p:spPr>
        </p:pic>
      </p:grpSp>
      <p:grpSp>
        <p:nvGrpSpPr>
          <p:cNvPr id="8" name="Group 7">
            <a:extLst>
              <a:ext uri="{FF2B5EF4-FFF2-40B4-BE49-F238E27FC236}">
                <a16:creationId xmlns:a16="http://schemas.microsoft.com/office/drawing/2014/main" id="{03EB2E35-A7DF-4AA9-8B59-D80F90E6CC31}"/>
              </a:ext>
            </a:extLst>
          </p:cNvPr>
          <p:cNvGrpSpPr/>
          <p:nvPr/>
        </p:nvGrpSpPr>
        <p:grpSpPr>
          <a:xfrm>
            <a:off x="2680111" y="3006010"/>
            <a:ext cx="1235841" cy="1150779"/>
            <a:chOff x="3038842" y="3041290"/>
            <a:chExt cx="953220" cy="953220"/>
          </a:xfrm>
        </p:grpSpPr>
        <p:sp>
          <p:nvSpPr>
            <p:cNvPr id="25" name="Oval 24">
              <a:extLst>
                <a:ext uri="{FF2B5EF4-FFF2-40B4-BE49-F238E27FC236}">
                  <a16:creationId xmlns:a16="http://schemas.microsoft.com/office/drawing/2014/main" id="{F8806734-4C59-474E-B118-1D1733D79DD3}"/>
                </a:ext>
              </a:extLst>
            </p:cNvPr>
            <p:cNvSpPr/>
            <p:nvPr/>
          </p:nvSpPr>
          <p:spPr>
            <a:xfrm>
              <a:off x="3038842" y="3041290"/>
              <a:ext cx="953220" cy="953220"/>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pic>
          <p:nvPicPr>
            <p:cNvPr id="9" name="Graphic 8">
              <a:extLst>
                <a:ext uri="{FF2B5EF4-FFF2-40B4-BE49-F238E27FC236}">
                  <a16:creationId xmlns:a16="http://schemas.microsoft.com/office/drawing/2014/main" id="{F3BF11AA-F948-4601-B549-CFA31A6582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86852" y="3312164"/>
              <a:ext cx="457200" cy="457200"/>
            </a:xfrm>
            <a:prstGeom prst="rect">
              <a:avLst/>
            </a:prstGeom>
          </p:spPr>
        </p:pic>
      </p:grpSp>
      <p:grpSp>
        <p:nvGrpSpPr>
          <p:cNvPr id="6" name="Group 5">
            <a:extLst>
              <a:ext uri="{FF2B5EF4-FFF2-40B4-BE49-F238E27FC236}">
                <a16:creationId xmlns:a16="http://schemas.microsoft.com/office/drawing/2014/main" id="{49FC75F4-FACE-43E8-BC89-ECBC3628A6DF}"/>
              </a:ext>
            </a:extLst>
          </p:cNvPr>
          <p:cNvGrpSpPr/>
          <p:nvPr/>
        </p:nvGrpSpPr>
        <p:grpSpPr>
          <a:xfrm>
            <a:off x="3722861" y="960115"/>
            <a:ext cx="1235842" cy="1150779"/>
            <a:chOff x="3992062" y="1251170"/>
            <a:chExt cx="953220" cy="953220"/>
          </a:xfrm>
        </p:grpSpPr>
        <p:sp>
          <p:nvSpPr>
            <p:cNvPr id="24" name="Oval 23">
              <a:extLst>
                <a:ext uri="{FF2B5EF4-FFF2-40B4-BE49-F238E27FC236}">
                  <a16:creationId xmlns:a16="http://schemas.microsoft.com/office/drawing/2014/main" id="{0119BA04-BF62-45FA-B23D-6386D7D94986}"/>
                </a:ext>
              </a:extLst>
            </p:cNvPr>
            <p:cNvSpPr/>
            <p:nvPr/>
          </p:nvSpPr>
          <p:spPr>
            <a:xfrm>
              <a:off x="3992062" y="1251170"/>
              <a:ext cx="953220" cy="953220"/>
            </a:xfrm>
            <a:prstGeom prst="ellipse">
              <a:avLst/>
            </a:prstGeom>
            <a:gradFill>
              <a:gsLst>
                <a:gs pos="0">
                  <a:srgbClr val="FA626B"/>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pic>
          <p:nvPicPr>
            <p:cNvPr id="13" name="Graphic 12">
              <a:extLst>
                <a:ext uri="{FF2B5EF4-FFF2-40B4-BE49-F238E27FC236}">
                  <a16:creationId xmlns:a16="http://schemas.microsoft.com/office/drawing/2014/main" id="{FA20EB56-A384-4C10-9EC2-2A823BFA63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40072" y="1522615"/>
              <a:ext cx="457200" cy="457200"/>
            </a:xfrm>
            <a:prstGeom prst="rect">
              <a:avLst/>
            </a:prstGeom>
          </p:spPr>
        </p:pic>
      </p:grpSp>
      <p:grpSp>
        <p:nvGrpSpPr>
          <p:cNvPr id="5" name="Group 4">
            <a:extLst>
              <a:ext uri="{FF2B5EF4-FFF2-40B4-BE49-F238E27FC236}">
                <a16:creationId xmlns:a16="http://schemas.microsoft.com/office/drawing/2014/main" id="{2B99B44B-ECF5-44AB-8D5C-E53855377ACB}"/>
              </a:ext>
            </a:extLst>
          </p:cNvPr>
          <p:cNvGrpSpPr/>
          <p:nvPr/>
        </p:nvGrpSpPr>
        <p:grpSpPr>
          <a:xfrm>
            <a:off x="6952169" y="1058737"/>
            <a:ext cx="1235842" cy="1145653"/>
            <a:chOff x="6952169" y="1251170"/>
            <a:chExt cx="953220" cy="953220"/>
          </a:xfrm>
        </p:grpSpPr>
        <p:sp>
          <p:nvSpPr>
            <p:cNvPr id="22" name="Oval 21">
              <a:extLst>
                <a:ext uri="{FF2B5EF4-FFF2-40B4-BE49-F238E27FC236}">
                  <a16:creationId xmlns:a16="http://schemas.microsoft.com/office/drawing/2014/main" id="{E4A45582-4E12-475B-949E-939D64C8B514}"/>
                </a:ext>
              </a:extLst>
            </p:cNvPr>
            <p:cNvSpPr/>
            <p:nvPr/>
          </p:nvSpPr>
          <p:spPr>
            <a:xfrm>
              <a:off x="6952169" y="1251170"/>
              <a:ext cx="953220" cy="953220"/>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8F3EF"/>
                </a:solidFill>
                <a:effectLst/>
                <a:uLnTx/>
                <a:uFillTx/>
                <a:latin typeface="Calibri"/>
                <a:ea typeface="+mn-ea"/>
                <a:cs typeface="+mn-cs"/>
              </a:endParaRPr>
            </a:p>
          </p:txBody>
        </p:sp>
        <p:pic>
          <p:nvPicPr>
            <p:cNvPr id="17" name="Graphic 16">
              <a:extLst>
                <a:ext uri="{FF2B5EF4-FFF2-40B4-BE49-F238E27FC236}">
                  <a16:creationId xmlns:a16="http://schemas.microsoft.com/office/drawing/2014/main" id="{4DB30665-D3A9-4464-92B0-2725236799F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71325" y="1499988"/>
              <a:ext cx="457200" cy="457200"/>
            </a:xfrm>
            <a:prstGeom prst="rect">
              <a:avLst/>
            </a:prstGeom>
          </p:spPr>
        </p:pic>
      </p:grpSp>
      <p:sp>
        <p:nvSpPr>
          <p:cNvPr id="20" name="Oval 19">
            <a:extLst>
              <a:ext uri="{FF2B5EF4-FFF2-40B4-BE49-F238E27FC236}">
                <a16:creationId xmlns:a16="http://schemas.microsoft.com/office/drawing/2014/main" id="{8F0E0E94-32CD-4E33-99CF-143FF22CA4A2}"/>
              </a:ext>
            </a:extLst>
          </p:cNvPr>
          <p:cNvSpPr/>
          <p:nvPr/>
        </p:nvSpPr>
        <p:spPr>
          <a:xfrm>
            <a:off x="4707149" y="2299203"/>
            <a:ext cx="2585015" cy="2585015"/>
          </a:xfrm>
          <a:prstGeom prst="ellipse">
            <a:avLst/>
          </a:prstGeom>
          <a:no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5E48BE25-2C6B-4959-80E1-A92B6A30FC7F}"/>
              </a:ext>
            </a:extLst>
          </p:cNvPr>
          <p:cNvGrpSpPr/>
          <p:nvPr/>
        </p:nvGrpSpPr>
        <p:grpSpPr>
          <a:xfrm>
            <a:off x="7155558" y="5005657"/>
            <a:ext cx="1235843" cy="1145652"/>
            <a:chOff x="6977569" y="4893459"/>
            <a:chExt cx="953220" cy="953220"/>
          </a:xfrm>
        </p:grpSpPr>
        <p:sp>
          <p:nvSpPr>
            <p:cNvPr id="28" name="Oval 27">
              <a:extLst>
                <a:ext uri="{FF2B5EF4-FFF2-40B4-BE49-F238E27FC236}">
                  <a16:creationId xmlns:a16="http://schemas.microsoft.com/office/drawing/2014/main" id="{AF5F16DD-6BAA-45EF-A2D2-551A202E01F3}"/>
                </a:ext>
              </a:extLst>
            </p:cNvPr>
            <p:cNvSpPr/>
            <p:nvPr/>
          </p:nvSpPr>
          <p:spPr>
            <a:xfrm>
              <a:off x="6977569" y="4893459"/>
              <a:ext cx="953220" cy="953220"/>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pic>
          <p:nvPicPr>
            <p:cNvPr id="27" name="Graphic 26">
              <a:extLst>
                <a:ext uri="{FF2B5EF4-FFF2-40B4-BE49-F238E27FC236}">
                  <a16:creationId xmlns:a16="http://schemas.microsoft.com/office/drawing/2014/main" id="{55455CFB-0D3E-4282-A7A6-B70192AF19A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31820" y="5140174"/>
              <a:ext cx="457200" cy="457200"/>
            </a:xfrm>
            <a:prstGeom prst="rect">
              <a:avLst/>
            </a:prstGeom>
          </p:spPr>
        </p:pic>
      </p:grpSp>
      <p:grpSp>
        <p:nvGrpSpPr>
          <p:cNvPr id="10" name="Group 9">
            <a:extLst>
              <a:ext uri="{FF2B5EF4-FFF2-40B4-BE49-F238E27FC236}">
                <a16:creationId xmlns:a16="http://schemas.microsoft.com/office/drawing/2014/main" id="{C422A926-754A-4276-8B43-4404129A39E8}"/>
              </a:ext>
            </a:extLst>
          </p:cNvPr>
          <p:cNvGrpSpPr/>
          <p:nvPr/>
        </p:nvGrpSpPr>
        <p:grpSpPr>
          <a:xfrm>
            <a:off x="3506553" y="4882379"/>
            <a:ext cx="1235842" cy="1145652"/>
            <a:chOff x="3992062" y="4906159"/>
            <a:chExt cx="953220" cy="953220"/>
          </a:xfrm>
        </p:grpSpPr>
        <p:sp>
          <p:nvSpPr>
            <p:cNvPr id="31" name="Oval 30">
              <a:extLst>
                <a:ext uri="{FF2B5EF4-FFF2-40B4-BE49-F238E27FC236}">
                  <a16:creationId xmlns:a16="http://schemas.microsoft.com/office/drawing/2014/main" id="{84650D1E-2D0A-4B5E-8FFF-AC9FBFC3021B}"/>
                </a:ext>
              </a:extLst>
            </p:cNvPr>
            <p:cNvSpPr/>
            <p:nvPr/>
          </p:nvSpPr>
          <p:spPr>
            <a:xfrm>
              <a:off x="3992062" y="4906159"/>
              <a:ext cx="953220" cy="953220"/>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pic>
          <p:nvPicPr>
            <p:cNvPr id="30" name="Graphic 29">
              <a:extLst>
                <a:ext uri="{FF2B5EF4-FFF2-40B4-BE49-F238E27FC236}">
                  <a16:creationId xmlns:a16="http://schemas.microsoft.com/office/drawing/2014/main" id="{B2D810A3-0265-42B1-AB16-0F261B4978B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40072" y="5154169"/>
              <a:ext cx="457200" cy="457200"/>
            </a:xfrm>
            <a:prstGeom prst="rect">
              <a:avLst/>
            </a:prstGeom>
          </p:spPr>
        </p:pic>
      </p:grpSp>
      <p:pic>
        <p:nvPicPr>
          <p:cNvPr id="33" name="Graphic 32">
            <a:extLst>
              <a:ext uri="{FF2B5EF4-FFF2-40B4-BE49-F238E27FC236}">
                <a16:creationId xmlns:a16="http://schemas.microsoft.com/office/drawing/2014/main" id="{D0B0786D-1A2B-4658-934D-A55ECD769AA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0800000">
            <a:off x="6714125" y="2057211"/>
            <a:ext cx="457200" cy="457200"/>
          </a:xfrm>
          <a:prstGeom prst="rect">
            <a:avLst/>
          </a:prstGeom>
        </p:spPr>
      </p:pic>
      <p:pic>
        <p:nvPicPr>
          <p:cNvPr id="35" name="Graphic 34">
            <a:extLst>
              <a:ext uri="{FF2B5EF4-FFF2-40B4-BE49-F238E27FC236}">
                <a16:creationId xmlns:a16="http://schemas.microsoft.com/office/drawing/2014/main" id="{A38D5FA1-8902-4B46-9E93-305C6712F0D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726126" y="2057211"/>
            <a:ext cx="457200" cy="457200"/>
          </a:xfrm>
          <a:prstGeom prst="rect">
            <a:avLst/>
          </a:prstGeom>
        </p:spPr>
      </p:pic>
      <p:pic>
        <p:nvPicPr>
          <p:cNvPr id="37" name="Graphic 36">
            <a:extLst>
              <a:ext uri="{FF2B5EF4-FFF2-40B4-BE49-F238E27FC236}">
                <a16:creationId xmlns:a16="http://schemas.microsoft.com/office/drawing/2014/main" id="{19A3D4FF-8512-4E64-8C38-9E990C3DF22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10800000">
            <a:off x="4066130" y="3312164"/>
            <a:ext cx="457200" cy="457200"/>
          </a:xfrm>
          <a:prstGeom prst="rect">
            <a:avLst/>
          </a:prstGeom>
        </p:spPr>
      </p:pic>
      <p:pic>
        <p:nvPicPr>
          <p:cNvPr id="39" name="Graphic 38">
            <a:extLst>
              <a:ext uri="{FF2B5EF4-FFF2-40B4-BE49-F238E27FC236}">
                <a16:creationId xmlns:a16="http://schemas.microsoft.com/office/drawing/2014/main" id="{7D6AA4E4-5BF0-4D33-BE37-58CA6EEC886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1135238">
            <a:off x="4697272" y="4619080"/>
            <a:ext cx="457200" cy="457200"/>
          </a:xfrm>
          <a:prstGeom prst="rect">
            <a:avLst/>
          </a:prstGeom>
        </p:spPr>
      </p:pic>
      <p:pic>
        <p:nvPicPr>
          <p:cNvPr id="41" name="Graphic 40">
            <a:extLst>
              <a:ext uri="{FF2B5EF4-FFF2-40B4-BE49-F238E27FC236}">
                <a16:creationId xmlns:a16="http://schemas.microsoft.com/office/drawing/2014/main" id="{7B73A487-5BCD-4FC1-9910-B8095090305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rot="10800000">
            <a:off x="6768379" y="4646257"/>
            <a:ext cx="457200" cy="457200"/>
          </a:xfrm>
          <a:prstGeom prst="rect">
            <a:avLst/>
          </a:prstGeom>
        </p:spPr>
      </p:pic>
      <p:pic>
        <p:nvPicPr>
          <p:cNvPr id="42" name="Graphic 41">
            <a:extLst>
              <a:ext uri="{FF2B5EF4-FFF2-40B4-BE49-F238E27FC236}">
                <a16:creationId xmlns:a16="http://schemas.microsoft.com/office/drawing/2014/main" id="{E4D01E06-32A2-4BDF-95FF-C8D01FF7A85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10800000" flipH="1" flipV="1">
            <a:off x="7365278" y="3347390"/>
            <a:ext cx="457200" cy="457200"/>
          </a:xfrm>
          <a:prstGeom prst="rect">
            <a:avLst/>
          </a:prstGeom>
        </p:spPr>
      </p:pic>
      <p:sp>
        <p:nvSpPr>
          <p:cNvPr id="50" name="Freeform: Shape 49">
            <a:extLst>
              <a:ext uri="{FF2B5EF4-FFF2-40B4-BE49-F238E27FC236}">
                <a16:creationId xmlns:a16="http://schemas.microsoft.com/office/drawing/2014/main" id="{9C5FA16E-FBC9-4DEF-8618-95BF487C88CC}"/>
              </a:ext>
            </a:extLst>
          </p:cNvPr>
          <p:cNvSpPr/>
          <p:nvPr/>
        </p:nvSpPr>
        <p:spPr>
          <a:xfrm>
            <a:off x="5219700" y="2565400"/>
            <a:ext cx="1549400" cy="2070100"/>
          </a:xfrm>
          <a:custGeom>
            <a:avLst/>
            <a:gdLst>
              <a:gd name="connsiteX0" fmla="*/ 0 w 1549400"/>
              <a:gd name="connsiteY0" fmla="*/ 0 h 2070100"/>
              <a:gd name="connsiteX1" fmla="*/ 1104900 w 1549400"/>
              <a:gd name="connsiteY1" fmla="*/ 482600 h 2070100"/>
              <a:gd name="connsiteX2" fmla="*/ 1549400 w 1549400"/>
              <a:gd name="connsiteY2" fmla="*/ 2070100 h 2070100"/>
            </a:gdLst>
            <a:ahLst/>
            <a:cxnLst>
              <a:cxn ang="0">
                <a:pos x="connsiteX0" y="connsiteY0"/>
              </a:cxn>
              <a:cxn ang="0">
                <a:pos x="connsiteX1" y="connsiteY1"/>
              </a:cxn>
              <a:cxn ang="0">
                <a:pos x="connsiteX2" y="connsiteY2"/>
              </a:cxn>
            </a:cxnLst>
            <a:rect l="l" t="t" r="r" b="b"/>
            <a:pathLst>
              <a:path w="1549400" h="2070100">
                <a:moveTo>
                  <a:pt x="0" y="0"/>
                </a:moveTo>
                <a:cubicBezTo>
                  <a:pt x="423333" y="68791"/>
                  <a:pt x="846667" y="137583"/>
                  <a:pt x="1104900" y="482600"/>
                </a:cubicBezTo>
                <a:cubicBezTo>
                  <a:pt x="1363133" y="827617"/>
                  <a:pt x="1471083" y="1803400"/>
                  <a:pt x="1549400" y="2070100"/>
                </a:cubicBezTo>
              </a:path>
            </a:pathLst>
          </a:custGeom>
          <a:noFill/>
          <a:ln>
            <a:solidFill>
              <a:srgbClr val="B84F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51" name="Freeform: Shape 50">
            <a:extLst>
              <a:ext uri="{FF2B5EF4-FFF2-40B4-BE49-F238E27FC236}">
                <a16:creationId xmlns:a16="http://schemas.microsoft.com/office/drawing/2014/main" id="{B00D3CD1-FCD1-4F5C-8297-5A21AD78FC35}"/>
              </a:ext>
            </a:extLst>
          </p:cNvPr>
          <p:cNvSpPr/>
          <p:nvPr/>
        </p:nvSpPr>
        <p:spPr>
          <a:xfrm>
            <a:off x="4749800" y="3581400"/>
            <a:ext cx="2540000" cy="698505"/>
          </a:xfrm>
          <a:custGeom>
            <a:avLst/>
            <a:gdLst>
              <a:gd name="connsiteX0" fmla="*/ 0 w 2540000"/>
              <a:gd name="connsiteY0" fmla="*/ 0 h 698505"/>
              <a:gd name="connsiteX1" fmla="*/ 838200 w 2540000"/>
              <a:gd name="connsiteY1" fmla="*/ 698500 h 698505"/>
              <a:gd name="connsiteX2" fmla="*/ 2540000 w 2540000"/>
              <a:gd name="connsiteY2" fmla="*/ 12700 h 698505"/>
            </a:gdLst>
            <a:ahLst/>
            <a:cxnLst>
              <a:cxn ang="0">
                <a:pos x="connsiteX0" y="connsiteY0"/>
              </a:cxn>
              <a:cxn ang="0">
                <a:pos x="connsiteX1" y="connsiteY1"/>
              </a:cxn>
              <a:cxn ang="0">
                <a:pos x="connsiteX2" y="connsiteY2"/>
              </a:cxn>
            </a:cxnLst>
            <a:rect l="l" t="t" r="r" b="b"/>
            <a:pathLst>
              <a:path w="2540000" h="698505">
                <a:moveTo>
                  <a:pt x="0" y="0"/>
                </a:moveTo>
                <a:cubicBezTo>
                  <a:pt x="207433" y="348191"/>
                  <a:pt x="414867" y="696383"/>
                  <a:pt x="838200" y="698500"/>
                </a:cubicBezTo>
                <a:cubicBezTo>
                  <a:pt x="1261533" y="700617"/>
                  <a:pt x="2171700" y="131233"/>
                  <a:pt x="2540000" y="12700"/>
                </a:cubicBez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52" name="Freeform: Shape 51">
            <a:extLst>
              <a:ext uri="{FF2B5EF4-FFF2-40B4-BE49-F238E27FC236}">
                <a16:creationId xmlns:a16="http://schemas.microsoft.com/office/drawing/2014/main" id="{AAFA0DE3-49CF-4122-B983-9C3BA0463184}"/>
              </a:ext>
            </a:extLst>
          </p:cNvPr>
          <p:cNvSpPr/>
          <p:nvPr/>
        </p:nvSpPr>
        <p:spPr>
          <a:xfrm>
            <a:off x="4762500" y="2537556"/>
            <a:ext cx="2006600" cy="993044"/>
          </a:xfrm>
          <a:custGeom>
            <a:avLst/>
            <a:gdLst>
              <a:gd name="connsiteX0" fmla="*/ 0 w 2006600"/>
              <a:gd name="connsiteY0" fmla="*/ 993044 h 993044"/>
              <a:gd name="connsiteX1" fmla="*/ 1117600 w 2006600"/>
              <a:gd name="connsiteY1" fmla="*/ 154844 h 993044"/>
              <a:gd name="connsiteX2" fmla="*/ 2006600 w 2006600"/>
              <a:gd name="connsiteY2" fmla="*/ 2444 h 993044"/>
            </a:gdLst>
            <a:ahLst/>
            <a:cxnLst>
              <a:cxn ang="0">
                <a:pos x="connsiteX0" y="connsiteY0"/>
              </a:cxn>
              <a:cxn ang="0">
                <a:pos x="connsiteX1" y="connsiteY1"/>
              </a:cxn>
              <a:cxn ang="0">
                <a:pos x="connsiteX2" y="connsiteY2"/>
              </a:cxn>
            </a:cxnLst>
            <a:rect l="l" t="t" r="r" b="b"/>
            <a:pathLst>
              <a:path w="2006600" h="993044">
                <a:moveTo>
                  <a:pt x="0" y="993044"/>
                </a:moveTo>
                <a:cubicBezTo>
                  <a:pt x="391583" y="656494"/>
                  <a:pt x="783167" y="319944"/>
                  <a:pt x="1117600" y="154844"/>
                </a:cubicBezTo>
                <a:cubicBezTo>
                  <a:pt x="1452033" y="-10256"/>
                  <a:pt x="1729316" y="-3906"/>
                  <a:pt x="2006600" y="2444"/>
                </a:cubicBez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53" name="Freeform: Shape 52">
            <a:extLst>
              <a:ext uri="{FF2B5EF4-FFF2-40B4-BE49-F238E27FC236}">
                <a16:creationId xmlns:a16="http://schemas.microsoft.com/office/drawing/2014/main" id="{D51C2FFA-74E1-466E-B333-227BFD83853A}"/>
              </a:ext>
            </a:extLst>
          </p:cNvPr>
          <p:cNvSpPr/>
          <p:nvPr/>
        </p:nvSpPr>
        <p:spPr>
          <a:xfrm>
            <a:off x="5207000" y="4381500"/>
            <a:ext cx="1536700" cy="215900"/>
          </a:xfrm>
          <a:custGeom>
            <a:avLst/>
            <a:gdLst>
              <a:gd name="connsiteX0" fmla="*/ 0 w 1536700"/>
              <a:gd name="connsiteY0" fmla="*/ 215900 h 215900"/>
              <a:gd name="connsiteX1" fmla="*/ 825500 w 1536700"/>
              <a:gd name="connsiteY1" fmla="*/ 0 h 215900"/>
              <a:gd name="connsiteX2" fmla="*/ 1536700 w 1536700"/>
              <a:gd name="connsiteY2" fmla="*/ 215900 h 215900"/>
            </a:gdLst>
            <a:ahLst/>
            <a:cxnLst>
              <a:cxn ang="0">
                <a:pos x="connsiteX0" y="connsiteY0"/>
              </a:cxn>
              <a:cxn ang="0">
                <a:pos x="connsiteX1" y="connsiteY1"/>
              </a:cxn>
              <a:cxn ang="0">
                <a:pos x="connsiteX2" y="connsiteY2"/>
              </a:cxn>
            </a:cxnLst>
            <a:rect l="l" t="t" r="r" b="b"/>
            <a:pathLst>
              <a:path w="1536700" h="215900">
                <a:moveTo>
                  <a:pt x="0" y="215900"/>
                </a:moveTo>
                <a:cubicBezTo>
                  <a:pt x="284691" y="107950"/>
                  <a:pt x="569383" y="0"/>
                  <a:pt x="825500" y="0"/>
                </a:cubicBezTo>
                <a:cubicBezTo>
                  <a:pt x="1081617" y="0"/>
                  <a:pt x="1309158" y="107950"/>
                  <a:pt x="1536700" y="215900"/>
                </a:cubicBezTo>
              </a:path>
            </a:pathLst>
          </a:cu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54" name="Freeform: Shape 53">
            <a:extLst>
              <a:ext uri="{FF2B5EF4-FFF2-40B4-BE49-F238E27FC236}">
                <a16:creationId xmlns:a16="http://schemas.microsoft.com/office/drawing/2014/main" id="{3A7D6A3C-A5EA-47FE-BC98-AF76301BD639}"/>
              </a:ext>
            </a:extLst>
          </p:cNvPr>
          <p:cNvSpPr/>
          <p:nvPr/>
        </p:nvSpPr>
        <p:spPr>
          <a:xfrm>
            <a:off x="4749800" y="3475221"/>
            <a:ext cx="2019300" cy="1147579"/>
          </a:xfrm>
          <a:custGeom>
            <a:avLst/>
            <a:gdLst>
              <a:gd name="connsiteX0" fmla="*/ 0 w 2019300"/>
              <a:gd name="connsiteY0" fmla="*/ 118879 h 1147579"/>
              <a:gd name="connsiteX1" fmla="*/ 1409700 w 2019300"/>
              <a:gd name="connsiteY1" fmla="*/ 93479 h 1147579"/>
              <a:gd name="connsiteX2" fmla="*/ 2019300 w 2019300"/>
              <a:gd name="connsiteY2" fmla="*/ 1147579 h 1147579"/>
            </a:gdLst>
            <a:ahLst/>
            <a:cxnLst>
              <a:cxn ang="0">
                <a:pos x="connsiteX0" y="connsiteY0"/>
              </a:cxn>
              <a:cxn ang="0">
                <a:pos x="connsiteX1" y="connsiteY1"/>
              </a:cxn>
              <a:cxn ang="0">
                <a:pos x="connsiteX2" y="connsiteY2"/>
              </a:cxn>
            </a:cxnLst>
            <a:rect l="l" t="t" r="r" b="b"/>
            <a:pathLst>
              <a:path w="2019300" h="1147579">
                <a:moveTo>
                  <a:pt x="0" y="118879"/>
                </a:moveTo>
                <a:cubicBezTo>
                  <a:pt x="536575" y="20454"/>
                  <a:pt x="1073150" y="-77971"/>
                  <a:pt x="1409700" y="93479"/>
                </a:cubicBezTo>
                <a:cubicBezTo>
                  <a:pt x="1746250" y="264929"/>
                  <a:pt x="1882775" y="706254"/>
                  <a:pt x="2019300" y="1147579"/>
                </a:cubicBezTo>
              </a:path>
            </a:pathLst>
          </a:custGeom>
          <a:noFill/>
          <a:ln>
            <a:solidFill>
              <a:srgbClr val="F25A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55" name="Freeform: Shape 54">
            <a:extLst>
              <a:ext uri="{FF2B5EF4-FFF2-40B4-BE49-F238E27FC236}">
                <a16:creationId xmlns:a16="http://schemas.microsoft.com/office/drawing/2014/main" id="{E9C81C31-3158-4C00-9C74-642DBBBFD00C}"/>
              </a:ext>
            </a:extLst>
          </p:cNvPr>
          <p:cNvSpPr/>
          <p:nvPr/>
        </p:nvSpPr>
        <p:spPr>
          <a:xfrm>
            <a:off x="5194300" y="2578100"/>
            <a:ext cx="1640839" cy="1993900"/>
          </a:xfrm>
          <a:custGeom>
            <a:avLst/>
            <a:gdLst>
              <a:gd name="connsiteX0" fmla="*/ 0 w 1640839"/>
              <a:gd name="connsiteY0" fmla="*/ 1993900 h 1993900"/>
              <a:gd name="connsiteX1" fmla="*/ 1435100 w 1640839"/>
              <a:gd name="connsiteY1" fmla="*/ 952500 h 1993900"/>
              <a:gd name="connsiteX2" fmla="*/ 1600200 w 1640839"/>
              <a:gd name="connsiteY2" fmla="*/ 0 h 1993900"/>
            </a:gdLst>
            <a:ahLst/>
            <a:cxnLst>
              <a:cxn ang="0">
                <a:pos x="connsiteX0" y="connsiteY0"/>
              </a:cxn>
              <a:cxn ang="0">
                <a:pos x="connsiteX1" y="connsiteY1"/>
              </a:cxn>
              <a:cxn ang="0">
                <a:pos x="connsiteX2" y="connsiteY2"/>
              </a:cxn>
            </a:cxnLst>
            <a:rect l="l" t="t" r="r" b="b"/>
            <a:pathLst>
              <a:path w="1640839" h="1993900">
                <a:moveTo>
                  <a:pt x="0" y="1993900"/>
                </a:moveTo>
                <a:cubicBezTo>
                  <a:pt x="584200" y="1639358"/>
                  <a:pt x="1168400" y="1284817"/>
                  <a:pt x="1435100" y="952500"/>
                </a:cubicBezTo>
                <a:cubicBezTo>
                  <a:pt x="1701800" y="620183"/>
                  <a:pt x="1651000" y="310091"/>
                  <a:pt x="1600200" y="0"/>
                </a:cubicBezTo>
              </a:path>
            </a:pathLst>
          </a:custGeom>
          <a:noFill/>
          <a:ln>
            <a:solidFill>
              <a:srgbClr val="D65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56" name="Freeform: Shape 55">
            <a:extLst>
              <a:ext uri="{FF2B5EF4-FFF2-40B4-BE49-F238E27FC236}">
                <a16:creationId xmlns:a16="http://schemas.microsoft.com/office/drawing/2014/main" id="{0584D9EF-D3A8-4126-BAF8-C05FBDDCF3CE}"/>
              </a:ext>
            </a:extLst>
          </p:cNvPr>
          <p:cNvSpPr/>
          <p:nvPr/>
        </p:nvSpPr>
        <p:spPr>
          <a:xfrm>
            <a:off x="4737100" y="2565400"/>
            <a:ext cx="2006600" cy="990600"/>
          </a:xfrm>
          <a:custGeom>
            <a:avLst/>
            <a:gdLst>
              <a:gd name="connsiteX0" fmla="*/ 0 w 2006600"/>
              <a:gd name="connsiteY0" fmla="*/ 990600 h 990600"/>
              <a:gd name="connsiteX1" fmla="*/ 1219200 w 2006600"/>
              <a:gd name="connsiteY1" fmla="*/ 584200 h 990600"/>
              <a:gd name="connsiteX2" fmla="*/ 2006600 w 2006600"/>
              <a:gd name="connsiteY2" fmla="*/ 0 h 990600"/>
            </a:gdLst>
            <a:ahLst/>
            <a:cxnLst>
              <a:cxn ang="0">
                <a:pos x="connsiteX0" y="connsiteY0"/>
              </a:cxn>
              <a:cxn ang="0">
                <a:pos x="connsiteX1" y="connsiteY1"/>
              </a:cxn>
              <a:cxn ang="0">
                <a:pos x="connsiteX2" y="connsiteY2"/>
              </a:cxn>
            </a:cxnLst>
            <a:rect l="l" t="t" r="r" b="b"/>
            <a:pathLst>
              <a:path w="2006600" h="990600">
                <a:moveTo>
                  <a:pt x="0" y="990600"/>
                </a:moveTo>
                <a:cubicBezTo>
                  <a:pt x="442383" y="869950"/>
                  <a:pt x="884767" y="749300"/>
                  <a:pt x="1219200" y="584200"/>
                </a:cubicBezTo>
                <a:cubicBezTo>
                  <a:pt x="1553633" y="419100"/>
                  <a:pt x="1780116" y="209550"/>
                  <a:pt x="2006600" y="0"/>
                </a:cubicBezTo>
              </a:path>
            </a:pathLst>
          </a:cu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43" name="Flowchart: Connector 42">
            <a:extLst>
              <a:ext uri="{FF2B5EF4-FFF2-40B4-BE49-F238E27FC236}">
                <a16:creationId xmlns:a16="http://schemas.microsoft.com/office/drawing/2014/main" id="{417A2594-F507-4821-A7A6-7A950A084742}"/>
              </a:ext>
            </a:extLst>
          </p:cNvPr>
          <p:cNvSpPr/>
          <p:nvPr/>
        </p:nvSpPr>
        <p:spPr>
          <a:xfrm>
            <a:off x="5126906" y="2470896"/>
            <a:ext cx="182880" cy="182880"/>
          </a:xfrm>
          <a:prstGeom prst="flowChartConnector">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44" name="Flowchart: Connector 43">
            <a:extLst>
              <a:ext uri="{FF2B5EF4-FFF2-40B4-BE49-F238E27FC236}">
                <a16:creationId xmlns:a16="http://schemas.microsoft.com/office/drawing/2014/main" id="{CADEEC73-887E-4443-A2E2-D40679BC6E80}"/>
              </a:ext>
            </a:extLst>
          </p:cNvPr>
          <p:cNvSpPr/>
          <p:nvPr/>
        </p:nvSpPr>
        <p:spPr>
          <a:xfrm>
            <a:off x="6650191" y="2441150"/>
            <a:ext cx="182880" cy="182880"/>
          </a:xfrm>
          <a:prstGeom prst="flowChartConnector">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45" name="Flowchart: Connector 44">
            <a:extLst>
              <a:ext uri="{FF2B5EF4-FFF2-40B4-BE49-F238E27FC236}">
                <a16:creationId xmlns:a16="http://schemas.microsoft.com/office/drawing/2014/main" id="{BAB56144-64ED-49C1-9E1D-D974E8FA40C5}"/>
              </a:ext>
            </a:extLst>
          </p:cNvPr>
          <p:cNvSpPr/>
          <p:nvPr/>
        </p:nvSpPr>
        <p:spPr>
          <a:xfrm>
            <a:off x="7171325" y="3500270"/>
            <a:ext cx="182880" cy="182880"/>
          </a:xfrm>
          <a:prstGeom prst="flowChartConnector">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46" name="Flowchart: Connector 45">
            <a:extLst>
              <a:ext uri="{FF2B5EF4-FFF2-40B4-BE49-F238E27FC236}">
                <a16:creationId xmlns:a16="http://schemas.microsoft.com/office/drawing/2014/main" id="{48424D9C-591A-4CFD-AB3A-1E5D7C660A80}"/>
              </a:ext>
            </a:extLst>
          </p:cNvPr>
          <p:cNvSpPr/>
          <p:nvPr/>
        </p:nvSpPr>
        <p:spPr>
          <a:xfrm>
            <a:off x="6676939" y="4541357"/>
            <a:ext cx="182880" cy="182880"/>
          </a:xfrm>
          <a:prstGeom prst="flowChartConnector">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47" name="Flowchart: Connector 46">
            <a:extLst>
              <a:ext uri="{FF2B5EF4-FFF2-40B4-BE49-F238E27FC236}">
                <a16:creationId xmlns:a16="http://schemas.microsoft.com/office/drawing/2014/main" id="{F8AEB541-FB54-46F1-AF3F-0D0F74A1A3FD}"/>
              </a:ext>
            </a:extLst>
          </p:cNvPr>
          <p:cNvSpPr/>
          <p:nvPr/>
        </p:nvSpPr>
        <p:spPr>
          <a:xfrm>
            <a:off x="5115278" y="4507950"/>
            <a:ext cx="182880" cy="182880"/>
          </a:xfrm>
          <a:prstGeom prst="flowChartConnector">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48" name="Flowchart: Connector 47">
            <a:extLst>
              <a:ext uri="{FF2B5EF4-FFF2-40B4-BE49-F238E27FC236}">
                <a16:creationId xmlns:a16="http://schemas.microsoft.com/office/drawing/2014/main" id="{62593614-7037-44CE-A387-8BECA361A068}"/>
              </a:ext>
            </a:extLst>
          </p:cNvPr>
          <p:cNvSpPr/>
          <p:nvPr/>
        </p:nvSpPr>
        <p:spPr>
          <a:xfrm>
            <a:off x="4634035" y="3457210"/>
            <a:ext cx="182880" cy="182880"/>
          </a:xfrm>
          <a:prstGeom prst="flowChartConnector">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58" name="Flowchart: Connector 57">
            <a:extLst>
              <a:ext uri="{FF2B5EF4-FFF2-40B4-BE49-F238E27FC236}">
                <a16:creationId xmlns:a16="http://schemas.microsoft.com/office/drawing/2014/main" id="{375670A6-C1E2-4FF8-BA2A-9A80826D1697}"/>
              </a:ext>
            </a:extLst>
          </p:cNvPr>
          <p:cNvSpPr/>
          <p:nvPr/>
        </p:nvSpPr>
        <p:spPr>
          <a:xfrm>
            <a:off x="5227907" y="2819961"/>
            <a:ext cx="1543498" cy="1543498"/>
          </a:xfrm>
          <a:prstGeom prst="flowChartConnector">
            <a:avLst/>
          </a:prstGeom>
          <a:solidFill>
            <a:schemeClr val="accent5">
              <a:alpha val="69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pic>
        <p:nvPicPr>
          <p:cNvPr id="19" name="Graphic 18" descr="Male profile with solid fill">
            <a:extLst>
              <a:ext uri="{FF2B5EF4-FFF2-40B4-BE49-F238E27FC236}">
                <a16:creationId xmlns:a16="http://schemas.microsoft.com/office/drawing/2014/main" id="{8A38444A-DF00-46A8-A0B9-3570E368465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436080" y="2984629"/>
            <a:ext cx="1129960" cy="1129960"/>
          </a:xfrm>
          <a:prstGeom prst="rect">
            <a:avLst/>
          </a:prstGeom>
        </p:spPr>
      </p:pic>
      <p:sp>
        <p:nvSpPr>
          <p:cNvPr id="57" name="Oval 56">
            <a:extLst>
              <a:ext uri="{FF2B5EF4-FFF2-40B4-BE49-F238E27FC236}">
                <a16:creationId xmlns:a16="http://schemas.microsoft.com/office/drawing/2014/main" id="{7A5EE713-11E4-4FA9-A90F-F4CDD736ACBB}"/>
              </a:ext>
            </a:extLst>
          </p:cNvPr>
          <p:cNvSpPr/>
          <p:nvPr/>
        </p:nvSpPr>
        <p:spPr>
          <a:xfrm>
            <a:off x="3722861" y="962465"/>
            <a:ext cx="1235844" cy="1145653"/>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F8F3EF"/>
                </a:solidFill>
                <a:effectLst/>
                <a:uLnTx/>
                <a:uFillTx/>
                <a:latin typeface="Calibri"/>
                <a:ea typeface="+mn-ea"/>
                <a:cs typeface="+mn-cs"/>
              </a:rPr>
              <a:t>Point of Sale</a:t>
            </a:r>
          </a:p>
        </p:txBody>
      </p:sp>
      <p:sp>
        <p:nvSpPr>
          <p:cNvPr id="70" name="Oval 69">
            <a:extLst>
              <a:ext uri="{FF2B5EF4-FFF2-40B4-BE49-F238E27FC236}">
                <a16:creationId xmlns:a16="http://schemas.microsoft.com/office/drawing/2014/main" id="{98E20A56-1046-40B3-8684-B7217BD05E02}"/>
              </a:ext>
            </a:extLst>
          </p:cNvPr>
          <p:cNvSpPr/>
          <p:nvPr/>
        </p:nvSpPr>
        <p:spPr>
          <a:xfrm>
            <a:off x="2677747" y="3004028"/>
            <a:ext cx="1235845" cy="1145652"/>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F8F3EF"/>
                </a:solidFill>
                <a:latin typeface="Calibri"/>
              </a:rPr>
              <a:t>Customer Support</a:t>
            </a:r>
            <a:endParaRPr kumimoji="0" lang="en-US" sz="1100" i="0" u="none" strike="noStrike" kern="1200" cap="none" spc="0" normalizeH="0" baseline="0" noProof="0" dirty="0">
              <a:ln>
                <a:noFill/>
              </a:ln>
              <a:solidFill>
                <a:srgbClr val="F8F3EF"/>
              </a:solidFill>
              <a:effectLst/>
              <a:uLnTx/>
              <a:uFillTx/>
              <a:latin typeface="Calibri"/>
              <a:ea typeface="+mn-ea"/>
              <a:cs typeface="+mn-cs"/>
            </a:endParaRPr>
          </a:p>
        </p:txBody>
      </p:sp>
      <p:sp>
        <p:nvSpPr>
          <p:cNvPr id="73" name="Oval 72">
            <a:extLst>
              <a:ext uri="{FF2B5EF4-FFF2-40B4-BE49-F238E27FC236}">
                <a16:creationId xmlns:a16="http://schemas.microsoft.com/office/drawing/2014/main" id="{BE637007-23F8-421D-8331-F65A48568216}"/>
              </a:ext>
            </a:extLst>
          </p:cNvPr>
          <p:cNvSpPr/>
          <p:nvPr/>
        </p:nvSpPr>
        <p:spPr>
          <a:xfrm>
            <a:off x="3512830" y="4884997"/>
            <a:ext cx="1235845" cy="1145653"/>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F8F3EF"/>
                </a:solidFill>
                <a:effectLst/>
                <a:uLnTx/>
                <a:uFillTx/>
                <a:latin typeface="Calibri"/>
                <a:ea typeface="+mn-ea"/>
                <a:cs typeface="+mn-cs"/>
              </a:rPr>
              <a:t>Marketing Automation</a:t>
            </a:r>
          </a:p>
        </p:txBody>
      </p:sp>
      <p:sp>
        <p:nvSpPr>
          <p:cNvPr id="75" name="Oval 74">
            <a:extLst>
              <a:ext uri="{FF2B5EF4-FFF2-40B4-BE49-F238E27FC236}">
                <a16:creationId xmlns:a16="http://schemas.microsoft.com/office/drawing/2014/main" id="{AB812BAC-C35C-4039-8771-2FCE0FDA0801}"/>
              </a:ext>
            </a:extLst>
          </p:cNvPr>
          <p:cNvSpPr/>
          <p:nvPr/>
        </p:nvSpPr>
        <p:spPr>
          <a:xfrm>
            <a:off x="7155558" y="5001312"/>
            <a:ext cx="1235844" cy="1145653"/>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F8F3EF"/>
                </a:solidFill>
                <a:effectLst/>
                <a:uLnTx/>
                <a:uFillTx/>
                <a:latin typeface="Calibri"/>
                <a:ea typeface="+mn-ea"/>
                <a:cs typeface="+mn-cs"/>
              </a:rPr>
              <a:t>ERP</a:t>
            </a:r>
          </a:p>
        </p:txBody>
      </p:sp>
      <p:sp>
        <p:nvSpPr>
          <p:cNvPr id="76" name="Oval 75">
            <a:extLst>
              <a:ext uri="{FF2B5EF4-FFF2-40B4-BE49-F238E27FC236}">
                <a16:creationId xmlns:a16="http://schemas.microsoft.com/office/drawing/2014/main" id="{C91BF1A3-C36F-42F3-92FE-FD95FEA919EE}"/>
              </a:ext>
            </a:extLst>
          </p:cNvPr>
          <p:cNvSpPr/>
          <p:nvPr/>
        </p:nvSpPr>
        <p:spPr>
          <a:xfrm>
            <a:off x="6952167" y="1053704"/>
            <a:ext cx="1235844" cy="1145653"/>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F8F3EF"/>
                </a:solidFill>
                <a:effectLst/>
                <a:uLnTx/>
                <a:uFillTx/>
                <a:latin typeface="Calibri"/>
                <a:ea typeface="+mn-ea"/>
                <a:cs typeface="+mn-cs"/>
              </a:rPr>
              <a:t>Social / Web</a:t>
            </a:r>
          </a:p>
        </p:txBody>
      </p:sp>
      <p:sp>
        <p:nvSpPr>
          <p:cNvPr id="77" name="Oval 76">
            <a:extLst>
              <a:ext uri="{FF2B5EF4-FFF2-40B4-BE49-F238E27FC236}">
                <a16:creationId xmlns:a16="http://schemas.microsoft.com/office/drawing/2014/main" id="{ED7BBC2F-1308-4BF0-9DCA-B814755B76A8}"/>
              </a:ext>
            </a:extLst>
          </p:cNvPr>
          <p:cNvSpPr/>
          <p:nvPr/>
        </p:nvSpPr>
        <p:spPr>
          <a:xfrm>
            <a:off x="7954502" y="2957773"/>
            <a:ext cx="1235844" cy="1145653"/>
          </a:xfrm>
          <a:prstGeom prst="ellipse">
            <a:avLst/>
          </a:prstGeom>
          <a:gradFill>
            <a:gsLst>
              <a:gs pos="0">
                <a:srgbClr val="F25A83"/>
              </a:gs>
              <a:gs pos="100000">
                <a:srgbClr val="7242D1"/>
              </a:gs>
            </a:gsLst>
            <a:lin ang="2700000" scaled="1"/>
          </a:gra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F8F3EF"/>
                </a:solidFill>
                <a:effectLst/>
                <a:uLnTx/>
                <a:uFillTx/>
                <a:latin typeface="Calibri"/>
                <a:ea typeface="+mn-ea"/>
                <a:cs typeface="+mn-cs"/>
              </a:rPr>
              <a:t>CRM</a:t>
            </a:r>
          </a:p>
        </p:txBody>
      </p:sp>
      <p:sp>
        <p:nvSpPr>
          <p:cNvPr id="11" name="TextBox 10">
            <a:extLst>
              <a:ext uri="{FF2B5EF4-FFF2-40B4-BE49-F238E27FC236}">
                <a16:creationId xmlns:a16="http://schemas.microsoft.com/office/drawing/2014/main" id="{88AD2A8D-F316-400B-8BF2-3664B4E40722}"/>
              </a:ext>
            </a:extLst>
          </p:cNvPr>
          <p:cNvSpPr txBox="1"/>
          <p:nvPr/>
        </p:nvSpPr>
        <p:spPr>
          <a:xfrm>
            <a:off x="5448420" y="3121083"/>
            <a:ext cx="1129960" cy="830997"/>
          </a:xfrm>
          <a:prstGeom prst="rect">
            <a:avLst/>
          </a:prstGeom>
          <a:noFill/>
        </p:spPr>
        <p:txBody>
          <a:bodyPr wrap="square" lIns="0" tIns="0" rIns="0" bIns="0" rtlCol="0">
            <a:spAutoFit/>
          </a:bodyPr>
          <a:lstStyle/>
          <a:p>
            <a:pPr algn="ctr"/>
            <a:r>
              <a:rPr lang="en-US" dirty="0"/>
              <a:t>Enterprise Customer 360</a:t>
            </a:r>
          </a:p>
        </p:txBody>
      </p:sp>
    </p:spTree>
    <p:extLst>
      <p:ext uri="{BB962C8B-B14F-4D97-AF65-F5344CB8AC3E}">
        <p14:creationId xmlns:p14="http://schemas.microsoft.com/office/powerpoint/2010/main" val="110798610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4"/>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5"/>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nodeType="afterEffect">
                                  <p:stCondLst>
                                    <p:cond delay="500"/>
                                  </p:stCondLst>
                                  <p:childTnLst>
                                    <p:set>
                                      <p:cBhvr>
                                        <p:cTn id="18" dur="1" fill="hold">
                                          <p:stCondLst>
                                            <p:cond delay="0"/>
                                          </p:stCondLst>
                                        </p:cTn>
                                        <p:tgtEl>
                                          <p:spTgt spid="10"/>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nodeType="afterEffect">
                                  <p:stCondLst>
                                    <p:cond delay="500"/>
                                  </p:stCondLst>
                                  <p:childTnLst>
                                    <p:set>
                                      <p:cBhvr>
                                        <p:cTn id="21" dur="1" fill="hold">
                                          <p:stCondLst>
                                            <p:cond delay="0"/>
                                          </p:stCondLst>
                                        </p:cTn>
                                        <p:tgtEl>
                                          <p:spTgt spid="8"/>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nodeType="afterEffect">
                                  <p:stCondLst>
                                    <p:cond delay="500"/>
                                  </p:stCondLst>
                                  <p:childTnLst>
                                    <p:set>
                                      <p:cBhvr>
                                        <p:cTn id="24" dur="1" fill="hold">
                                          <p:stCondLst>
                                            <p:cond delay="0"/>
                                          </p:stCondLst>
                                        </p:cTn>
                                        <p:tgtEl>
                                          <p:spTgt spid="35"/>
                                        </p:tgtEl>
                                        <p:attrNameLst>
                                          <p:attrName>style.visibility</p:attrName>
                                        </p:attrNameLst>
                                      </p:cBhvr>
                                      <p:to>
                                        <p:strVal val="visible"/>
                                      </p:to>
                                    </p:set>
                                  </p:childTnLst>
                                </p:cTn>
                              </p:par>
                            </p:childTnLst>
                          </p:cTn>
                        </p:par>
                        <p:par>
                          <p:cTn id="25" fill="hold">
                            <p:stCondLst>
                              <p:cond delay="3000"/>
                            </p:stCondLst>
                            <p:childTnLst>
                              <p:par>
                                <p:cTn id="26" presetID="1" presetClass="entr" presetSubtype="0" fill="hold" nodeType="afterEffect">
                                  <p:stCondLst>
                                    <p:cond delay="0"/>
                                  </p:stCondLst>
                                  <p:childTnLst>
                                    <p:set>
                                      <p:cBhvr>
                                        <p:cTn id="27" dur="1" fill="hold">
                                          <p:stCondLst>
                                            <p:cond delay="0"/>
                                          </p:stCondLst>
                                        </p:cTn>
                                        <p:tgtEl>
                                          <p:spTgt spid="33"/>
                                        </p:tgtEl>
                                        <p:attrNameLst>
                                          <p:attrName>style.visibility</p:attrName>
                                        </p:attrNameLst>
                                      </p:cBhvr>
                                      <p:to>
                                        <p:strVal val="visible"/>
                                      </p:to>
                                    </p:set>
                                  </p:childTnLst>
                                </p:cTn>
                              </p:par>
                            </p:childTnLst>
                          </p:cTn>
                        </p:par>
                        <p:par>
                          <p:cTn id="28" fill="hold">
                            <p:stCondLst>
                              <p:cond delay="3000"/>
                            </p:stCondLst>
                            <p:childTnLst>
                              <p:par>
                                <p:cTn id="29" presetID="1" presetClass="entr" presetSubtype="0"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par>
                          <p:cTn id="31" fill="hold">
                            <p:stCondLst>
                              <p:cond delay="3000"/>
                            </p:stCondLst>
                            <p:childTnLst>
                              <p:par>
                                <p:cTn id="32" presetID="1" presetClass="entr" presetSubtype="0" fill="hold" nodeType="afterEffect">
                                  <p:stCondLst>
                                    <p:cond delay="0"/>
                                  </p:stCondLst>
                                  <p:childTnLst>
                                    <p:set>
                                      <p:cBhvr>
                                        <p:cTn id="33" dur="1" fill="hold">
                                          <p:stCondLst>
                                            <p:cond delay="0"/>
                                          </p:stCondLst>
                                        </p:cTn>
                                        <p:tgtEl>
                                          <p:spTgt spid="39"/>
                                        </p:tgtEl>
                                        <p:attrNameLst>
                                          <p:attrName>style.visibility</p:attrName>
                                        </p:attrNameLst>
                                      </p:cBhvr>
                                      <p:to>
                                        <p:strVal val="visible"/>
                                      </p:to>
                                    </p:set>
                                  </p:childTnLst>
                                </p:cTn>
                              </p:par>
                            </p:childTnLst>
                          </p:cTn>
                        </p:par>
                        <p:par>
                          <p:cTn id="34" fill="hold">
                            <p:stCondLst>
                              <p:cond delay="3000"/>
                            </p:stCondLst>
                            <p:childTnLst>
                              <p:par>
                                <p:cTn id="35" presetID="1" presetClass="entr" presetSubtype="0" fill="hold" nodeType="afterEffect">
                                  <p:stCondLst>
                                    <p:cond delay="0"/>
                                  </p:stCondLst>
                                  <p:childTnLst>
                                    <p:set>
                                      <p:cBhvr>
                                        <p:cTn id="36" dur="1" fill="hold">
                                          <p:stCondLst>
                                            <p:cond delay="0"/>
                                          </p:stCondLst>
                                        </p:cTn>
                                        <p:tgtEl>
                                          <p:spTgt spid="37"/>
                                        </p:tgtEl>
                                        <p:attrNameLst>
                                          <p:attrName>style.visibility</p:attrName>
                                        </p:attrNameLst>
                                      </p:cBhvr>
                                      <p:to>
                                        <p:strVal val="visible"/>
                                      </p:to>
                                    </p:set>
                                  </p:childTnLst>
                                </p:cTn>
                              </p:par>
                            </p:childTnLst>
                          </p:cTn>
                        </p:par>
                        <p:par>
                          <p:cTn id="37" fill="hold">
                            <p:stCondLst>
                              <p:cond delay="3000"/>
                            </p:stCondLst>
                            <p:childTnLst>
                              <p:par>
                                <p:cTn id="38" presetID="1" presetClass="entr" presetSubtype="0" fill="hold" nodeType="afterEffect">
                                  <p:stCondLst>
                                    <p:cond delay="0"/>
                                  </p:stCondLst>
                                  <p:childTnLst>
                                    <p:set>
                                      <p:cBhvr>
                                        <p:cTn id="39" dur="1" fill="hold">
                                          <p:stCondLst>
                                            <p:cond delay="0"/>
                                          </p:stCondLst>
                                        </p:cTn>
                                        <p:tgtEl>
                                          <p:spTgt spid="4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75"/>
                                        </p:tgtEl>
                                        <p:attrNameLst>
                                          <p:attrName>style.visibility</p:attrName>
                                        </p:attrNameLst>
                                      </p:cBhvr>
                                      <p:to>
                                        <p:strVal val="visible"/>
                                      </p:to>
                                    </p:set>
                                  </p:childTnLst>
                                </p:cTn>
                              </p:par>
                              <p:par>
                                <p:cTn id="44" presetID="1" presetClass="entr" presetSubtype="0" fill="hold" grpId="0" nodeType="withEffect">
                                  <p:stCondLst>
                                    <p:cond delay="500"/>
                                  </p:stCondLst>
                                  <p:childTnLst>
                                    <p:set>
                                      <p:cBhvr>
                                        <p:cTn id="45" dur="1" fill="hold">
                                          <p:stCondLst>
                                            <p:cond delay="0"/>
                                          </p:stCondLst>
                                        </p:cTn>
                                        <p:tgtEl>
                                          <p:spTgt spid="77"/>
                                        </p:tgtEl>
                                        <p:attrNameLst>
                                          <p:attrName>style.visibility</p:attrName>
                                        </p:attrNameLst>
                                      </p:cBhvr>
                                      <p:to>
                                        <p:strVal val="visible"/>
                                      </p:to>
                                    </p:set>
                                  </p:childTnLst>
                                </p:cTn>
                              </p:par>
                              <p:par>
                                <p:cTn id="46" presetID="1" presetClass="entr" presetSubtype="0" fill="hold" grpId="0" nodeType="withEffect">
                                  <p:stCondLst>
                                    <p:cond delay="1000"/>
                                  </p:stCondLst>
                                  <p:childTnLst>
                                    <p:set>
                                      <p:cBhvr>
                                        <p:cTn id="47" dur="1" fill="hold">
                                          <p:stCondLst>
                                            <p:cond delay="0"/>
                                          </p:stCondLst>
                                        </p:cTn>
                                        <p:tgtEl>
                                          <p:spTgt spid="57"/>
                                        </p:tgtEl>
                                        <p:attrNameLst>
                                          <p:attrName>style.visibility</p:attrName>
                                        </p:attrNameLst>
                                      </p:cBhvr>
                                      <p:to>
                                        <p:strVal val="visible"/>
                                      </p:to>
                                    </p:set>
                                  </p:childTnLst>
                                </p:cTn>
                              </p:par>
                              <p:par>
                                <p:cTn id="48" presetID="1" presetClass="entr" presetSubtype="0" fill="hold" grpId="0" nodeType="withEffect">
                                  <p:stCondLst>
                                    <p:cond delay="1500"/>
                                  </p:stCondLst>
                                  <p:childTnLst>
                                    <p:set>
                                      <p:cBhvr>
                                        <p:cTn id="49" dur="1" fill="hold">
                                          <p:stCondLst>
                                            <p:cond delay="0"/>
                                          </p:stCondLst>
                                        </p:cTn>
                                        <p:tgtEl>
                                          <p:spTgt spid="76"/>
                                        </p:tgtEl>
                                        <p:attrNameLst>
                                          <p:attrName>style.visibility</p:attrName>
                                        </p:attrNameLst>
                                      </p:cBhvr>
                                      <p:to>
                                        <p:strVal val="visible"/>
                                      </p:to>
                                    </p:set>
                                  </p:childTnLst>
                                </p:cTn>
                              </p:par>
                              <p:par>
                                <p:cTn id="50" presetID="1" presetClass="entr" presetSubtype="0" fill="hold" grpId="0" nodeType="withEffect">
                                  <p:stCondLst>
                                    <p:cond delay="2000"/>
                                  </p:stCondLst>
                                  <p:childTnLst>
                                    <p:set>
                                      <p:cBhvr>
                                        <p:cTn id="51" dur="1" fill="hold">
                                          <p:stCondLst>
                                            <p:cond delay="0"/>
                                          </p:stCondLst>
                                        </p:cTn>
                                        <p:tgtEl>
                                          <p:spTgt spid="73"/>
                                        </p:tgtEl>
                                        <p:attrNameLst>
                                          <p:attrName>style.visibility</p:attrName>
                                        </p:attrNameLst>
                                      </p:cBhvr>
                                      <p:to>
                                        <p:strVal val="visible"/>
                                      </p:to>
                                    </p:set>
                                  </p:childTnLst>
                                </p:cTn>
                              </p:par>
                              <p:par>
                                <p:cTn id="52" presetID="1" presetClass="entr" presetSubtype="0" fill="hold" grpId="0" nodeType="withEffect">
                                  <p:stCondLst>
                                    <p:cond delay="2500"/>
                                  </p:stCondLst>
                                  <p:childTnLst>
                                    <p:set>
                                      <p:cBhvr>
                                        <p:cTn id="53" dur="1" fill="hold">
                                          <p:stCondLst>
                                            <p:cond delay="0"/>
                                          </p:stCondLst>
                                        </p:cTn>
                                        <p:tgtEl>
                                          <p:spTgt spid="70"/>
                                        </p:tgtEl>
                                        <p:attrNameLst>
                                          <p:attrName>style.visibility</p:attrName>
                                        </p:attrNameLst>
                                      </p:cBhvr>
                                      <p:to>
                                        <p:strVal val="visible"/>
                                      </p:to>
                                    </p:set>
                                  </p:childTnLst>
                                </p:cTn>
                              </p:par>
                            </p:childTnLst>
                          </p:cTn>
                        </p:par>
                        <p:par>
                          <p:cTn id="54" fill="hold">
                            <p:stCondLst>
                              <p:cond delay="2500"/>
                            </p:stCondLst>
                            <p:childTnLst>
                              <p:par>
                                <p:cTn id="55" presetID="8" presetClass="emph" presetSubtype="0" fill="hold" nodeType="afterEffect">
                                  <p:stCondLst>
                                    <p:cond delay="0"/>
                                  </p:stCondLst>
                                  <p:childTnLst>
                                    <p:animRot by="10800000">
                                      <p:cBhvr>
                                        <p:cTn id="56" dur="2000" fill="hold"/>
                                        <p:tgtEl>
                                          <p:spTgt spid="35"/>
                                        </p:tgtEl>
                                        <p:attrNameLst>
                                          <p:attrName>r</p:attrName>
                                        </p:attrNameLst>
                                      </p:cBhvr>
                                    </p:animRot>
                                  </p:childTnLst>
                                </p:cTn>
                              </p:par>
                              <p:par>
                                <p:cTn id="57" presetID="8" presetClass="emph" presetSubtype="0" fill="hold" nodeType="withEffect">
                                  <p:stCondLst>
                                    <p:cond delay="0"/>
                                  </p:stCondLst>
                                  <p:childTnLst>
                                    <p:animRot by="10800000">
                                      <p:cBhvr>
                                        <p:cTn id="58" dur="2000" fill="hold"/>
                                        <p:tgtEl>
                                          <p:spTgt spid="33"/>
                                        </p:tgtEl>
                                        <p:attrNameLst>
                                          <p:attrName>r</p:attrName>
                                        </p:attrNameLst>
                                      </p:cBhvr>
                                    </p:animRot>
                                  </p:childTnLst>
                                </p:cTn>
                              </p:par>
                              <p:par>
                                <p:cTn id="59" presetID="8" presetClass="emph" presetSubtype="0" fill="hold" nodeType="withEffect">
                                  <p:stCondLst>
                                    <p:cond delay="0"/>
                                  </p:stCondLst>
                                  <p:childTnLst>
                                    <p:animRot by="10800000">
                                      <p:cBhvr>
                                        <p:cTn id="60" dur="2000" fill="hold"/>
                                        <p:tgtEl>
                                          <p:spTgt spid="41"/>
                                        </p:tgtEl>
                                        <p:attrNameLst>
                                          <p:attrName>r</p:attrName>
                                        </p:attrNameLst>
                                      </p:cBhvr>
                                    </p:animRot>
                                  </p:childTnLst>
                                </p:cTn>
                              </p:par>
                              <p:par>
                                <p:cTn id="61" presetID="8" presetClass="emph" presetSubtype="0" fill="hold" nodeType="withEffect">
                                  <p:stCondLst>
                                    <p:cond delay="0"/>
                                  </p:stCondLst>
                                  <p:childTnLst>
                                    <p:animRot by="10800000">
                                      <p:cBhvr>
                                        <p:cTn id="62" dur="2000" fill="hold"/>
                                        <p:tgtEl>
                                          <p:spTgt spid="39"/>
                                        </p:tgtEl>
                                        <p:attrNameLst>
                                          <p:attrName>r</p:attrName>
                                        </p:attrNameLst>
                                      </p:cBhvr>
                                    </p:animRot>
                                  </p:childTnLst>
                                </p:cTn>
                              </p:par>
                              <p:par>
                                <p:cTn id="63" presetID="8" presetClass="emph" presetSubtype="0" fill="hold" nodeType="withEffect">
                                  <p:stCondLst>
                                    <p:cond delay="0"/>
                                  </p:stCondLst>
                                  <p:childTnLst>
                                    <p:animRot by="10800000">
                                      <p:cBhvr>
                                        <p:cTn id="64" dur="2000" fill="hold"/>
                                        <p:tgtEl>
                                          <p:spTgt spid="37"/>
                                        </p:tgtEl>
                                        <p:attrNameLst>
                                          <p:attrName>r</p:attrName>
                                        </p:attrNameLst>
                                      </p:cBhvr>
                                    </p:animRot>
                                  </p:childTnLst>
                                </p:cTn>
                              </p:par>
                              <p:par>
                                <p:cTn id="65" presetID="8" presetClass="emph" presetSubtype="0" fill="hold" nodeType="withEffect">
                                  <p:stCondLst>
                                    <p:cond delay="0"/>
                                  </p:stCondLst>
                                  <p:childTnLst>
                                    <p:animRot by="10800000">
                                      <p:cBhvr>
                                        <p:cTn id="66" dur="2000" fill="hold"/>
                                        <p:tgtEl>
                                          <p:spTgt spid="42"/>
                                        </p:tgtEl>
                                        <p:attrNameLst>
                                          <p:attrName>r</p:attrName>
                                        </p:attrNameLst>
                                      </p:cBhvr>
                                    </p:animRot>
                                  </p:childTnLst>
                                </p:cTn>
                              </p:par>
                            </p:childTnLst>
                          </p:cTn>
                        </p:par>
                        <p:par>
                          <p:cTn id="67" fill="hold">
                            <p:stCondLst>
                              <p:cond delay="4500"/>
                            </p:stCondLst>
                            <p:childTnLst>
                              <p:par>
                                <p:cTn id="68" presetID="1" presetClass="exit" presetSubtype="0" fill="hold" nodeType="afterEffect">
                                  <p:stCondLst>
                                    <p:cond delay="0"/>
                                  </p:stCondLst>
                                  <p:childTnLst>
                                    <p:set>
                                      <p:cBhvr>
                                        <p:cTn id="69" dur="1" fill="hold">
                                          <p:stCondLst>
                                            <p:cond delay="0"/>
                                          </p:stCondLst>
                                        </p:cTn>
                                        <p:tgtEl>
                                          <p:spTgt spid="19"/>
                                        </p:tgtEl>
                                        <p:attrNameLst>
                                          <p:attrName>style.visibility</p:attrName>
                                        </p:attrNameLst>
                                      </p:cBhvr>
                                      <p:to>
                                        <p:strVal val="hidden"/>
                                      </p:to>
                                    </p:set>
                                  </p:childTnLst>
                                </p:cTn>
                              </p:par>
                              <p:par>
                                <p:cTn id="70" presetID="10" presetClass="entr" presetSubtype="0" fill="hold" grpId="0" nodeType="with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nodeType="clickEffect">
                                  <p:stCondLst>
                                    <p:cond delay="0"/>
                                  </p:stCondLst>
                                  <p:childTnLst>
                                    <p:set>
                                      <p:cBhvr>
                                        <p:cTn id="76" dur="1" fill="hold">
                                          <p:stCondLst>
                                            <p:cond delay="0"/>
                                          </p:stCondLst>
                                        </p:cTn>
                                        <p:tgtEl>
                                          <p:spTgt spid="33"/>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9"/>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70" grpId="0" animBg="1"/>
      <p:bldP spid="73" grpId="0" animBg="1"/>
      <p:bldP spid="75" grpId="0" animBg="1"/>
      <p:bldP spid="76" grpId="0" animBg="1"/>
      <p:bldP spid="77" grpId="0" animBg="1"/>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66933C-CAE6-419F-9F6B-3A95AEF1912B}"/>
              </a:ext>
            </a:extLst>
          </p:cNvPr>
          <p:cNvSpPr>
            <a:spLocks noGrp="1"/>
          </p:cNvSpPr>
          <p:nvPr>
            <p:ph type="ctrTitle"/>
          </p:nvPr>
        </p:nvSpPr>
        <p:spPr/>
        <p:txBody>
          <a:bodyPr/>
          <a:lstStyle/>
          <a:p>
            <a:r>
              <a:rPr lang="en-US" dirty="0"/>
              <a:t>Rebecca</a:t>
            </a:r>
          </a:p>
        </p:txBody>
      </p:sp>
      <p:sp>
        <p:nvSpPr>
          <p:cNvPr id="5" name="Subtitle 4">
            <a:extLst>
              <a:ext uri="{FF2B5EF4-FFF2-40B4-BE49-F238E27FC236}">
                <a16:creationId xmlns:a16="http://schemas.microsoft.com/office/drawing/2014/main" id="{A8636E61-195B-4D92-B1FB-8AEC7729BDA3}"/>
              </a:ext>
            </a:extLst>
          </p:cNvPr>
          <p:cNvSpPr>
            <a:spLocks noGrp="1"/>
          </p:cNvSpPr>
          <p:nvPr>
            <p:ph type="subTitle" idx="1"/>
          </p:nvPr>
        </p:nvSpPr>
        <p:spPr/>
        <p:txBody>
          <a:bodyPr/>
          <a:lstStyle/>
          <a:p>
            <a:r>
              <a:rPr lang="en-US" dirty="0"/>
              <a:t>Customer Support Specialist</a:t>
            </a:r>
          </a:p>
        </p:txBody>
      </p:sp>
      <p:pic>
        <p:nvPicPr>
          <p:cNvPr id="6" name="Picture 5">
            <a:extLst>
              <a:ext uri="{FF2B5EF4-FFF2-40B4-BE49-F238E27FC236}">
                <a16:creationId xmlns:a16="http://schemas.microsoft.com/office/drawing/2014/main" id="{A8EE1C57-CA4D-4479-9504-D22B3AF5ABFA}"/>
              </a:ext>
            </a:extLst>
          </p:cNvPr>
          <p:cNvPicPr>
            <a:picLocks noChangeAspect="1"/>
          </p:cNvPicPr>
          <p:nvPr/>
        </p:nvPicPr>
        <p:blipFill>
          <a:blip r:embed="rId3"/>
          <a:stretch>
            <a:fillRect/>
          </a:stretch>
        </p:blipFill>
        <p:spPr>
          <a:xfrm>
            <a:off x="383410" y="509346"/>
            <a:ext cx="1093224" cy="1039996"/>
          </a:xfrm>
          <a:prstGeom prst="rect">
            <a:avLst/>
          </a:prstGeom>
        </p:spPr>
      </p:pic>
      <p:pic>
        <p:nvPicPr>
          <p:cNvPr id="8" name="Picture 7">
            <a:extLst>
              <a:ext uri="{FF2B5EF4-FFF2-40B4-BE49-F238E27FC236}">
                <a16:creationId xmlns:a16="http://schemas.microsoft.com/office/drawing/2014/main" id="{698BA78B-817E-446C-B1E5-3AE147121740}"/>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641" t="-1191" r="27245" b="-1031"/>
          <a:stretch/>
        </p:blipFill>
        <p:spPr>
          <a:xfrm>
            <a:off x="1060999" y="1766617"/>
            <a:ext cx="3420656" cy="332476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98098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F6F461-497B-48C7-953A-B7172F92A9AC}"/>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98518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2C220DD-FEB4-6D48-B924-1F831A415678}"/>
              </a:ext>
            </a:extLst>
          </p:cNvPr>
          <p:cNvSpPr>
            <a:spLocks noGrp="1"/>
          </p:cNvSpPr>
          <p:nvPr>
            <p:ph type="title"/>
          </p:nvPr>
        </p:nvSpPr>
        <p:spPr/>
        <p:txBody>
          <a:bodyPr vert="horz" lIns="91440" tIns="91440" rIns="91440" bIns="91440" rtlCol="0" anchor="t" anchorCtr="0">
            <a:normAutofit fontScale="90000"/>
          </a:bodyPr>
          <a:lstStyle/>
          <a:p>
            <a:pPr>
              <a:spcAft>
                <a:spcPts val="1600"/>
              </a:spcAft>
            </a:pPr>
            <a:r>
              <a:rPr lang="en-US" sz="4000" dirty="0"/>
              <a:t>Achieve Data Health with Talend</a:t>
            </a:r>
            <a:br>
              <a:rPr lang="en-US" sz="4000" dirty="0"/>
            </a:br>
            <a:endParaRPr lang="en-US" sz="3000" dirty="0">
              <a:solidFill>
                <a:schemeClr val="accent5">
                  <a:lumMod val="50000"/>
                </a:schemeClr>
              </a:solidFill>
              <a:ea typeface="+mn-ea"/>
              <a:cs typeface="Calibri Light" panose="020F0302020204030204" pitchFamily="34" charset="0"/>
            </a:endParaRPr>
          </a:p>
        </p:txBody>
      </p:sp>
      <p:sp>
        <p:nvSpPr>
          <p:cNvPr id="7" name="Text Placeholder 6">
            <a:extLst>
              <a:ext uri="{FF2B5EF4-FFF2-40B4-BE49-F238E27FC236}">
                <a16:creationId xmlns:a16="http://schemas.microsoft.com/office/drawing/2014/main" id="{6BBA080A-556D-B646-8F59-5C53C7F02AB0}"/>
              </a:ext>
            </a:extLst>
          </p:cNvPr>
          <p:cNvSpPr>
            <a:spLocks noGrp="1"/>
          </p:cNvSpPr>
          <p:nvPr>
            <p:ph type="body" sz="quarter" idx="11"/>
          </p:nvPr>
        </p:nvSpPr>
        <p:spPr>
          <a:xfrm>
            <a:off x="1145501" y="928941"/>
            <a:ext cx="11176000" cy="461665"/>
          </a:xfrm>
        </p:spPr>
        <p:txBody>
          <a:bodyPr/>
          <a:lstStyle/>
          <a:p>
            <a:r>
              <a:rPr lang="en-US" b="0" dirty="0">
                <a:solidFill>
                  <a:srgbClr val="FFFFFF">
                    <a:lumMod val="50000"/>
                  </a:srgbClr>
                </a:solidFill>
                <a:ea typeface="+mn-ea"/>
                <a:cs typeface="Calibri Light" panose="020F0302020204030204" pitchFamily="34" charset="0"/>
              </a:rPr>
              <a:t>Healthy data, healthy relationships</a:t>
            </a:r>
            <a:endParaRPr lang="en-US" b="0" dirty="0">
              <a:solidFill>
                <a:srgbClr val="323E48"/>
              </a:solidFill>
              <a:ea typeface="+mn-ea"/>
              <a:cs typeface="+mn-cs"/>
            </a:endParaRPr>
          </a:p>
        </p:txBody>
      </p:sp>
      <p:grpSp>
        <p:nvGrpSpPr>
          <p:cNvPr id="13" name="Group 12">
            <a:extLst>
              <a:ext uri="{FF2B5EF4-FFF2-40B4-BE49-F238E27FC236}">
                <a16:creationId xmlns:a16="http://schemas.microsoft.com/office/drawing/2014/main" id="{6EA8C8C0-3275-4574-8D20-4604903DB4C5}"/>
              </a:ext>
            </a:extLst>
          </p:cNvPr>
          <p:cNvGrpSpPr/>
          <p:nvPr/>
        </p:nvGrpSpPr>
        <p:grpSpPr>
          <a:xfrm>
            <a:off x="296657" y="1505064"/>
            <a:ext cx="11387343" cy="851264"/>
            <a:chOff x="296657" y="1505064"/>
            <a:chExt cx="11387343" cy="851264"/>
          </a:xfrm>
        </p:grpSpPr>
        <p:sp>
          <p:nvSpPr>
            <p:cNvPr id="48" name="Arrow: Right 47">
              <a:extLst>
                <a:ext uri="{FF2B5EF4-FFF2-40B4-BE49-F238E27FC236}">
                  <a16:creationId xmlns:a16="http://schemas.microsoft.com/office/drawing/2014/main" id="{41685774-04B5-49E4-8A38-F91A4F35A988}"/>
                </a:ext>
              </a:extLst>
            </p:cNvPr>
            <p:cNvSpPr/>
            <p:nvPr/>
          </p:nvSpPr>
          <p:spPr>
            <a:xfrm>
              <a:off x="296657" y="1505064"/>
              <a:ext cx="11387343" cy="851264"/>
            </a:xfrm>
            <a:prstGeom prst="rightArrow">
              <a:avLst/>
            </a:prstGeom>
            <a:gradFill flip="none" rotWithShape="1">
              <a:gsLst>
                <a:gs pos="0">
                  <a:srgbClr val="6E48CE"/>
                </a:gs>
                <a:gs pos="100000">
                  <a:srgbClr val="FF5F6D"/>
                </a:gs>
              </a:gsLst>
              <a:path path="circle">
                <a:fillToRect l="100000" t="100000"/>
              </a:path>
              <a:tileRect r="-100000" b="-100000"/>
            </a:gradFill>
            <a:ln w="12700" cap="flat" cmpd="sng" algn="ctr">
              <a:noFill/>
              <a:prstDash val="solid"/>
              <a:miter lim="800000"/>
            </a:ln>
            <a:effectLst/>
          </p:spPr>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8F3EF"/>
                </a:solidFill>
                <a:effectLst/>
                <a:uLnTx/>
                <a:uFillTx/>
                <a:latin typeface="Calibri"/>
                <a:ea typeface="+mn-ea"/>
                <a:cs typeface="+mn-cs"/>
              </a:endParaRPr>
            </a:p>
          </p:txBody>
        </p:sp>
        <p:sp>
          <p:nvSpPr>
            <p:cNvPr id="4" name="Content Placeholder 3">
              <a:extLst>
                <a:ext uri="{FF2B5EF4-FFF2-40B4-BE49-F238E27FC236}">
                  <a16:creationId xmlns:a16="http://schemas.microsoft.com/office/drawing/2014/main" id="{9774AFF5-A6A3-49AA-B355-8D66F3D3F98C}"/>
                </a:ext>
              </a:extLst>
            </p:cNvPr>
            <p:cNvSpPr txBox="1">
              <a:spLocks/>
            </p:cNvSpPr>
            <p:nvPr/>
          </p:nvSpPr>
          <p:spPr>
            <a:xfrm>
              <a:off x="459072" y="1769657"/>
              <a:ext cx="3236715" cy="286224"/>
            </a:xfrm>
            <a:prstGeom prst="rect">
              <a:avLst/>
            </a:prstGeom>
          </p:spPr>
          <p:txBody>
            <a:bodyPr vert="horz" lIns="243840" tIns="0" rIns="243840" bIns="0" rtlCol="0" anchor="t">
              <a:noAutofit/>
            </a:bodyPr>
            <a:lstStyle>
              <a:lvl1pPr marL="0" marR="0" indent="0" algn="l" defTabSz="685800" rtl="0" eaLnBrk="1" fontAlgn="auto" latinLnBrk="0" hangingPunct="1">
                <a:lnSpc>
                  <a:spcPct val="90000"/>
                </a:lnSpc>
                <a:spcBef>
                  <a:spcPts val="750"/>
                </a:spcBef>
                <a:spcAft>
                  <a:spcPts val="0"/>
                </a:spcAft>
                <a:buClr>
                  <a:schemeClr val="tx2"/>
                </a:buClr>
                <a:buSzPct val="80000"/>
                <a:buFont typeface="+mj-lt"/>
                <a:buNone/>
                <a:tabLst/>
                <a:defRPr sz="2100" b="0" i="0" kern="1200">
                  <a:solidFill>
                    <a:schemeClr val="tx1"/>
                  </a:solidFill>
                  <a:latin typeface="Source Sans Pro" panose="020B0503030403020204" pitchFamily="34" charset="0"/>
                  <a:ea typeface="+mn-ea"/>
                  <a:cs typeface="+mn-cs"/>
                </a:defRPr>
              </a:lvl1pPr>
              <a:lvl2pPr marL="177800"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mn-ea"/>
                  <a:cs typeface="+mn-cs"/>
                </a:defRPr>
              </a:lvl2pPr>
              <a:lvl3pPr marL="346075"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500" b="0" i="0" kern="1200">
                  <a:solidFill>
                    <a:schemeClr val="tx1"/>
                  </a:solidFill>
                  <a:latin typeface="Source Sans Pro" panose="020B0503030403020204" pitchFamily="34" charset="0"/>
                  <a:ea typeface="+mn-ea"/>
                  <a:cs typeface="+mn-cs"/>
                </a:defRPr>
              </a:lvl3pPr>
              <a:lvl4pPr marL="515938" marR="0" indent="-169863"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4pPr>
              <a:lvl5pPr marL="693738" marR="0" indent="-177800"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1000"/>
                </a:spcBef>
                <a:spcAft>
                  <a:spcPts val="0"/>
                </a:spcAft>
                <a:buClr>
                  <a:srgbClr val="FF6D70"/>
                </a:buClr>
                <a:buSzPct val="80000"/>
                <a:buFont typeface="+mj-lt"/>
                <a:buNone/>
                <a:tabLst/>
                <a:defRPr/>
              </a:pPr>
              <a:r>
                <a:rPr kumimoji="0" lang="en-US" sz="2133" b="1" i="0" u="none" strike="noStrike" kern="1200" cap="none" spc="0" normalizeH="0" baseline="0" noProof="0" dirty="0">
                  <a:ln>
                    <a:noFill/>
                  </a:ln>
                  <a:solidFill>
                    <a:schemeClr val="bg1"/>
                  </a:solidFill>
                  <a:effectLst/>
                  <a:uLnTx/>
                  <a:uFillTx/>
                  <a:latin typeface="Source Sans Pro"/>
                  <a:ea typeface="+mn-ea"/>
                  <a:cs typeface="Calibri" panose="020F0502020204030204" pitchFamily="34" charset="0"/>
                </a:rPr>
                <a:t>Preventive Measures </a:t>
              </a:r>
              <a:endParaRPr kumimoji="0" lang="en-US" sz="1600" b="0" i="0" u="none" strike="noStrike" kern="1200" cap="none" spc="0" normalizeH="0" baseline="0" noProof="0" dirty="0">
                <a:ln>
                  <a:noFill/>
                </a:ln>
                <a:solidFill>
                  <a:schemeClr val="bg1"/>
                </a:solidFill>
                <a:effectLst/>
                <a:uLnTx/>
                <a:uFillTx/>
                <a:latin typeface="Source Sans Pro"/>
                <a:ea typeface="+mn-ea"/>
              </a:endParaRPr>
            </a:p>
          </p:txBody>
        </p:sp>
        <p:sp>
          <p:nvSpPr>
            <p:cNvPr id="5" name="Content Placeholder 3">
              <a:extLst>
                <a:ext uri="{FF2B5EF4-FFF2-40B4-BE49-F238E27FC236}">
                  <a16:creationId xmlns:a16="http://schemas.microsoft.com/office/drawing/2014/main" id="{FFB702E4-57EC-43ED-AD0C-008C8EBC529C}"/>
                </a:ext>
              </a:extLst>
            </p:cNvPr>
            <p:cNvSpPr txBox="1">
              <a:spLocks/>
            </p:cNvSpPr>
            <p:nvPr/>
          </p:nvSpPr>
          <p:spPr>
            <a:xfrm>
              <a:off x="4147561" y="1769657"/>
              <a:ext cx="3236714" cy="286224"/>
            </a:xfrm>
            <a:prstGeom prst="rect">
              <a:avLst/>
            </a:prstGeom>
          </p:spPr>
          <p:txBody>
            <a:bodyPr vert="horz" lIns="243840" tIns="0" rIns="243840" bIns="0" rtlCol="0" anchor="t">
              <a:noAutofit/>
            </a:bodyPr>
            <a:lstStyle>
              <a:lvl1pPr marL="0" marR="0" indent="0" algn="l" defTabSz="685800" rtl="0" eaLnBrk="1" fontAlgn="auto" latinLnBrk="0" hangingPunct="1">
                <a:lnSpc>
                  <a:spcPct val="90000"/>
                </a:lnSpc>
                <a:spcBef>
                  <a:spcPts val="750"/>
                </a:spcBef>
                <a:spcAft>
                  <a:spcPts val="0"/>
                </a:spcAft>
                <a:buClr>
                  <a:schemeClr val="tx2"/>
                </a:buClr>
                <a:buSzPct val="80000"/>
                <a:buFont typeface="+mj-lt"/>
                <a:buNone/>
                <a:tabLst/>
                <a:defRPr sz="2100" b="0" i="0" kern="1200">
                  <a:solidFill>
                    <a:schemeClr val="tx1"/>
                  </a:solidFill>
                  <a:latin typeface="Source Sans Pro" panose="020B0503030403020204" pitchFamily="34" charset="0"/>
                  <a:ea typeface="+mn-ea"/>
                  <a:cs typeface="+mn-cs"/>
                </a:defRPr>
              </a:lvl1pPr>
              <a:lvl2pPr marL="177800"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mn-ea"/>
                  <a:cs typeface="+mn-cs"/>
                </a:defRPr>
              </a:lvl2pPr>
              <a:lvl3pPr marL="346075"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500" b="0" i="0" kern="1200">
                  <a:solidFill>
                    <a:schemeClr val="tx1"/>
                  </a:solidFill>
                  <a:latin typeface="Source Sans Pro" panose="020B0503030403020204" pitchFamily="34" charset="0"/>
                  <a:ea typeface="+mn-ea"/>
                  <a:cs typeface="+mn-cs"/>
                </a:defRPr>
              </a:lvl3pPr>
              <a:lvl4pPr marL="515938" marR="0" indent="-169863"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4pPr>
              <a:lvl5pPr marL="693738" marR="0" indent="-177800"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1000"/>
                </a:spcBef>
                <a:spcAft>
                  <a:spcPts val="0"/>
                </a:spcAft>
                <a:buClr>
                  <a:srgbClr val="FF6D70"/>
                </a:buClr>
                <a:buSzPct val="80000"/>
                <a:buFont typeface="+mj-lt"/>
                <a:buNone/>
                <a:tabLst/>
                <a:defRPr/>
              </a:pPr>
              <a:r>
                <a:rPr kumimoji="0" lang="en-US" sz="2133" b="1" i="0" u="none" strike="noStrike" kern="1200" cap="none" spc="0" normalizeH="0" baseline="0" noProof="0" dirty="0">
                  <a:ln>
                    <a:noFill/>
                  </a:ln>
                  <a:solidFill>
                    <a:schemeClr val="bg1"/>
                  </a:solidFill>
                  <a:effectLst/>
                  <a:uLnTx/>
                  <a:uFillTx/>
                  <a:latin typeface="Source Sans Pro"/>
                  <a:ea typeface="+mn-ea"/>
                  <a:cs typeface="Calibri" panose="020F0502020204030204" pitchFamily="34" charset="0"/>
                </a:rPr>
                <a:t>Effective Treatments </a:t>
              </a:r>
              <a:br>
                <a:rPr kumimoji="0" lang="en-US" sz="1600" b="1" i="0" u="none" strike="noStrike" kern="1200" cap="none" spc="0" normalizeH="0" baseline="0" noProof="0" dirty="0">
                  <a:ln>
                    <a:noFill/>
                  </a:ln>
                  <a:solidFill>
                    <a:schemeClr val="bg1"/>
                  </a:solidFill>
                  <a:effectLst/>
                  <a:uLnTx/>
                  <a:uFillTx/>
                  <a:latin typeface="Source Sans Pro"/>
                  <a:ea typeface="+mn-ea"/>
                  <a:cs typeface="Calibri" panose="020F0502020204030204" pitchFamily="34" charset="0"/>
                </a:rPr>
              </a:br>
              <a:endParaRPr kumimoji="0" lang="en-US" sz="1600" b="1" i="0" u="none" strike="noStrike" kern="1200" cap="none" spc="0" normalizeH="0" baseline="0" noProof="0" dirty="0">
                <a:ln>
                  <a:noFill/>
                </a:ln>
                <a:solidFill>
                  <a:schemeClr val="bg1"/>
                </a:solidFill>
                <a:effectLst/>
                <a:uLnTx/>
                <a:uFillTx/>
                <a:latin typeface="Source Sans Pro"/>
                <a:ea typeface="+mn-ea"/>
                <a:cs typeface="Calibri" panose="020F0502020204030204" pitchFamily="34" charset="0"/>
              </a:endParaRPr>
            </a:p>
          </p:txBody>
        </p:sp>
        <p:sp>
          <p:nvSpPr>
            <p:cNvPr id="6" name="Content Placeholder 3">
              <a:extLst>
                <a:ext uri="{FF2B5EF4-FFF2-40B4-BE49-F238E27FC236}">
                  <a16:creationId xmlns:a16="http://schemas.microsoft.com/office/drawing/2014/main" id="{8736C1AD-35BC-4BD5-9804-D1E8AD2FD4C2}"/>
                </a:ext>
              </a:extLst>
            </p:cNvPr>
            <p:cNvSpPr txBox="1">
              <a:spLocks/>
            </p:cNvSpPr>
            <p:nvPr/>
          </p:nvSpPr>
          <p:spPr>
            <a:xfrm>
              <a:off x="7677239" y="1785335"/>
              <a:ext cx="3236715" cy="286224"/>
            </a:xfrm>
            <a:prstGeom prst="rect">
              <a:avLst/>
            </a:prstGeom>
          </p:spPr>
          <p:txBody>
            <a:bodyPr vert="horz" lIns="243840" tIns="0" rIns="243840" bIns="0" rtlCol="0" anchor="t">
              <a:noAutofit/>
            </a:bodyPr>
            <a:lstStyle>
              <a:lvl1pPr marL="0" marR="0" indent="0" algn="l" defTabSz="685800" rtl="0" eaLnBrk="1" fontAlgn="auto" latinLnBrk="0" hangingPunct="1">
                <a:lnSpc>
                  <a:spcPct val="90000"/>
                </a:lnSpc>
                <a:spcBef>
                  <a:spcPts val="750"/>
                </a:spcBef>
                <a:spcAft>
                  <a:spcPts val="0"/>
                </a:spcAft>
                <a:buClr>
                  <a:schemeClr val="tx2"/>
                </a:buClr>
                <a:buSzPct val="80000"/>
                <a:buFont typeface="+mj-lt"/>
                <a:buNone/>
                <a:tabLst/>
                <a:defRPr sz="2100" b="0" i="0" kern="1200">
                  <a:solidFill>
                    <a:schemeClr val="tx1"/>
                  </a:solidFill>
                  <a:latin typeface="Source Sans Pro" panose="020B0503030403020204" pitchFamily="34" charset="0"/>
                  <a:ea typeface="+mn-ea"/>
                  <a:cs typeface="+mn-cs"/>
                </a:defRPr>
              </a:lvl1pPr>
              <a:lvl2pPr marL="177800"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mn-ea"/>
                  <a:cs typeface="+mn-cs"/>
                </a:defRPr>
              </a:lvl2pPr>
              <a:lvl3pPr marL="346075" marR="0" indent="-168275"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500" b="0" i="0" kern="1200">
                  <a:solidFill>
                    <a:schemeClr val="tx1"/>
                  </a:solidFill>
                  <a:latin typeface="Source Sans Pro" panose="020B0503030403020204" pitchFamily="34" charset="0"/>
                  <a:ea typeface="+mn-ea"/>
                  <a:cs typeface="+mn-cs"/>
                </a:defRPr>
              </a:lvl3pPr>
              <a:lvl4pPr marL="515938" marR="0" indent="-169863"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4pPr>
              <a:lvl5pPr marL="693738" marR="0" indent="-177800" algn="l" defTabSz="685800" rtl="0" eaLnBrk="1" fontAlgn="auto" latinLnBrk="0" hangingPunct="1">
                <a:lnSpc>
                  <a:spcPct val="90000"/>
                </a:lnSpc>
                <a:spcBef>
                  <a:spcPts val="375"/>
                </a:spcBef>
                <a:spcAft>
                  <a:spcPts val="0"/>
                </a:spcAft>
                <a:buClr>
                  <a:schemeClr val="tx2"/>
                </a:buClr>
                <a:buSzPct val="80000"/>
                <a:buFont typeface="Arial" panose="020B0604020202020204" pitchFamily="34" charset="0"/>
                <a:buChar char="•"/>
                <a:tabLst/>
                <a:defRPr sz="1350" b="0" i="0" kern="1200">
                  <a:solidFill>
                    <a:schemeClr val="tx1"/>
                  </a:solidFill>
                  <a:latin typeface="Source Sans Pro" panose="020B05030304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ts val="751"/>
                </a:spcBef>
                <a:spcAft>
                  <a:spcPts val="0"/>
                </a:spcAft>
                <a:buClr>
                  <a:srgbClr val="FF6D70"/>
                </a:buClr>
                <a:buSzPct val="80000"/>
                <a:buFont typeface="+mj-lt"/>
                <a:buNone/>
                <a:tabLst/>
                <a:defRPr/>
              </a:pPr>
              <a:r>
                <a:rPr kumimoji="0" lang="en-US" sz="2133" b="1" i="0" u="none" strike="noStrike" kern="1200" cap="none" spc="0" normalizeH="0" baseline="0" noProof="0" dirty="0">
                  <a:ln>
                    <a:noFill/>
                  </a:ln>
                  <a:solidFill>
                    <a:schemeClr val="bg1"/>
                  </a:solidFill>
                  <a:effectLst/>
                  <a:uLnTx/>
                  <a:uFillTx/>
                  <a:latin typeface="Source Sans Pro"/>
                  <a:ea typeface="+mn-ea"/>
                  <a:cs typeface="Calibri" panose="020F0502020204030204" pitchFamily="34" charset="0"/>
                </a:rPr>
                <a:t>Supportive Culture</a:t>
              </a:r>
              <a:br>
                <a:rPr kumimoji="0" lang="en-US" sz="1600" b="1" i="0" u="none" strike="noStrike" kern="1200" cap="none" spc="0" normalizeH="0" baseline="0" noProof="0" dirty="0">
                  <a:ln>
                    <a:noFill/>
                  </a:ln>
                  <a:solidFill>
                    <a:schemeClr val="bg1"/>
                  </a:solidFill>
                  <a:effectLst/>
                  <a:uLnTx/>
                  <a:uFillTx/>
                  <a:latin typeface="Source Sans Pro"/>
                  <a:ea typeface="+mn-ea"/>
                  <a:cs typeface="Calibri" panose="020F0502020204030204" pitchFamily="34" charset="0"/>
                </a:rPr>
              </a:br>
              <a:endParaRPr kumimoji="0" lang="en-US" sz="1600" b="1" i="0" u="none" strike="noStrike" kern="1200" cap="none" spc="0" normalizeH="0" baseline="0" noProof="0" dirty="0">
                <a:ln>
                  <a:noFill/>
                </a:ln>
                <a:solidFill>
                  <a:schemeClr val="bg1"/>
                </a:solidFill>
                <a:effectLst/>
                <a:uLnTx/>
                <a:uFillTx/>
                <a:latin typeface="Source Sans Pro"/>
                <a:ea typeface="+mn-ea"/>
                <a:cs typeface="Calibri" panose="020F0502020204030204" pitchFamily="34" charset="0"/>
              </a:endParaRPr>
            </a:p>
          </p:txBody>
        </p:sp>
      </p:grpSp>
      <p:grpSp>
        <p:nvGrpSpPr>
          <p:cNvPr id="23" name="4 Xs">
            <a:extLst>
              <a:ext uri="{FF2B5EF4-FFF2-40B4-BE49-F238E27FC236}">
                <a16:creationId xmlns:a16="http://schemas.microsoft.com/office/drawing/2014/main" id="{7B881DEC-ADD8-CA44-86DB-55FA3AB6662C}"/>
              </a:ext>
            </a:extLst>
          </p:cNvPr>
          <p:cNvGrpSpPr/>
          <p:nvPr/>
        </p:nvGrpSpPr>
        <p:grpSpPr>
          <a:xfrm>
            <a:off x="10187145" y="5496168"/>
            <a:ext cx="1738833" cy="955859"/>
            <a:chOff x="4350238" y="4169018"/>
            <a:chExt cx="1298751" cy="713976"/>
          </a:xfrm>
          <a:solidFill>
            <a:schemeClr val="accent5"/>
          </a:solidFill>
        </p:grpSpPr>
        <p:sp>
          <p:nvSpPr>
            <p:cNvPr id="24" name="Graphic 37">
              <a:extLst>
                <a:ext uri="{FF2B5EF4-FFF2-40B4-BE49-F238E27FC236}">
                  <a16:creationId xmlns:a16="http://schemas.microsoft.com/office/drawing/2014/main" id="{F553A3A5-2720-0A46-B70A-A1E4030DEF4D}"/>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sp>
          <p:nvSpPr>
            <p:cNvPr id="25" name="Graphic 37">
              <a:extLst>
                <a:ext uri="{FF2B5EF4-FFF2-40B4-BE49-F238E27FC236}">
                  <a16:creationId xmlns:a16="http://schemas.microsoft.com/office/drawing/2014/main" id="{98219278-1395-1F42-80C9-089F7A9DA6F6}"/>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sp>
          <p:nvSpPr>
            <p:cNvPr id="26" name="Graphic 37">
              <a:extLst>
                <a:ext uri="{FF2B5EF4-FFF2-40B4-BE49-F238E27FC236}">
                  <a16:creationId xmlns:a16="http://schemas.microsoft.com/office/drawing/2014/main" id="{39DA1BCF-9304-5341-91AF-5790B0CDA9F0}"/>
                </a:ext>
              </a:extLst>
            </p:cNvPr>
            <p:cNvSpPr/>
            <p:nvPr/>
          </p:nvSpPr>
          <p:spPr>
            <a:xfrm>
              <a:off x="4350238" y="4346171"/>
              <a:ext cx="94925" cy="94352"/>
            </a:xfrm>
            <a:custGeom>
              <a:avLst/>
              <a:gdLst>
                <a:gd name="connsiteX0" fmla="*/ 83973 w 94925"/>
                <a:gd name="connsiteY0" fmla="*/ 36262 h 94352"/>
                <a:gd name="connsiteX1" fmla="*/ 58416 w 94925"/>
                <a:gd name="connsiteY1" fmla="*/ 36262 h 94352"/>
                <a:gd name="connsiteX2" fmla="*/ 58416 w 94925"/>
                <a:gd name="connsiteY2" fmla="*/ 10859 h 94352"/>
                <a:gd name="connsiteX3" fmla="*/ 47435 w 94925"/>
                <a:gd name="connsiteY3" fmla="*/ 0 h 94352"/>
                <a:gd name="connsiteX4" fmla="*/ 36510 w 94925"/>
                <a:gd name="connsiteY4" fmla="*/ 10859 h 94352"/>
                <a:gd name="connsiteX5" fmla="*/ 36510 w 94925"/>
                <a:gd name="connsiteY5" fmla="*/ 36262 h 94352"/>
                <a:gd name="connsiteX6" fmla="*/ 10953 w 94925"/>
                <a:gd name="connsiteY6" fmla="*/ 36262 h 94352"/>
                <a:gd name="connsiteX7" fmla="*/ 0 w 94925"/>
                <a:gd name="connsiteY7" fmla="*/ 47149 h 94352"/>
                <a:gd name="connsiteX8" fmla="*/ 10953 w 94925"/>
                <a:gd name="connsiteY8" fmla="*/ 58036 h 94352"/>
                <a:gd name="connsiteX9" fmla="*/ 36510 w 94925"/>
                <a:gd name="connsiteY9" fmla="*/ 58036 h 94352"/>
                <a:gd name="connsiteX10" fmla="*/ 36510 w 94925"/>
                <a:gd name="connsiteY10" fmla="*/ 83439 h 94352"/>
                <a:gd name="connsiteX11" fmla="*/ 47435 w 94925"/>
                <a:gd name="connsiteY11" fmla="*/ 94353 h 94352"/>
                <a:gd name="connsiteX12" fmla="*/ 58416 w 94925"/>
                <a:gd name="connsiteY12" fmla="*/ 83493 h 94352"/>
                <a:gd name="connsiteX13" fmla="*/ 58416 w 94925"/>
                <a:gd name="connsiteY13" fmla="*/ 83439 h 94352"/>
                <a:gd name="connsiteX14" fmla="*/ 58416 w 94925"/>
                <a:gd name="connsiteY14" fmla="*/ 58036 h 94352"/>
                <a:gd name="connsiteX15" fmla="*/ 83973 w 94925"/>
                <a:gd name="connsiteY15" fmla="*/ 58036 h 94352"/>
                <a:gd name="connsiteX16" fmla="*/ 94925 w 94925"/>
                <a:gd name="connsiteY16" fmla="*/ 47149 h 94352"/>
                <a:gd name="connsiteX17" fmla="*/ 83973 w 94925"/>
                <a:gd name="connsiteY17" fmla="*/ 36262 h 9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925" h="94352">
                  <a:moveTo>
                    <a:pt x="83973" y="36262"/>
                  </a:moveTo>
                  <a:lnTo>
                    <a:pt x="58416" y="36262"/>
                  </a:lnTo>
                  <a:lnTo>
                    <a:pt x="58416" y="10859"/>
                  </a:lnTo>
                  <a:cubicBezTo>
                    <a:pt x="58401" y="4847"/>
                    <a:pt x="53485" y="-15"/>
                    <a:pt x="47435" y="0"/>
                  </a:cubicBezTo>
                  <a:cubicBezTo>
                    <a:pt x="41408" y="15"/>
                    <a:pt x="36525" y="4868"/>
                    <a:pt x="36510" y="10859"/>
                  </a:cubicBezTo>
                  <a:lnTo>
                    <a:pt x="36510" y="36262"/>
                  </a:lnTo>
                  <a:lnTo>
                    <a:pt x="10953" y="36262"/>
                  </a:lnTo>
                  <a:cubicBezTo>
                    <a:pt x="4904" y="36262"/>
                    <a:pt x="0" y="41137"/>
                    <a:pt x="0" y="47149"/>
                  </a:cubicBezTo>
                  <a:cubicBezTo>
                    <a:pt x="0" y="53162"/>
                    <a:pt x="4904" y="58036"/>
                    <a:pt x="10953" y="58036"/>
                  </a:cubicBezTo>
                  <a:lnTo>
                    <a:pt x="36510" y="58036"/>
                  </a:lnTo>
                  <a:lnTo>
                    <a:pt x="36510" y="83439"/>
                  </a:lnTo>
                  <a:cubicBezTo>
                    <a:pt x="36495" y="89452"/>
                    <a:pt x="41386" y="94338"/>
                    <a:pt x="47435" y="94353"/>
                  </a:cubicBezTo>
                  <a:cubicBezTo>
                    <a:pt x="53485" y="94368"/>
                    <a:pt x="58401" y="89506"/>
                    <a:pt x="58416" y="83493"/>
                  </a:cubicBezTo>
                  <a:cubicBezTo>
                    <a:pt x="58416" y="83475"/>
                    <a:pt x="58416" y="83457"/>
                    <a:pt x="58416" y="83439"/>
                  </a:cubicBezTo>
                  <a:lnTo>
                    <a:pt x="58416" y="58036"/>
                  </a:lnTo>
                  <a:lnTo>
                    <a:pt x="83973" y="58036"/>
                  </a:lnTo>
                  <a:cubicBezTo>
                    <a:pt x="90022" y="58036"/>
                    <a:pt x="94925" y="53162"/>
                    <a:pt x="94925" y="47149"/>
                  </a:cubicBezTo>
                  <a:cubicBezTo>
                    <a:pt x="94925" y="41137"/>
                    <a:pt x="90022" y="36262"/>
                    <a:pt x="83973" y="36262"/>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sp>
          <p:nvSpPr>
            <p:cNvPr id="27" name="Graphic 37">
              <a:extLst>
                <a:ext uri="{FF2B5EF4-FFF2-40B4-BE49-F238E27FC236}">
                  <a16:creationId xmlns:a16="http://schemas.microsoft.com/office/drawing/2014/main" id="{D853CF80-0840-1A42-B638-6C9C2F6518AC}"/>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grpSp>
      <p:grpSp>
        <p:nvGrpSpPr>
          <p:cNvPr id="29" name="4 Xs">
            <a:extLst>
              <a:ext uri="{FF2B5EF4-FFF2-40B4-BE49-F238E27FC236}">
                <a16:creationId xmlns:a16="http://schemas.microsoft.com/office/drawing/2014/main" id="{4F314BAD-2790-E44C-8497-AC49F34F2700}"/>
              </a:ext>
            </a:extLst>
          </p:cNvPr>
          <p:cNvGrpSpPr/>
          <p:nvPr/>
        </p:nvGrpSpPr>
        <p:grpSpPr>
          <a:xfrm flipH="1">
            <a:off x="296657" y="882677"/>
            <a:ext cx="776348" cy="502003"/>
            <a:chOff x="4544881" y="4169018"/>
            <a:chExt cx="1104108" cy="713976"/>
          </a:xfrm>
          <a:gradFill>
            <a:gsLst>
              <a:gs pos="0">
                <a:schemeClr val="accent3">
                  <a:alpha val="42000"/>
                </a:schemeClr>
              </a:gs>
              <a:gs pos="100000">
                <a:schemeClr val="accent1">
                  <a:lumMod val="60000"/>
                  <a:lumOff val="40000"/>
                  <a:alpha val="38893"/>
                </a:schemeClr>
              </a:gs>
            </a:gsLst>
            <a:lin ang="5400000" scaled="1"/>
          </a:gradFill>
        </p:grpSpPr>
        <p:sp>
          <p:nvSpPr>
            <p:cNvPr id="33" name="Graphic 37">
              <a:extLst>
                <a:ext uri="{FF2B5EF4-FFF2-40B4-BE49-F238E27FC236}">
                  <a16:creationId xmlns:a16="http://schemas.microsoft.com/office/drawing/2014/main" id="{75FE0D5C-53F5-2345-8CDF-3ECD700C2D39}"/>
                </a:ext>
              </a:extLst>
            </p:cNvPr>
            <p:cNvSpPr/>
            <p:nvPr/>
          </p:nvSpPr>
          <p:spPr>
            <a:xfrm>
              <a:off x="5037664" y="4275359"/>
              <a:ext cx="611325" cy="607635"/>
            </a:xfrm>
            <a:custGeom>
              <a:avLst/>
              <a:gdLst>
                <a:gd name="connsiteX0" fmla="*/ 540843 w 611325"/>
                <a:gd name="connsiteY0" fmla="*/ 233689 h 607635"/>
                <a:gd name="connsiteX1" fmla="*/ 376214 w 611325"/>
                <a:gd name="connsiteY1" fmla="*/ 233689 h 607635"/>
                <a:gd name="connsiteX2" fmla="*/ 376214 w 611325"/>
                <a:gd name="connsiteY2" fmla="*/ 70058 h 607635"/>
                <a:gd name="connsiteX3" fmla="*/ 305594 w 611325"/>
                <a:gd name="connsiteY3" fmla="*/ 0 h 607635"/>
                <a:gd name="connsiteX4" fmla="*/ 235112 w 611325"/>
                <a:gd name="connsiteY4" fmla="*/ 70058 h 607635"/>
                <a:gd name="connsiteX5" fmla="*/ 235112 w 611325"/>
                <a:gd name="connsiteY5" fmla="*/ 233689 h 607635"/>
                <a:gd name="connsiteX6" fmla="*/ 70482 w 611325"/>
                <a:gd name="connsiteY6" fmla="*/ 233689 h 607635"/>
                <a:gd name="connsiteX7" fmla="*/ 0 w 611325"/>
                <a:gd name="connsiteY7" fmla="*/ 303886 h 607635"/>
                <a:gd name="connsiteX8" fmla="*/ 70482 w 611325"/>
                <a:gd name="connsiteY8" fmla="*/ 373946 h 607635"/>
                <a:gd name="connsiteX9" fmla="*/ 235112 w 611325"/>
                <a:gd name="connsiteY9" fmla="*/ 373946 h 607635"/>
                <a:gd name="connsiteX10" fmla="*/ 235112 w 611325"/>
                <a:gd name="connsiteY10" fmla="*/ 537580 h 607635"/>
                <a:gd name="connsiteX11" fmla="*/ 305731 w 611325"/>
                <a:gd name="connsiteY11" fmla="*/ 607635 h 607635"/>
                <a:gd name="connsiteX12" fmla="*/ 376214 w 611325"/>
                <a:gd name="connsiteY12" fmla="*/ 537580 h 607635"/>
                <a:gd name="connsiteX13" fmla="*/ 376214 w 611325"/>
                <a:gd name="connsiteY13" fmla="*/ 373946 h 607635"/>
                <a:gd name="connsiteX14" fmla="*/ 540843 w 611325"/>
                <a:gd name="connsiteY14" fmla="*/ 373946 h 607635"/>
                <a:gd name="connsiteX15" fmla="*/ 611326 w 611325"/>
                <a:gd name="connsiteY15" fmla="*/ 303748 h 607635"/>
                <a:gd name="connsiteX16" fmla="*/ 540843 w 611325"/>
                <a:gd name="connsiteY16" fmla="*/ 233688 h 6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25" h="607635">
                  <a:moveTo>
                    <a:pt x="540843" y="233689"/>
                  </a:moveTo>
                  <a:lnTo>
                    <a:pt x="376214" y="233689"/>
                  </a:lnTo>
                  <a:lnTo>
                    <a:pt x="376214" y="70058"/>
                  </a:lnTo>
                  <a:cubicBezTo>
                    <a:pt x="376179" y="31328"/>
                    <a:pt x="344562" y="-38"/>
                    <a:pt x="305594" y="0"/>
                  </a:cubicBezTo>
                  <a:cubicBezTo>
                    <a:pt x="266682" y="38"/>
                    <a:pt x="235146" y="31382"/>
                    <a:pt x="235112" y="70058"/>
                  </a:cubicBezTo>
                  <a:lnTo>
                    <a:pt x="235112" y="233689"/>
                  </a:lnTo>
                  <a:lnTo>
                    <a:pt x="70482" y="233689"/>
                  </a:lnTo>
                  <a:cubicBezTo>
                    <a:pt x="31515" y="233727"/>
                    <a:pt x="-41" y="265156"/>
                    <a:pt x="0" y="303886"/>
                  </a:cubicBezTo>
                  <a:cubicBezTo>
                    <a:pt x="34" y="342564"/>
                    <a:pt x="31570" y="373908"/>
                    <a:pt x="70482" y="373946"/>
                  </a:cubicBezTo>
                  <a:lnTo>
                    <a:pt x="235112" y="373946"/>
                  </a:lnTo>
                  <a:lnTo>
                    <a:pt x="235112" y="537580"/>
                  </a:lnTo>
                  <a:cubicBezTo>
                    <a:pt x="235146" y="576311"/>
                    <a:pt x="266771" y="607676"/>
                    <a:pt x="305731" y="607635"/>
                  </a:cubicBezTo>
                  <a:cubicBezTo>
                    <a:pt x="344644" y="607601"/>
                    <a:pt x="376179" y="576257"/>
                    <a:pt x="376214" y="537580"/>
                  </a:cubicBezTo>
                  <a:lnTo>
                    <a:pt x="376214" y="373946"/>
                  </a:lnTo>
                  <a:lnTo>
                    <a:pt x="540843" y="373946"/>
                  </a:lnTo>
                  <a:cubicBezTo>
                    <a:pt x="579811" y="373908"/>
                    <a:pt x="611367" y="342479"/>
                    <a:pt x="611326" y="303748"/>
                  </a:cubicBezTo>
                  <a:cubicBezTo>
                    <a:pt x="611291" y="265071"/>
                    <a:pt x="579756" y="233726"/>
                    <a:pt x="540843" y="233688"/>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sp>
          <p:nvSpPr>
            <p:cNvPr id="35" name="Graphic 37">
              <a:extLst>
                <a:ext uri="{FF2B5EF4-FFF2-40B4-BE49-F238E27FC236}">
                  <a16:creationId xmlns:a16="http://schemas.microsoft.com/office/drawing/2014/main" id="{0FF81E60-85BB-E643-87A1-40B81EBB607F}"/>
                </a:ext>
              </a:extLst>
            </p:cNvPr>
            <p:cNvSpPr/>
            <p:nvPr/>
          </p:nvSpPr>
          <p:spPr>
            <a:xfrm>
              <a:off x="4733094" y="4169018"/>
              <a:ext cx="320009" cy="317976"/>
            </a:xfrm>
            <a:custGeom>
              <a:avLst/>
              <a:gdLst>
                <a:gd name="connsiteX0" fmla="*/ 283044 w 320009"/>
                <a:gd name="connsiteY0" fmla="*/ 122299 h 317976"/>
                <a:gd name="connsiteX1" fmla="*/ 196915 w 320009"/>
                <a:gd name="connsiteY1" fmla="*/ 122299 h 317976"/>
                <a:gd name="connsiteX2" fmla="*/ 196915 w 320009"/>
                <a:gd name="connsiteY2" fmla="*/ 36689 h 317976"/>
                <a:gd name="connsiteX3" fmla="*/ 160004 w 320009"/>
                <a:gd name="connsiteY3" fmla="*/ 0 h 317976"/>
                <a:gd name="connsiteX4" fmla="*/ 123091 w 320009"/>
                <a:gd name="connsiteY4" fmla="*/ 36689 h 317976"/>
                <a:gd name="connsiteX5" fmla="*/ 123091 w 320009"/>
                <a:gd name="connsiteY5" fmla="*/ 122299 h 317976"/>
                <a:gd name="connsiteX6" fmla="*/ 36962 w 320009"/>
                <a:gd name="connsiteY6" fmla="*/ 122299 h 317976"/>
                <a:gd name="connsiteX7" fmla="*/ 0 w 320009"/>
                <a:gd name="connsiteY7" fmla="*/ 158938 h 317976"/>
                <a:gd name="connsiteX8" fmla="*/ 36862 w 320009"/>
                <a:gd name="connsiteY8" fmla="*/ 195678 h 317976"/>
                <a:gd name="connsiteX9" fmla="*/ 36962 w 320009"/>
                <a:gd name="connsiteY9" fmla="*/ 195678 h 317976"/>
                <a:gd name="connsiteX10" fmla="*/ 123091 w 320009"/>
                <a:gd name="connsiteY10" fmla="*/ 195678 h 317976"/>
                <a:gd name="connsiteX11" fmla="*/ 123091 w 320009"/>
                <a:gd name="connsiteY11" fmla="*/ 281287 h 317976"/>
                <a:gd name="connsiteX12" fmla="*/ 160003 w 320009"/>
                <a:gd name="connsiteY12" fmla="*/ 317976 h 317976"/>
                <a:gd name="connsiteX13" fmla="*/ 196915 w 320009"/>
                <a:gd name="connsiteY13" fmla="*/ 281287 h 317976"/>
                <a:gd name="connsiteX14" fmla="*/ 196915 w 320009"/>
                <a:gd name="connsiteY14" fmla="*/ 195678 h 317976"/>
                <a:gd name="connsiteX15" fmla="*/ 283044 w 320009"/>
                <a:gd name="connsiteY15" fmla="*/ 195678 h 317976"/>
                <a:gd name="connsiteX16" fmla="*/ 320009 w 320009"/>
                <a:gd name="connsiteY16" fmla="*/ 159038 h 317976"/>
                <a:gd name="connsiteX17" fmla="*/ 283145 w 320009"/>
                <a:gd name="connsiteY17" fmla="*/ 122299 h 317976"/>
                <a:gd name="connsiteX18" fmla="*/ 283044 w 320009"/>
                <a:gd name="connsiteY18" fmla="*/ 122299 h 31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0009" h="317976">
                  <a:moveTo>
                    <a:pt x="283044" y="122299"/>
                  </a:moveTo>
                  <a:lnTo>
                    <a:pt x="196915" y="122299"/>
                  </a:lnTo>
                  <a:lnTo>
                    <a:pt x="196915" y="36689"/>
                  </a:lnTo>
                  <a:cubicBezTo>
                    <a:pt x="196915" y="16426"/>
                    <a:pt x="180389" y="0"/>
                    <a:pt x="160004" y="0"/>
                  </a:cubicBezTo>
                  <a:cubicBezTo>
                    <a:pt x="139617" y="0"/>
                    <a:pt x="123091" y="16426"/>
                    <a:pt x="123091" y="36689"/>
                  </a:cubicBezTo>
                  <a:lnTo>
                    <a:pt x="123091" y="122299"/>
                  </a:lnTo>
                  <a:lnTo>
                    <a:pt x="36962" y="122299"/>
                  </a:lnTo>
                  <a:cubicBezTo>
                    <a:pt x="16577" y="122271"/>
                    <a:pt x="27" y="138675"/>
                    <a:pt x="0" y="158938"/>
                  </a:cubicBezTo>
                  <a:cubicBezTo>
                    <a:pt x="-28" y="179202"/>
                    <a:pt x="16476" y="195650"/>
                    <a:pt x="36862" y="195678"/>
                  </a:cubicBezTo>
                  <a:cubicBezTo>
                    <a:pt x="36895" y="195678"/>
                    <a:pt x="36929" y="195678"/>
                    <a:pt x="36962" y="195678"/>
                  </a:cubicBezTo>
                  <a:lnTo>
                    <a:pt x="123091" y="195678"/>
                  </a:lnTo>
                  <a:lnTo>
                    <a:pt x="123091" y="281287"/>
                  </a:lnTo>
                  <a:cubicBezTo>
                    <a:pt x="123091" y="301550"/>
                    <a:pt x="139617" y="317976"/>
                    <a:pt x="160003" y="317976"/>
                  </a:cubicBezTo>
                  <a:cubicBezTo>
                    <a:pt x="180389" y="317976"/>
                    <a:pt x="196915" y="301550"/>
                    <a:pt x="196915" y="281287"/>
                  </a:cubicBezTo>
                  <a:lnTo>
                    <a:pt x="196915" y="195678"/>
                  </a:lnTo>
                  <a:lnTo>
                    <a:pt x="283044" y="195678"/>
                  </a:lnTo>
                  <a:cubicBezTo>
                    <a:pt x="303427" y="195706"/>
                    <a:pt x="319982" y="179302"/>
                    <a:pt x="320009" y="159038"/>
                  </a:cubicBezTo>
                  <a:cubicBezTo>
                    <a:pt x="320036" y="138775"/>
                    <a:pt x="303530" y="122326"/>
                    <a:pt x="283145" y="122299"/>
                  </a:cubicBezTo>
                  <a:cubicBezTo>
                    <a:pt x="283111" y="122299"/>
                    <a:pt x="283078" y="122299"/>
                    <a:pt x="283044" y="122299"/>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sp>
          <p:nvSpPr>
            <p:cNvPr id="38" name="Graphic 37">
              <a:extLst>
                <a:ext uri="{FF2B5EF4-FFF2-40B4-BE49-F238E27FC236}">
                  <a16:creationId xmlns:a16="http://schemas.microsoft.com/office/drawing/2014/main" id="{072C4D20-0B3C-D245-B151-FAD99526CBC0}"/>
                </a:ext>
              </a:extLst>
            </p:cNvPr>
            <p:cNvSpPr/>
            <p:nvPr/>
          </p:nvSpPr>
          <p:spPr>
            <a:xfrm>
              <a:off x="4544881" y="4505984"/>
              <a:ext cx="174576" cy="173595"/>
            </a:xfrm>
            <a:custGeom>
              <a:avLst/>
              <a:gdLst>
                <a:gd name="connsiteX0" fmla="*/ 154433 w 174576"/>
                <a:gd name="connsiteY0" fmla="*/ 66776 h 173595"/>
                <a:gd name="connsiteX1" fmla="*/ 107432 w 174576"/>
                <a:gd name="connsiteY1" fmla="*/ 66776 h 173595"/>
                <a:gd name="connsiteX2" fmla="*/ 107432 w 174576"/>
                <a:gd name="connsiteY2" fmla="*/ 20059 h 173595"/>
                <a:gd name="connsiteX3" fmla="*/ 87325 w 174576"/>
                <a:gd name="connsiteY3" fmla="*/ 0 h 173595"/>
                <a:gd name="connsiteX4" fmla="*/ 67145 w 174576"/>
                <a:gd name="connsiteY4" fmla="*/ 19985 h 173595"/>
                <a:gd name="connsiteX5" fmla="*/ 67145 w 174576"/>
                <a:gd name="connsiteY5" fmla="*/ 20059 h 173595"/>
                <a:gd name="connsiteX6" fmla="*/ 67145 w 174576"/>
                <a:gd name="connsiteY6" fmla="*/ 66776 h 173595"/>
                <a:gd name="connsiteX7" fmla="*/ 20143 w 174576"/>
                <a:gd name="connsiteY7" fmla="*/ 66776 h 173595"/>
                <a:gd name="connsiteX8" fmla="*/ 0 w 174576"/>
                <a:gd name="connsiteY8" fmla="*/ 86798 h 173595"/>
                <a:gd name="connsiteX9" fmla="*/ 0 w 174576"/>
                <a:gd name="connsiteY9" fmla="*/ 86798 h 173595"/>
                <a:gd name="connsiteX10" fmla="*/ 20143 w 174576"/>
                <a:gd name="connsiteY10" fmla="*/ 106820 h 173595"/>
                <a:gd name="connsiteX11" fmla="*/ 67145 w 174576"/>
                <a:gd name="connsiteY11" fmla="*/ 106820 h 173595"/>
                <a:gd name="connsiteX12" fmla="*/ 67145 w 174576"/>
                <a:gd name="connsiteY12" fmla="*/ 153537 h 173595"/>
                <a:gd name="connsiteX13" fmla="*/ 87251 w 174576"/>
                <a:gd name="connsiteY13" fmla="*/ 173596 h 173595"/>
                <a:gd name="connsiteX14" fmla="*/ 107432 w 174576"/>
                <a:gd name="connsiteY14" fmla="*/ 153611 h 173595"/>
                <a:gd name="connsiteX15" fmla="*/ 107432 w 174576"/>
                <a:gd name="connsiteY15" fmla="*/ 153537 h 173595"/>
                <a:gd name="connsiteX16" fmla="*/ 107432 w 174576"/>
                <a:gd name="connsiteY16" fmla="*/ 106820 h 173595"/>
                <a:gd name="connsiteX17" fmla="*/ 154433 w 174576"/>
                <a:gd name="connsiteY17" fmla="*/ 106820 h 173595"/>
                <a:gd name="connsiteX18" fmla="*/ 174576 w 174576"/>
                <a:gd name="connsiteY18" fmla="*/ 86798 h 173595"/>
                <a:gd name="connsiteX19" fmla="*/ 174576 w 174576"/>
                <a:gd name="connsiteY19" fmla="*/ 86798 h 173595"/>
                <a:gd name="connsiteX20" fmla="*/ 154433 w 174576"/>
                <a:gd name="connsiteY20" fmla="*/ 66776 h 1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4576" h="173595">
                  <a:moveTo>
                    <a:pt x="154433" y="66776"/>
                  </a:moveTo>
                  <a:lnTo>
                    <a:pt x="107432" y="66776"/>
                  </a:lnTo>
                  <a:lnTo>
                    <a:pt x="107432" y="20059"/>
                  </a:lnTo>
                  <a:cubicBezTo>
                    <a:pt x="107452" y="9001"/>
                    <a:pt x="98450" y="20"/>
                    <a:pt x="87325" y="0"/>
                  </a:cubicBezTo>
                  <a:cubicBezTo>
                    <a:pt x="76200" y="-20"/>
                    <a:pt x="67165" y="8927"/>
                    <a:pt x="67145" y="19985"/>
                  </a:cubicBezTo>
                  <a:cubicBezTo>
                    <a:pt x="67145" y="20010"/>
                    <a:pt x="67145" y="20034"/>
                    <a:pt x="67145" y="20059"/>
                  </a:cubicBezTo>
                  <a:lnTo>
                    <a:pt x="67145" y="66776"/>
                  </a:lnTo>
                  <a:lnTo>
                    <a:pt x="20143" y="66776"/>
                  </a:lnTo>
                  <a:cubicBezTo>
                    <a:pt x="9032" y="66808"/>
                    <a:pt x="33" y="75754"/>
                    <a:pt x="0" y="86798"/>
                  </a:cubicBezTo>
                  <a:lnTo>
                    <a:pt x="0" y="86798"/>
                  </a:lnTo>
                  <a:cubicBezTo>
                    <a:pt x="32" y="97842"/>
                    <a:pt x="9032" y="106787"/>
                    <a:pt x="20143" y="106820"/>
                  </a:cubicBezTo>
                  <a:lnTo>
                    <a:pt x="67145" y="106820"/>
                  </a:lnTo>
                  <a:lnTo>
                    <a:pt x="67145" y="153537"/>
                  </a:lnTo>
                  <a:cubicBezTo>
                    <a:pt x="67124" y="164595"/>
                    <a:pt x="76126" y="173576"/>
                    <a:pt x="87251" y="173596"/>
                  </a:cubicBezTo>
                  <a:cubicBezTo>
                    <a:pt x="98375" y="173616"/>
                    <a:pt x="107411" y="164669"/>
                    <a:pt x="107432" y="153611"/>
                  </a:cubicBezTo>
                  <a:cubicBezTo>
                    <a:pt x="107432" y="153586"/>
                    <a:pt x="107432" y="153562"/>
                    <a:pt x="107432" y="153537"/>
                  </a:cubicBezTo>
                  <a:lnTo>
                    <a:pt x="107432" y="106820"/>
                  </a:lnTo>
                  <a:lnTo>
                    <a:pt x="154433" y="106820"/>
                  </a:lnTo>
                  <a:cubicBezTo>
                    <a:pt x="165544" y="106788"/>
                    <a:pt x="174544" y="97842"/>
                    <a:pt x="174576" y="86798"/>
                  </a:cubicBezTo>
                  <a:lnTo>
                    <a:pt x="174576" y="86798"/>
                  </a:lnTo>
                  <a:cubicBezTo>
                    <a:pt x="174544" y="75753"/>
                    <a:pt x="165544" y="66808"/>
                    <a:pt x="154433" y="66776"/>
                  </a:cubicBezTo>
                  <a:close/>
                </a:path>
              </a:pathLst>
            </a:custGeom>
            <a:grpFill/>
            <a:ln w="6818" cap="flat">
              <a:noFill/>
              <a:prstDash val="solid"/>
              <a:miter/>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49" b="0" i="0" u="none" strike="noStrike" kern="1200" cap="none" spc="0" normalizeH="0" baseline="0" noProof="0">
                <a:ln>
                  <a:noFill/>
                </a:ln>
                <a:solidFill>
                  <a:srgbClr val="323E48"/>
                </a:solidFill>
                <a:effectLst/>
                <a:uLnTx/>
                <a:uFillTx/>
                <a:latin typeface="Source Sans Pro"/>
                <a:ea typeface="+mn-ea"/>
                <a:cs typeface="+mn-cs"/>
              </a:endParaRPr>
            </a:p>
          </p:txBody>
        </p:sp>
      </p:grpSp>
      <p:sp>
        <p:nvSpPr>
          <p:cNvPr id="14" name="Rectangle: Rounded Corners 13">
            <a:extLst>
              <a:ext uri="{FF2B5EF4-FFF2-40B4-BE49-F238E27FC236}">
                <a16:creationId xmlns:a16="http://schemas.microsoft.com/office/drawing/2014/main" id="{FB901CE0-9DD6-40F7-945E-EB3BC79E39D7}"/>
              </a:ext>
            </a:extLst>
          </p:cNvPr>
          <p:cNvSpPr/>
          <p:nvPr/>
        </p:nvSpPr>
        <p:spPr>
          <a:xfrm>
            <a:off x="296658" y="2356328"/>
            <a:ext cx="2548242" cy="4095699"/>
          </a:xfrm>
          <a:prstGeom prst="roundRect">
            <a:avLst>
              <a:gd name="adj" fmla="val 6078"/>
            </a:avLst>
          </a:prstGeom>
          <a:solidFill>
            <a:schemeClr val="accent5"/>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Rounded Corners 57">
            <a:extLst>
              <a:ext uri="{FF2B5EF4-FFF2-40B4-BE49-F238E27FC236}">
                <a16:creationId xmlns:a16="http://schemas.microsoft.com/office/drawing/2014/main" id="{1FFCE14A-D865-4B97-AB6B-17F81141E36B}"/>
              </a:ext>
            </a:extLst>
          </p:cNvPr>
          <p:cNvSpPr/>
          <p:nvPr/>
        </p:nvSpPr>
        <p:spPr>
          <a:xfrm>
            <a:off x="3071212" y="2351829"/>
            <a:ext cx="2548242" cy="4095699"/>
          </a:xfrm>
          <a:prstGeom prst="roundRect">
            <a:avLst>
              <a:gd name="adj" fmla="val 6078"/>
            </a:avLst>
          </a:prstGeom>
          <a:solidFill>
            <a:schemeClr val="accent5"/>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Rounded Corners 58">
            <a:extLst>
              <a:ext uri="{FF2B5EF4-FFF2-40B4-BE49-F238E27FC236}">
                <a16:creationId xmlns:a16="http://schemas.microsoft.com/office/drawing/2014/main" id="{8A3B0D04-95E3-4F08-BEBB-74DBD511A714}"/>
              </a:ext>
            </a:extLst>
          </p:cNvPr>
          <p:cNvSpPr/>
          <p:nvPr/>
        </p:nvSpPr>
        <p:spPr>
          <a:xfrm>
            <a:off x="5845766" y="2351829"/>
            <a:ext cx="2548242" cy="4095699"/>
          </a:xfrm>
          <a:prstGeom prst="roundRect">
            <a:avLst>
              <a:gd name="adj" fmla="val 6078"/>
            </a:avLst>
          </a:prstGeom>
          <a:solidFill>
            <a:schemeClr val="accent5"/>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805119F3-D850-486C-9C93-F3877725A1E6}"/>
              </a:ext>
            </a:extLst>
          </p:cNvPr>
          <p:cNvSpPr/>
          <p:nvPr/>
        </p:nvSpPr>
        <p:spPr>
          <a:xfrm>
            <a:off x="8620320" y="2351829"/>
            <a:ext cx="2548242" cy="4095699"/>
          </a:xfrm>
          <a:prstGeom prst="roundRect">
            <a:avLst>
              <a:gd name="adj" fmla="val 6078"/>
            </a:avLst>
          </a:prstGeom>
          <a:solidFill>
            <a:schemeClr val="accent5"/>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50092A6B-BDC0-44B8-9F1C-D5B3D43BC4F3}"/>
              </a:ext>
            </a:extLst>
          </p:cNvPr>
          <p:cNvSpPr txBox="1"/>
          <p:nvPr/>
        </p:nvSpPr>
        <p:spPr>
          <a:xfrm>
            <a:off x="386597" y="4187710"/>
            <a:ext cx="2371552" cy="769441"/>
          </a:xfrm>
          <a:prstGeom prst="rect">
            <a:avLst/>
          </a:prstGeom>
          <a:noFill/>
        </p:spPr>
        <p:txBody>
          <a:bodyPr wrap="square" rtlCol="0">
            <a:spAutoFit/>
          </a:bodyPr>
          <a:lstStyle/>
          <a:p>
            <a:pPr algn="ctr"/>
            <a:r>
              <a:rPr lang="fr-FR" sz="2200" dirty="0"/>
              <a:t>Discovery &amp;</a:t>
            </a:r>
          </a:p>
          <a:p>
            <a:pPr algn="ctr"/>
            <a:r>
              <a:rPr lang="fr-FR" sz="2200" dirty="0"/>
              <a:t>Standardization</a:t>
            </a:r>
            <a:endParaRPr lang="en-US" sz="2200" dirty="0"/>
          </a:p>
        </p:txBody>
      </p:sp>
      <p:sp>
        <p:nvSpPr>
          <p:cNvPr id="62" name="TextBox 61">
            <a:extLst>
              <a:ext uri="{FF2B5EF4-FFF2-40B4-BE49-F238E27FC236}">
                <a16:creationId xmlns:a16="http://schemas.microsoft.com/office/drawing/2014/main" id="{EDA9C257-69FC-4425-A895-8A47C6F4F9ED}"/>
              </a:ext>
            </a:extLst>
          </p:cNvPr>
          <p:cNvSpPr txBox="1"/>
          <p:nvPr/>
        </p:nvSpPr>
        <p:spPr>
          <a:xfrm>
            <a:off x="830183" y="2956900"/>
            <a:ext cx="1484378" cy="1107996"/>
          </a:xfrm>
          <a:prstGeom prst="rect">
            <a:avLst/>
          </a:prstGeom>
          <a:noFill/>
        </p:spPr>
        <p:txBody>
          <a:bodyPr wrap="square" rtlCol="0">
            <a:spAutoFit/>
          </a:bodyPr>
          <a:lstStyle/>
          <a:p>
            <a:pPr algn="ctr"/>
            <a:r>
              <a:rPr lang="fr-FR" sz="6600" dirty="0"/>
              <a:t>1</a:t>
            </a:r>
            <a:endParaRPr lang="en-US" dirty="0"/>
          </a:p>
        </p:txBody>
      </p:sp>
      <p:sp>
        <p:nvSpPr>
          <p:cNvPr id="63" name="TextBox 62">
            <a:extLst>
              <a:ext uri="{FF2B5EF4-FFF2-40B4-BE49-F238E27FC236}">
                <a16:creationId xmlns:a16="http://schemas.microsoft.com/office/drawing/2014/main" id="{D098D132-B672-401A-B19D-D356BCE06242}"/>
              </a:ext>
            </a:extLst>
          </p:cNvPr>
          <p:cNvSpPr txBox="1"/>
          <p:nvPr/>
        </p:nvSpPr>
        <p:spPr>
          <a:xfrm>
            <a:off x="3159556" y="4187710"/>
            <a:ext cx="2373147" cy="769441"/>
          </a:xfrm>
          <a:prstGeom prst="rect">
            <a:avLst/>
          </a:prstGeom>
          <a:noFill/>
        </p:spPr>
        <p:txBody>
          <a:bodyPr wrap="square" rtlCol="0">
            <a:spAutoFit/>
          </a:bodyPr>
          <a:lstStyle/>
          <a:p>
            <a:pPr algn="ctr"/>
            <a:r>
              <a:rPr lang="en-US" sz="2200" dirty="0"/>
              <a:t>Operationalization &amp; Matching</a:t>
            </a:r>
          </a:p>
        </p:txBody>
      </p:sp>
      <p:sp>
        <p:nvSpPr>
          <p:cNvPr id="64" name="TextBox 63">
            <a:extLst>
              <a:ext uri="{FF2B5EF4-FFF2-40B4-BE49-F238E27FC236}">
                <a16:creationId xmlns:a16="http://schemas.microsoft.com/office/drawing/2014/main" id="{4A026954-A5E0-4596-939A-6D08104048D6}"/>
              </a:ext>
            </a:extLst>
          </p:cNvPr>
          <p:cNvSpPr txBox="1"/>
          <p:nvPr/>
        </p:nvSpPr>
        <p:spPr>
          <a:xfrm>
            <a:off x="3603143" y="2956900"/>
            <a:ext cx="1484378" cy="1107996"/>
          </a:xfrm>
          <a:prstGeom prst="rect">
            <a:avLst/>
          </a:prstGeom>
          <a:noFill/>
        </p:spPr>
        <p:txBody>
          <a:bodyPr wrap="square" rtlCol="0">
            <a:spAutoFit/>
          </a:bodyPr>
          <a:lstStyle/>
          <a:p>
            <a:pPr algn="ctr"/>
            <a:r>
              <a:rPr lang="fr-FR" sz="6600" dirty="0"/>
              <a:t>2</a:t>
            </a:r>
            <a:endParaRPr lang="en-US" dirty="0"/>
          </a:p>
        </p:txBody>
      </p:sp>
      <p:sp>
        <p:nvSpPr>
          <p:cNvPr id="65" name="TextBox 64">
            <a:extLst>
              <a:ext uri="{FF2B5EF4-FFF2-40B4-BE49-F238E27FC236}">
                <a16:creationId xmlns:a16="http://schemas.microsoft.com/office/drawing/2014/main" id="{CE895707-4398-4010-A46D-E190D5EA3C5C}"/>
              </a:ext>
            </a:extLst>
          </p:cNvPr>
          <p:cNvSpPr txBox="1"/>
          <p:nvPr/>
        </p:nvSpPr>
        <p:spPr>
          <a:xfrm>
            <a:off x="5942595" y="4126154"/>
            <a:ext cx="2371552" cy="769441"/>
          </a:xfrm>
          <a:prstGeom prst="rect">
            <a:avLst/>
          </a:prstGeom>
          <a:noFill/>
        </p:spPr>
        <p:txBody>
          <a:bodyPr wrap="square" rtlCol="0">
            <a:spAutoFit/>
          </a:bodyPr>
          <a:lstStyle/>
          <a:p>
            <a:pPr algn="ctr"/>
            <a:r>
              <a:rPr lang="en-US" sz="2200" dirty="0"/>
              <a:t>Merging and Stewardship</a:t>
            </a:r>
          </a:p>
        </p:txBody>
      </p:sp>
      <p:sp>
        <p:nvSpPr>
          <p:cNvPr id="66" name="TextBox 65">
            <a:extLst>
              <a:ext uri="{FF2B5EF4-FFF2-40B4-BE49-F238E27FC236}">
                <a16:creationId xmlns:a16="http://schemas.microsoft.com/office/drawing/2014/main" id="{471A35A3-434F-4FCC-8EC1-DC3128A543CA}"/>
              </a:ext>
            </a:extLst>
          </p:cNvPr>
          <p:cNvSpPr txBox="1"/>
          <p:nvPr/>
        </p:nvSpPr>
        <p:spPr>
          <a:xfrm>
            <a:off x="6386181" y="2895344"/>
            <a:ext cx="1484378" cy="1107996"/>
          </a:xfrm>
          <a:prstGeom prst="rect">
            <a:avLst/>
          </a:prstGeom>
          <a:noFill/>
        </p:spPr>
        <p:txBody>
          <a:bodyPr wrap="square" rtlCol="0">
            <a:spAutoFit/>
          </a:bodyPr>
          <a:lstStyle/>
          <a:p>
            <a:pPr algn="ctr"/>
            <a:r>
              <a:rPr lang="fr-FR" sz="6600" dirty="0"/>
              <a:t>3</a:t>
            </a:r>
            <a:endParaRPr lang="en-US" dirty="0"/>
          </a:p>
        </p:txBody>
      </p:sp>
      <p:sp>
        <p:nvSpPr>
          <p:cNvPr id="67" name="TextBox 66">
            <a:extLst>
              <a:ext uri="{FF2B5EF4-FFF2-40B4-BE49-F238E27FC236}">
                <a16:creationId xmlns:a16="http://schemas.microsoft.com/office/drawing/2014/main" id="{189DD994-20B6-42F3-A72B-997B0D9AF8AD}"/>
              </a:ext>
            </a:extLst>
          </p:cNvPr>
          <p:cNvSpPr txBox="1"/>
          <p:nvPr/>
        </p:nvSpPr>
        <p:spPr>
          <a:xfrm>
            <a:off x="8620320" y="4126154"/>
            <a:ext cx="2371552" cy="430887"/>
          </a:xfrm>
          <a:prstGeom prst="rect">
            <a:avLst/>
          </a:prstGeom>
          <a:noFill/>
        </p:spPr>
        <p:txBody>
          <a:bodyPr wrap="square" rtlCol="0">
            <a:spAutoFit/>
          </a:bodyPr>
          <a:lstStyle/>
          <a:p>
            <a:pPr algn="ctr"/>
            <a:r>
              <a:rPr lang="fr-FR" sz="2200" dirty="0"/>
              <a:t>Sharing</a:t>
            </a:r>
            <a:endParaRPr lang="en-US" sz="2200" dirty="0"/>
          </a:p>
        </p:txBody>
      </p:sp>
      <p:sp>
        <p:nvSpPr>
          <p:cNvPr id="68" name="TextBox 67">
            <a:extLst>
              <a:ext uri="{FF2B5EF4-FFF2-40B4-BE49-F238E27FC236}">
                <a16:creationId xmlns:a16="http://schemas.microsoft.com/office/drawing/2014/main" id="{E732E1A6-9959-49CE-8CEC-96C7F6E086E1}"/>
              </a:ext>
            </a:extLst>
          </p:cNvPr>
          <p:cNvSpPr txBox="1"/>
          <p:nvPr/>
        </p:nvSpPr>
        <p:spPr>
          <a:xfrm>
            <a:off x="9063906" y="2895344"/>
            <a:ext cx="1484378" cy="1107996"/>
          </a:xfrm>
          <a:prstGeom prst="rect">
            <a:avLst/>
          </a:prstGeom>
          <a:noFill/>
        </p:spPr>
        <p:txBody>
          <a:bodyPr wrap="square" rtlCol="0">
            <a:spAutoFit/>
          </a:bodyPr>
          <a:lstStyle/>
          <a:p>
            <a:pPr algn="ctr"/>
            <a:r>
              <a:rPr lang="fr-FR" sz="6600" dirty="0"/>
              <a:t>4</a:t>
            </a:r>
            <a:endParaRPr lang="en-US" dirty="0"/>
          </a:p>
        </p:txBody>
      </p:sp>
      <p:grpSp>
        <p:nvGrpSpPr>
          <p:cNvPr id="15" name="Group 14">
            <a:extLst>
              <a:ext uri="{FF2B5EF4-FFF2-40B4-BE49-F238E27FC236}">
                <a16:creationId xmlns:a16="http://schemas.microsoft.com/office/drawing/2014/main" id="{37EECB30-6E30-49E2-AA84-1F15F7B43C9A}"/>
              </a:ext>
            </a:extLst>
          </p:cNvPr>
          <p:cNvGrpSpPr/>
          <p:nvPr/>
        </p:nvGrpSpPr>
        <p:grpSpPr>
          <a:xfrm>
            <a:off x="1084727" y="5158245"/>
            <a:ext cx="975360" cy="975360"/>
            <a:chOff x="2102962" y="1937012"/>
            <a:chExt cx="975360" cy="975360"/>
          </a:xfrm>
        </p:grpSpPr>
        <p:sp>
          <p:nvSpPr>
            <p:cNvPr id="73" name="Oval 72">
              <a:extLst>
                <a:ext uri="{FF2B5EF4-FFF2-40B4-BE49-F238E27FC236}">
                  <a16:creationId xmlns:a16="http://schemas.microsoft.com/office/drawing/2014/main" id="{B8654F0E-77F3-4E4D-B972-45801E4AC88B}"/>
                </a:ext>
              </a:extLst>
            </p:cNvPr>
            <p:cNvSpPr/>
            <p:nvPr/>
          </p:nvSpPr>
          <p:spPr>
            <a:xfrm>
              <a:off x="2102962" y="1937012"/>
              <a:ext cx="975360" cy="975360"/>
            </a:xfrm>
            <a:prstGeom prst="ellipse">
              <a:avLst/>
            </a:prstGeom>
            <a:gradFill>
              <a:gsLst>
                <a:gs pos="0">
                  <a:srgbClr val="19426C"/>
                </a:gs>
                <a:gs pos="100000">
                  <a:srgbClr val="2C1F56"/>
                </a:gs>
              </a:gsLst>
              <a:lin ang="2700000" scaled="1"/>
            </a:gra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4" name="TextBox 64">
              <a:extLst>
                <a:ext uri="{FF2B5EF4-FFF2-40B4-BE49-F238E27FC236}">
                  <a16:creationId xmlns:a16="http://schemas.microsoft.com/office/drawing/2014/main" id="{1B06CEF9-B3DF-488C-A577-7EF596ECDBE6}"/>
                </a:ext>
              </a:extLst>
            </p:cNvPr>
            <p:cNvSpPr txBox="1"/>
            <p:nvPr/>
          </p:nvSpPr>
          <p:spPr>
            <a:xfrm>
              <a:off x="2187760" y="2490837"/>
              <a:ext cx="858605" cy="235899"/>
            </a:xfrm>
            <a:prstGeom prst="rect">
              <a:avLst/>
            </a:prstGeom>
            <a:noFill/>
          </p:spPr>
          <p:txBody>
            <a:bodyPr wrap="square" rtlCol="0">
              <a:spAutoFit/>
            </a:bodyPr>
            <a:lstStyle/>
            <a:p>
              <a:pPr algn="ctr" defTabSz="609555" fontAlgn="base">
                <a:spcBef>
                  <a:spcPct val="0"/>
                </a:spcBef>
                <a:spcAft>
                  <a:spcPct val="0"/>
                </a:spcAft>
                <a:defRPr/>
              </a:pPr>
              <a:r>
                <a:rPr lang="en-US" sz="933" b="1" dirty="0">
                  <a:solidFill>
                    <a:srgbClr val="FFFFFF"/>
                  </a:solidFill>
                  <a:ea typeface="ＭＳ Ｐゴシック" charset="0"/>
                </a:rPr>
                <a:t>Analysts </a:t>
              </a:r>
            </a:p>
          </p:txBody>
        </p:sp>
        <p:sp>
          <p:nvSpPr>
            <p:cNvPr id="75" name="Oval 74">
              <a:extLst>
                <a:ext uri="{FF2B5EF4-FFF2-40B4-BE49-F238E27FC236}">
                  <a16:creationId xmlns:a16="http://schemas.microsoft.com/office/drawing/2014/main" id="{A422D698-3D41-4215-B3FB-2BEAFC7CDC30}"/>
                </a:ext>
              </a:extLst>
            </p:cNvPr>
            <p:cNvSpPr/>
            <p:nvPr/>
          </p:nvSpPr>
          <p:spPr>
            <a:xfrm>
              <a:off x="2406901" y="2070336"/>
              <a:ext cx="389089" cy="3890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3"/>
            </a:p>
          </p:txBody>
        </p:sp>
        <p:pic>
          <p:nvPicPr>
            <p:cNvPr id="76" name="Picture 8" descr="Analyst Icons - Download Free Vector Icons | Noun Project">
              <a:extLst>
                <a:ext uri="{FF2B5EF4-FFF2-40B4-BE49-F238E27FC236}">
                  <a16:creationId xmlns:a16="http://schemas.microsoft.com/office/drawing/2014/main" id="{967512D2-F9A6-4AAA-B81E-74906561B4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3090" y="2104860"/>
              <a:ext cx="304800" cy="304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72225ED8-010D-4660-8064-700DA5180ECF}"/>
              </a:ext>
            </a:extLst>
          </p:cNvPr>
          <p:cNvGrpSpPr/>
          <p:nvPr/>
        </p:nvGrpSpPr>
        <p:grpSpPr>
          <a:xfrm>
            <a:off x="3793754" y="5150856"/>
            <a:ext cx="1103155" cy="975360"/>
            <a:chOff x="5544422" y="2941320"/>
            <a:chExt cx="1103155" cy="975360"/>
          </a:xfrm>
        </p:grpSpPr>
        <p:sp>
          <p:nvSpPr>
            <p:cNvPr id="77" name="Oval 76">
              <a:extLst>
                <a:ext uri="{FF2B5EF4-FFF2-40B4-BE49-F238E27FC236}">
                  <a16:creationId xmlns:a16="http://schemas.microsoft.com/office/drawing/2014/main" id="{F82C681F-3A2F-4BEF-943F-7A26181CB803}"/>
                </a:ext>
              </a:extLst>
            </p:cNvPr>
            <p:cNvSpPr/>
            <p:nvPr/>
          </p:nvSpPr>
          <p:spPr>
            <a:xfrm>
              <a:off x="5605091" y="2941320"/>
              <a:ext cx="975360" cy="975360"/>
            </a:xfrm>
            <a:prstGeom prst="ellipse">
              <a:avLst/>
            </a:prstGeom>
            <a:gradFill>
              <a:gsLst>
                <a:gs pos="0">
                  <a:srgbClr val="19426C"/>
                </a:gs>
                <a:gs pos="100000">
                  <a:srgbClr val="2C1F56"/>
                </a:gs>
              </a:gsLst>
              <a:lin ang="2700000" scaled="1"/>
            </a:gra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400"/>
            </a:p>
          </p:txBody>
        </p:sp>
        <p:sp>
          <p:nvSpPr>
            <p:cNvPr id="78" name="Oval 77">
              <a:extLst>
                <a:ext uri="{FF2B5EF4-FFF2-40B4-BE49-F238E27FC236}">
                  <a16:creationId xmlns:a16="http://schemas.microsoft.com/office/drawing/2014/main" id="{37ACB590-0DF4-42F4-94E1-8717B1A56885}"/>
                </a:ext>
              </a:extLst>
            </p:cNvPr>
            <p:cNvSpPr/>
            <p:nvPr/>
          </p:nvSpPr>
          <p:spPr>
            <a:xfrm>
              <a:off x="5898229" y="3043874"/>
              <a:ext cx="389089" cy="3890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33"/>
            </a:p>
          </p:txBody>
        </p:sp>
        <p:sp>
          <p:nvSpPr>
            <p:cNvPr id="79" name="TextBox 61">
              <a:extLst>
                <a:ext uri="{FF2B5EF4-FFF2-40B4-BE49-F238E27FC236}">
                  <a16:creationId xmlns:a16="http://schemas.microsoft.com/office/drawing/2014/main" id="{6BFC0056-8F77-4990-B337-E9142B01F2A8}"/>
                </a:ext>
              </a:extLst>
            </p:cNvPr>
            <p:cNvSpPr txBox="1"/>
            <p:nvPr/>
          </p:nvSpPr>
          <p:spPr>
            <a:xfrm>
              <a:off x="5544422" y="3426702"/>
              <a:ext cx="1103155" cy="379463"/>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9555" fontAlgn="base">
                <a:spcBef>
                  <a:spcPct val="0"/>
                </a:spcBef>
                <a:spcAft>
                  <a:spcPct val="0"/>
                </a:spcAft>
                <a:defRPr/>
              </a:pPr>
              <a:r>
                <a:rPr lang="en-US" sz="933" b="1" dirty="0">
                  <a:solidFill>
                    <a:srgbClr val="FFFFFF"/>
                  </a:solidFill>
                  <a:ea typeface="ＭＳ Ｐゴシック" charset="0"/>
                </a:rPr>
                <a:t>Data Architects/ Engineers</a:t>
              </a:r>
            </a:p>
          </p:txBody>
        </p:sp>
        <p:pic>
          <p:nvPicPr>
            <p:cNvPr id="80" name="Picture 79" descr="Female, laptop, laptop user, profile, user, women, worker icon">
              <a:extLst>
                <a:ext uri="{FF2B5EF4-FFF2-40B4-BE49-F238E27FC236}">
                  <a16:creationId xmlns:a16="http://schemas.microsoft.com/office/drawing/2014/main" id="{D21D9381-B124-47E4-8D43-6CD02C6BE7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36301" y="3086018"/>
              <a:ext cx="304800" cy="304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10CFBC0E-1378-4EB4-9B0F-4B7219B443C8}"/>
              </a:ext>
            </a:extLst>
          </p:cNvPr>
          <p:cNvGrpSpPr/>
          <p:nvPr/>
        </p:nvGrpSpPr>
        <p:grpSpPr>
          <a:xfrm>
            <a:off x="6630715" y="5158245"/>
            <a:ext cx="979691" cy="975360"/>
            <a:chOff x="7665250" y="1974118"/>
            <a:chExt cx="979691" cy="975360"/>
          </a:xfrm>
        </p:grpSpPr>
        <p:sp>
          <p:nvSpPr>
            <p:cNvPr id="81" name="Oval 80">
              <a:extLst>
                <a:ext uri="{FF2B5EF4-FFF2-40B4-BE49-F238E27FC236}">
                  <a16:creationId xmlns:a16="http://schemas.microsoft.com/office/drawing/2014/main" id="{563E9F19-6658-4A35-B6D4-43BF56E3A10D}"/>
                </a:ext>
              </a:extLst>
            </p:cNvPr>
            <p:cNvSpPr/>
            <p:nvPr/>
          </p:nvSpPr>
          <p:spPr>
            <a:xfrm>
              <a:off x="7665250" y="1974118"/>
              <a:ext cx="975360" cy="975360"/>
            </a:xfrm>
            <a:prstGeom prst="ellipse">
              <a:avLst/>
            </a:prstGeom>
            <a:gradFill>
              <a:gsLst>
                <a:gs pos="0">
                  <a:srgbClr val="19426C"/>
                </a:gs>
                <a:gs pos="100000">
                  <a:srgbClr val="2C1F56"/>
                </a:gs>
              </a:gsLst>
              <a:lin ang="2700000" scaled="1"/>
            </a:gra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2" name="Oval 81">
              <a:extLst>
                <a:ext uri="{FF2B5EF4-FFF2-40B4-BE49-F238E27FC236}">
                  <a16:creationId xmlns:a16="http://schemas.microsoft.com/office/drawing/2014/main" id="{9BB8E705-443C-49EF-B329-40AED0D85326}"/>
                </a:ext>
              </a:extLst>
            </p:cNvPr>
            <p:cNvSpPr/>
            <p:nvPr/>
          </p:nvSpPr>
          <p:spPr>
            <a:xfrm>
              <a:off x="7968699" y="2117161"/>
              <a:ext cx="389089" cy="3890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3"/>
            </a:p>
          </p:txBody>
        </p:sp>
        <p:sp>
          <p:nvSpPr>
            <p:cNvPr id="83" name="TextBox 61">
              <a:extLst>
                <a:ext uri="{FF2B5EF4-FFF2-40B4-BE49-F238E27FC236}">
                  <a16:creationId xmlns:a16="http://schemas.microsoft.com/office/drawing/2014/main" id="{29CA387B-8422-4282-9024-C53D38D51712}"/>
                </a:ext>
              </a:extLst>
            </p:cNvPr>
            <p:cNvSpPr txBox="1"/>
            <p:nvPr/>
          </p:nvSpPr>
          <p:spPr>
            <a:xfrm>
              <a:off x="7681069" y="2510227"/>
              <a:ext cx="963872" cy="235898"/>
            </a:xfrm>
            <a:prstGeom prst="rect">
              <a:avLst/>
            </a:prstGeom>
            <a:noFill/>
            <a:ln>
              <a:noFill/>
            </a:ln>
          </p:spPr>
          <p:txBody>
            <a:bodyPr wrap="square" rtlCol="0">
              <a:spAutoFit/>
            </a:bodyPr>
            <a:lstStyle/>
            <a:p>
              <a:pPr algn="ctr" defTabSz="609555" fontAlgn="base">
                <a:spcBef>
                  <a:spcPct val="0"/>
                </a:spcBef>
                <a:spcAft>
                  <a:spcPct val="0"/>
                </a:spcAft>
                <a:defRPr/>
              </a:pPr>
              <a:r>
                <a:rPr lang="en-US" sz="933" b="1" dirty="0">
                  <a:solidFill>
                    <a:srgbClr val="FFFFFF"/>
                  </a:solidFill>
                  <a:ea typeface="ＭＳ Ｐゴシック" charset="0"/>
                </a:rPr>
                <a:t>Data Steward</a:t>
              </a:r>
            </a:p>
          </p:txBody>
        </p:sp>
        <p:pic>
          <p:nvPicPr>
            <p:cNvPr id="84" name="Picture 10" descr="Feedback, testing, usability, user interface icon">
              <a:extLst>
                <a:ext uri="{FF2B5EF4-FFF2-40B4-BE49-F238E27FC236}">
                  <a16:creationId xmlns:a16="http://schemas.microsoft.com/office/drawing/2014/main" id="{0A6EC655-8FB9-4857-BD77-6610708CB16B}"/>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8034445" y="2170660"/>
              <a:ext cx="268224" cy="268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5BBD6AFF-7A7A-4EDC-99DA-A4BE6E79D302}"/>
              </a:ext>
            </a:extLst>
          </p:cNvPr>
          <p:cNvGrpSpPr/>
          <p:nvPr/>
        </p:nvGrpSpPr>
        <p:grpSpPr>
          <a:xfrm>
            <a:off x="9402665" y="5150856"/>
            <a:ext cx="975360" cy="975360"/>
            <a:chOff x="10435031" y="1974118"/>
            <a:chExt cx="975360" cy="975360"/>
          </a:xfrm>
        </p:grpSpPr>
        <p:sp>
          <p:nvSpPr>
            <p:cNvPr id="85" name="Oval 84">
              <a:extLst>
                <a:ext uri="{FF2B5EF4-FFF2-40B4-BE49-F238E27FC236}">
                  <a16:creationId xmlns:a16="http://schemas.microsoft.com/office/drawing/2014/main" id="{B02A7665-ECAA-428F-BAE3-F32A808D3B2B}"/>
                </a:ext>
              </a:extLst>
            </p:cNvPr>
            <p:cNvSpPr/>
            <p:nvPr/>
          </p:nvSpPr>
          <p:spPr>
            <a:xfrm>
              <a:off x="10435031" y="1974118"/>
              <a:ext cx="975360" cy="975360"/>
            </a:xfrm>
            <a:prstGeom prst="ellipse">
              <a:avLst/>
            </a:prstGeom>
            <a:gradFill>
              <a:gsLst>
                <a:gs pos="0">
                  <a:srgbClr val="19426C"/>
                </a:gs>
                <a:gs pos="100000">
                  <a:srgbClr val="2C1F56"/>
                </a:gs>
              </a:gsLst>
              <a:lin ang="2700000" scaled="1"/>
            </a:gra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6" name="Oval 85">
              <a:extLst>
                <a:ext uri="{FF2B5EF4-FFF2-40B4-BE49-F238E27FC236}">
                  <a16:creationId xmlns:a16="http://schemas.microsoft.com/office/drawing/2014/main" id="{93A6B718-E3B9-4C29-BC8F-2FC9E20E36E4}"/>
                </a:ext>
              </a:extLst>
            </p:cNvPr>
            <p:cNvSpPr/>
            <p:nvPr/>
          </p:nvSpPr>
          <p:spPr>
            <a:xfrm>
              <a:off x="10732134" y="2074647"/>
              <a:ext cx="389089" cy="3890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3"/>
            </a:p>
          </p:txBody>
        </p:sp>
        <p:sp>
          <p:nvSpPr>
            <p:cNvPr id="87" name="TextBox 64">
              <a:extLst>
                <a:ext uri="{FF2B5EF4-FFF2-40B4-BE49-F238E27FC236}">
                  <a16:creationId xmlns:a16="http://schemas.microsoft.com/office/drawing/2014/main" id="{EE251FBC-3D42-481E-B1BE-526833B91636}"/>
                </a:ext>
              </a:extLst>
            </p:cNvPr>
            <p:cNvSpPr txBox="1"/>
            <p:nvPr/>
          </p:nvSpPr>
          <p:spPr>
            <a:xfrm>
              <a:off x="10506755" y="2479487"/>
              <a:ext cx="847176" cy="379463"/>
            </a:xfrm>
            <a:prstGeom prst="rect">
              <a:avLst/>
            </a:prstGeom>
            <a:noFill/>
          </p:spPr>
          <p:txBody>
            <a:bodyPr wrap="square" rtlCol="0">
              <a:spAutoFit/>
            </a:bodyPr>
            <a:lstStyle/>
            <a:p>
              <a:pPr algn="ctr" defTabSz="609555" fontAlgn="base">
                <a:spcBef>
                  <a:spcPct val="0"/>
                </a:spcBef>
                <a:spcAft>
                  <a:spcPct val="0"/>
                </a:spcAft>
                <a:defRPr/>
              </a:pPr>
              <a:r>
                <a:rPr lang="en-US" sz="933" b="1" dirty="0">
                  <a:solidFill>
                    <a:srgbClr val="FFFFFF"/>
                  </a:solidFill>
                  <a:ea typeface="ＭＳ Ｐゴシック" charset="0"/>
                </a:rPr>
                <a:t>Central</a:t>
              </a:r>
            </a:p>
            <a:p>
              <a:pPr algn="ctr" defTabSz="609555" fontAlgn="base">
                <a:spcBef>
                  <a:spcPct val="0"/>
                </a:spcBef>
                <a:spcAft>
                  <a:spcPct val="0"/>
                </a:spcAft>
                <a:defRPr/>
              </a:pPr>
              <a:r>
                <a:rPr lang="en-US" sz="933" b="1" dirty="0">
                  <a:solidFill>
                    <a:srgbClr val="FFFFFF"/>
                  </a:solidFill>
                  <a:ea typeface="ＭＳ Ｐゴシック" charset="0"/>
                </a:rPr>
                <a:t>IT</a:t>
              </a:r>
            </a:p>
          </p:txBody>
        </p:sp>
        <p:pic>
          <p:nvPicPr>
            <p:cNvPr id="88" name="Picture 20" descr="Female programmer, programmer, software developer, software ...">
              <a:extLst>
                <a:ext uri="{FF2B5EF4-FFF2-40B4-BE49-F238E27FC236}">
                  <a16:creationId xmlns:a16="http://schemas.microsoft.com/office/drawing/2014/main" id="{FB252B22-045D-443D-A013-37C0A19B41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86029" y="2126559"/>
              <a:ext cx="268224" cy="26822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2747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6"/>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34"/>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40"/>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500" fill="hold"/>
                                        <p:tgtEl>
                                          <p:spTgt spid="14"/>
                                        </p:tgtEl>
                                        <p:attrNameLst>
                                          <p:attrName>ppt_x</p:attrName>
                                        </p:attrNameLst>
                                      </p:cBhvr>
                                      <p:tavLst>
                                        <p:tav tm="0">
                                          <p:val>
                                            <p:strVal val="#ppt_x"/>
                                          </p:val>
                                        </p:tav>
                                        <p:tav tm="100000">
                                          <p:val>
                                            <p:strVal val="#ppt_x"/>
                                          </p:val>
                                        </p:tav>
                                      </p:tavLst>
                                    </p:anim>
                                    <p:anim calcmode="lin" valueType="num">
                                      <p:cBhvr additive="base">
                                        <p:cTn id="23" dur="500" fill="hold"/>
                                        <p:tgtEl>
                                          <p:spTgt spid="14"/>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62"/>
                                        </p:tgtEl>
                                        <p:attrNameLst>
                                          <p:attrName>style.visibility</p:attrName>
                                        </p:attrNameLst>
                                      </p:cBhvr>
                                      <p:to>
                                        <p:strVal val="visible"/>
                                      </p:to>
                                    </p:set>
                                    <p:anim calcmode="lin" valueType="num">
                                      <p:cBhvr additive="base">
                                        <p:cTn id="26" dur="500" fill="hold"/>
                                        <p:tgtEl>
                                          <p:spTgt spid="62"/>
                                        </p:tgtEl>
                                        <p:attrNameLst>
                                          <p:attrName>ppt_x</p:attrName>
                                        </p:attrNameLst>
                                      </p:cBhvr>
                                      <p:tavLst>
                                        <p:tav tm="0">
                                          <p:val>
                                            <p:strVal val="#ppt_x"/>
                                          </p:val>
                                        </p:tav>
                                        <p:tav tm="100000">
                                          <p:val>
                                            <p:strVal val="#ppt_x"/>
                                          </p:val>
                                        </p:tav>
                                      </p:tavLst>
                                    </p:anim>
                                    <p:anim calcmode="lin" valueType="num">
                                      <p:cBhvr additive="base">
                                        <p:cTn id="27" dur="500" fill="hold"/>
                                        <p:tgtEl>
                                          <p:spTgt spid="62"/>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61"/>
                                        </p:tgtEl>
                                        <p:attrNameLst>
                                          <p:attrName>style.visibility</p:attrName>
                                        </p:attrNameLst>
                                      </p:cBhvr>
                                      <p:to>
                                        <p:strVal val="visible"/>
                                      </p:to>
                                    </p:set>
                                    <p:anim calcmode="lin" valueType="num">
                                      <p:cBhvr additive="base">
                                        <p:cTn id="30" dur="500" fill="hold"/>
                                        <p:tgtEl>
                                          <p:spTgt spid="61"/>
                                        </p:tgtEl>
                                        <p:attrNameLst>
                                          <p:attrName>ppt_x</p:attrName>
                                        </p:attrNameLst>
                                      </p:cBhvr>
                                      <p:tavLst>
                                        <p:tav tm="0">
                                          <p:val>
                                            <p:strVal val="#ppt_x"/>
                                          </p:val>
                                        </p:tav>
                                        <p:tav tm="100000">
                                          <p:val>
                                            <p:strVal val="#ppt_x"/>
                                          </p:val>
                                        </p:tav>
                                      </p:tavLst>
                                    </p:anim>
                                    <p:anim calcmode="lin" valueType="num">
                                      <p:cBhvr additive="base">
                                        <p:cTn id="31"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 presetClass="entr" presetSubtype="4" fill="hold" grpId="0" nodeType="clickEffect">
                                  <p:stCondLst>
                                    <p:cond delay="0"/>
                                  </p:stCondLst>
                                  <p:childTnLst>
                                    <p:set>
                                      <p:cBhvr>
                                        <p:cTn id="35" dur="1" fill="hold">
                                          <p:stCondLst>
                                            <p:cond delay="0"/>
                                          </p:stCondLst>
                                        </p:cTn>
                                        <p:tgtEl>
                                          <p:spTgt spid="63"/>
                                        </p:tgtEl>
                                        <p:attrNameLst>
                                          <p:attrName>style.visibility</p:attrName>
                                        </p:attrNameLst>
                                      </p:cBhvr>
                                      <p:to>
                                        <p:strVal val="visible"/>
                                      </p:to>
                                    </p:set>
                                    <p:anim calcmode="lin" valueType="num">
                                      <p:cBhvr additive="base">
                                        <p:cTn id="36" dur="500" fill="hold"/>
                                        <p:tgtEl>
                                          <p:spTgt spid="63"/>
                                        </p:tgtEl>
                                        <p:attrNameLst>
                                          <p:attrName>ppt_x</p:attrName>
                                        </p:attrNameLst>
                                      </p:cBhvr>
                                      <p:tavLst>
                                        <p:tav tm="0">
                                          <p:val>
                                            <p:strVal val="#ppt_x"/>
                                          </p:val>
                                        </p:tav>
                                        <p:tav tm="100000">
                                          <p:val>
                                            <p:strVal val="#ppt_x"/>
                                          </p:val>
                                        </p:tav>
                                      </p:tavLst>
                                    </p:anim>
                                    <p:anim calcmode="lin" valueType="num">
                                      <p:cBhvr additive="base">
                                        <p:cTn id="37" dur="500" fill="hold"/>
                                        <p:tgtEl>
                                          <p:spTgt spid="63"/>
                                        </p:tgtEl>
                                        <p:attrNameLst>
                                          <p:attrName>ppt_y</p:attrName>
                                        </p:attrNameLst>
                                      </p:cBhvr>
                                      <p:tavLst>
                                        <p:tav tm="0">
                                          <p:val>
                                            <p:strVal val="1+#ppt_h/2"/>
                                          </p:val>
                                        </p:tav>
                                        <p:tav tm="100000">
                                          <p:val>
                                            <p:strVal val="#ppt_y"/>
                                          </p:val>
                                        </p:tav>
                                      </p:tavLst>
                                    </p:anim>
                                  </p:childTnLst>
                                </p:cTn>
                              </p:par>
                              <p:par>
                                <p:cTn id="38" presetID="2" presetClass="entr" presetSubtype="4" fill="hold" grpId="0" nodeType="withEffect">
                                  <p:stCondLst>
                                    <p:cond delay="0"/>
                                  </p:stCondLst>
                                  <p:childTnLst>
                                    <p:set>
                                      <p:cBhvr>
                                        <p:cTn id="39" dur="1" fill="hold">
                                          <p:stCondLst>
                                            <p:cond delay="0"/>
                                          </p:stCondLst>
                                        </p:cTn>
                                        <p:tgtEl>
                                          <p:spTgt spid="58"/>
                                        </p:tgtEl>
                                        <p:attrNameLst>
                                          <p:attrName>style.visibility</p:attrName>
                                        </p:attrNameLst>
                                      </p:cBhvr>
                                      <p:to>
                                        <p:strVal val="visible"/>
                                      </p:to>
                                    </p:set>
                                    <p:anim calcmode="lin" valueType="num">
                                      <p:cBhvr additive="base">
                                        <p:cTn id="40" dur="500" fill="hold"/>
                                        <p:tgtEl>
                                          <p:spTgt spid="58"/>
                                        </p:tgtEl>
                                        <p:attrNameLst>
                                          <p:attrName>ppt_x</p:attrName>
                                        </p:attrNameLst>
                                      </p:cBhvr>
                                      <p:tavLst>
                                        <p:tav tm="0">
                                          <p:val>
                                            <p:strVal val="#ppt_x"/>
                                          </p:val>
                                        </p:tav>
                                        <p:tav tm="100000">
                                          <p:val>
                                            <p:strVal val="#ppt_x"/>
                                          </p:val>
                                        </p:tav>
                                      </p:tavLst>
                                    </p:anim>
                                    <p:anim calcmode="lin" valueType="num">
                                      <p:cBhvr additive="base">
                                        <p:cTn id="41" dur="500" fill="hold"/>
                                        <p:tgtEl>
                                          <p:spTgt spid="58"/>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64"/>
                                        </p:tgtEl>
                                        <p:attrNameLst>
                                          <p:attrName>style.visibility</p:attrName>
                                        </p:attrNameLst>
                                      </p:cBhvr>
                                      <p:to>
                                        <p:strVal val="visible"/>
                                      </p:to>
                                    </p:set>
                                    <p:anim calcmode="lin" valueType="num">
                                      <p:cBhvr additive="base">
                                        <p:cTn id="44" dur="500" fill="hold"/>
                                        <p:tgtEl>
                                          <p:spTgt spid="64"/>
                                        </p:tgtEl>
                                        <p:attrNameLst>
                                          <p:attrName>ppt_x</p:attrName>
                                        </p:attrNameLst>
                                      </p:cBhvr>
                                      <p:tavLst>
                                        <p:tav tm="0">
                                          <p:val>
                                            <p:strVal val="#ppt_x"/>
                                          </p:val>
                                        </p:tav>
                                        <p:tav tm="100000">
                                          <p:val>
                                            <p:strVal val="#ppt_x"/>
                                          </p:val>
                                        </p:tav>
                                      </p:tavLst>
                                    </p:anim>
                                    <p:anim calcmode="lin" valueType="num">
                                      <p:cBhvr additive="base">
                                        <p:cTn id="45"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grpId="0" nodeType="click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additive="base">
                                        <p:cTn id="50" dur="500" fill="hold"/>
                                        <p:tgtEl>
                                          <p:spTgt spid="66"/>
                                        </p:tgtEl>
                                        <p:attrNameLst>
                                          <p:attrName>ppt_x</p:attrName>
                                        </p:attrNameLst>
                                      </p:cBhvr>
                                      <p:tavLst>
                                        <p:tav tm="0">
                                          <p:val>
                                            <p:strVal val="#ppt_x"/>
                                          </p:val>
                                        </p:tav>
                                        <p:tav tm="100000">
                                          <p:val>
                                            <p:strVal val="#ppt_x"/>
                                          </p:val>
                                        </p:tav>
                                      </p:tavLst>
                                    </p:anim>
                                    <p:anim calcmode="lin" valueType="num">
                                      <p:cBhvr additive="base">
                                        <p:cTn id="51" dur="500" fill="hold"/>
                                        <p:tgtEl>
                                          <p:spTgt spid="66"/>
                                        </p:tgtEl>
                                        <p:attrNameLst>
                                          <p:attrName>ppt_y</p:attrName>
                                        </p:attrNameLst>
                                      </p:cBhvr>
                                      <p:tavLst>
                                        <p:tav tm="0">
                                          <p:val>
                                            <p:strVal val="1+#ppt_h/2"/>
                                          </p:val>
                                        </p:tav>
                                        <p:tav tm="100000">
                                          <p:val>
                                            <p:strVal val="#ppt_y"/>
                                          </p:val>
                                        </p:tav>
                                      </p:tavLst>
                                    </p:anim>
                                  </p:childTnLst>
                                </p:cTn>
                              </p:par>
                              <p:par>
                                <p:cTn id="52" presetID="2" presetClass="entr" presetSubtype="4" fill="hold" grpId="0" nodeType="withEffect">
                                  <p:stCondLst>
                                    <p:cond delay="0"/>
                                  </p:stCondLst>
                                  <p:childTnLst>
                                    <p:set>
                                      <p:cBhvr>
                                        <p:cTn id="53" dur="1" fill="hold">
                                          <p:stCondLst>
                                            <p:cond delay="0"/>
                                          </p:stCondLst>
                                        </p:cTn>
                                        <p:tgtEl>
                                          <p:spTgt spid="59"/>
                                        </p:tgtEl>
                                        <p:attrNameLst>
                                          <p:attrName>style.visibility</p:attrName>
                                        </p:attrNameLst>
                                      </p:cBhvr>
                                      <p:to>
                                        <p:strVal val="visible"/>
                                      </p:to>
                                    </p:set>
                                    <p:anim calcmode="lin" valueType="num">
                                      <p:cBhvr additive="base">
                                        <p:cTn id="54" dur="500" fill="hold"/>
                                        <p:tgtEl>
                                          <p:spTgt spid="59"/>
                                        </p:tgtEl>
                                        <p:attrNameLst>
                                          <p:attrName>ppt_x</p:attrName>
                                        </p:attrNameLst>
                                      </p:cBhvr>
                                      <p:tavLst>
                                        <p:tav tm="0">
                                          <p:val>
                                            <p:strVal val="#ppt_x"/>
                                          </p:val>
                                        </p:tav>
                                        <p:tav tm="100000">
                                          <p:val>
                                            <p:strVal val="#ppt_x"/>
                                          </p:val>
                                        </p:tav>
                                      </p:tavLst>
                                    </p:anim>
                                    <p:anim calcmode="lin" valueType="num">
                                      <p:cBhvr additive="base">
                                        <p:cTn id="55" dur="500" fill="hold"/>
                                        <p:tgtEl>
                                          <p:spTgt spid="59"/>
                                        </p:tgtEl>
                                        <p:attrNameLst>
                                          <p:attrName>ppt_y</p:attrName>
                                        </p:attrNameLst>
                                      </p:cBhvr>
                                      <p:tavLst>
                                        <p:tav tm="0">
                                          <p:val>
                                            <p:strVal val="1+#ppt_h/2"/>
                                          </p:val>
                                        </p:tav>
                                        <p:tav tm="100000">
                                          <p:val>
                                            <p:strVal val="#ppt_y"/>
                                          </p:val>
                                        </p:tav>
                                      </p:tavLst>
                                    </p:anim>
                                  </p:childTnLst>
                                </p:cTn>
                              </p:par>
                              <p:par>
                                <p:cTn id="56" presetID="2" presetClass="entr" presetSubtype="4" fill="hold" grpId="0" nodeType="withEffect">
                                  <p:stCondLst>
                                    <p:cond delay="0"/>
                                  </p:stCondLst>
                                  <p:childTnLst>
                                    <p:set>
                                      <p:cBhvr>
                                        <p:cTn id="57" dur="1" fill="hold">
                                          <p:stCondLst>
                                            <p:cond delay="0"/>
                                          </p:stCondLst>
                                        </p:cTn>
                                        <p:tgtEl>
                                          <p:spTgt spid="65"/>
                                        </p:tgtEl>
                                        <p:attrNameLst>
                                          <p:attrName>style.visibility</p:attrName>
                                        </p:attrNameLst>
                                      </p:cBhvr>
                                      <p:to>
                                        <p:strVal val="visible"/>
                                      </p:to>
                                    </p:set>
                                    <p:anim calcmode="lin" valueType="num">
                                      <p:cBhvr additive="base">
                                        <p:cTn id="58" dur="500" fill="hold"/>
                                        <p:tgtEl>
                                          <p:spTgt spid="65"/>
                                        </p:tgtEl>
                                        <p:attrNameLst>
                                          <p:attrName>ppt_x</p:attrName>
                                        </p:attrNameLst>
                                      </p:cBhvr>
                                      <p:tavLst>
                                        <p:tav tm="0">
                                          <p:val>
                                            <p:strVal val="#ppt_x"/>
                                          </p:val>
                                        </p:tav>
                                        <p:tav tm="100000">
                                          <p:val>
                                            <p:strVal val="#ppt_x"/>
                                          </p:val>
                                        </p:tav>
                                      </p:tavLst>
                                    </p:anim>
                                    <p:anim calcmode="lin" valueType="num">
                                      <p:cBhvr additive="base">
                                        <p:cTn id="59"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fill="hold" grpId="0" nodeType="clickEffect">
                                  <p:stCondLst>
                                    <p:cond delay="0"/>
                                  </p:stCondLst>
                                  <p:childTnLst>
                                    <p:set>
                                      <p:cBhvr>
                                        <p:cTn id="63" dur="1" fill="hold">
                                          <p:stCondLst>
                                            <p:cond delay="0"/>
                                          </p:stCondLst>
                                        </p:cTn>
                                        <p:tgtEl>
                                          <p:spTgt spid="60"/>
                                        </p:tgtEl>
                                        <p:attrNameLst>
                                          <p:attrName>style.visibility</p:attrName>
                                        </p:attrNameLst>
                                      </p:cBhvr>
                                      <p:to>
                                        <p:strVal val="visible"/>
                                      </p:to>
                                    </p:set>
                                    <p:anim calcmode="lin" valueType="num">
                                      <p:cBhvr additive="base">
                                        <p:cTn id="64" dur="500" fill="hold"/>
                                        <p:tgtEl>
                                          <p:spTgt spid="60"/>
                                        </p:tgtEl>
                                        <p:attrNameLst>
                                          <p:attrName>ppt_x</p:attrName>
                                        </p:attrNameLst>
                                      </p:cBhvr>
                                      <p:tavLst>
                                        <p:tav tm="0">
                                          <p:val>
                                            <p:strVal val="#ppt_x"/>
                                          </p:val>
                                        </p:tav>
                                        <p:tav tm="100000">
                                          <p:val>
                                            <p:strVal val="#ppt_x"/>
                                          </p:val>
                                        </p:tav>
                                      </p:tavLst>
                                    </p:anim>
                                    <p:anim calcmode="lin" valueType="num">
                                      <p:cBhvr additive="base">
                                        <p:cTn id="65" dur="500" fill="hold"/>
                                        <p:tgtEl>
                                          <p:spTgt spid="60"/>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68"/>
                                        </p:tgtEl>
                                        <p:attrNameLst>
                                          <p:attrName>style.visibility</p:attrName>
                                        </p:attrNameLst>
                                      </p:cBhvr>
                                      <p:to>
                                        <p:strVal val="visible"/>
                                      </p:to>
                                    </p:set>
                                    <p:anim calcmode="lin" valueType="num">
                                      <p:cBhvr additive="base">
                                        <p:cTn id="68" dur="500" fill="hold"/>
                                        <p:tgtEl>
                                          <p:spTgt spid="68"/>
                                        </p:tgtEl>
                                        <p:attrNameLst>
                                          <p:attrName>ppt_x</p:attrName>
                                        </p:attrNameLst>
                                      </p:cBhvr>
                                      <p:tavLst>
                                        <p:tav tm="0">
                                          <p:val>
                                            <p:strVal val="#ppt_x"/>
                                          </p:val>
                                        </p:tav>
                                        <p:tav tm="100000">
                                          <p:val>
                                            <p:strVal val="#ppt_x"/>
                                          </p:val>
                                        </p:tav>
                                      </p:tavLst>
                                    </p:anim>
                                    <p:anim calcmode="lin" valueType="num">
                                      <p:cBhvr additive="base">
                                        <p:cTn id="69" dur="500" fill="hold"/>
                                        <p:tgtEl>
                                          <p:spTgt spid="68"/>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67"/>
                                        </p:tgtEl>
                                        <p:attrNameLst>
                                          <p:attrName>style.visibility</p:attrName>
                                        </p:attrNameLst>
                                      </p:cBhvr>
                                      <p:to>
                                        <p:strVal val="visible"/>
                                      </p:to>
                                    </p:set>
                                    <p:anim calcmode="lin" valueType="num">
                                      <p:cBhvr additive="base">
                                        <p:cTn id="72" dur="500" fill="hold"/>
                                        <p:tgtEl>
                                          <p:spTgt spid="67"/>
                                        </p:tgtEl>
                                        <p:attrNameLst>
                                          <p:attrName>ppt_x</p:attrName>
                                        </p:attrNameLst>
                                      </p:cBhvr>
                                      <p:tavLst>
                                        <p:tav tm="0">
                                          <p:val>
                                            <p:strVal val="#ppt_x"/>
                                          </p:val>
                                        </p:tav>
                                        <p:tav tm="100000">
                                          <p:val>
                                            <p:strVal val="#ppt_x"/>
                                          </p:val>
                                        </p:tav>
                                      </p:tavLst>
                                    </p:anim>
                                    <p:anim calcmode="lin" valueType="num">
                                      <p:cBhvr additive="base">
                                        <p:cTn id="73"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8" grpId="0" animBg="1"/>
      <p:bldP spid="59" grpId="0" animBg="1"/>
      <p:bldP spid="60" grpId="0" animBg="1"/>
      <p:bldP spid="61" grpId="0"/>
      <p:bldP spid="62" grpId="0"/>
      <p:bldP spid="63" grpId="0"/>
      <p:bldP spid="64" grpId="0"/>
      <p:bldP spid="65" grpId="0"/>
      <p:bldP spid="66" grpId="0"/>
      <p:bldP spid="67" grpId="0"/>
      <p:bldP spid="6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0A36C68-80EA-4CAD-AE07-B0FEE2624D43}"/>
              </a:ext>
            </a:extLst>
          </p:cNvPr>
          <p:cNvSpPr>
            <a:spLocks noGrp="1"/>
          </p:cNvSpPr>
          <p:nvPr>
            <p:ph type="body" sz="quarter" idx="10"/>
          </p:nvPr>
        </p:nvSpPr>
        <p:spPr>
          <a:xfrm>
            <a:off x="6096000" y="2533160"/>
            <a:ext cx="5175541" cy="3757912"/>
          </a:xfrm>
        </p:spPr>
        <p:txBody>
          <a:bodyPr>
            <a:normAutofit fontScale="92500" lnSpcReduction="20000"/>
          </a:bodyPr>
          <a:lstStyle/>
          <a:p>
            <a:pPr lvl="4">
              <a:buFont typeface="Courier New" panose="02070309020205020404" pitchFamily="49" charset="0"/>
              <a:buChar char="o"/>
            </a:pPr>
            <a:r>
              <a:rPr lang="en-US" sz="2400" dirty="0">
                <a:solidFill>
                  <a:schemeClr val="bg1"/>
                </a:solidFill>
              </a:rPr>
              <a:t>Faceted search improves data discovery</a:t>
            </a:r>
          </a:p>
          <a:p>
            <a:pPr marL="687900" lvl="4" indent="0">
              <a:buNone/>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Talend Trust Score quantifies data trustworthiness</a:t>
            </a:r>
          </a:p>
          <a:p>
            <a:pPr lvl="4">
              <a:buFont typeface="Courier New" panose="02070309020205020404" pitchFamily="49" charset="0"/>
              <a:buChar char="o"/>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Data Preparation delivers powerful profiling and full-feature data functions</a:t>
            </a:r>
          </a:p>
          <a:p>
            <a:pPr lvl="4">
              <a:buFont typeface="Courier New" panose="02070309020205020404" pitchFamily="49" charset="0"/>
              <a:buChar char="o"/>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Establish healthy data habits through enriched metadata</a:t>
            </a:r>
          </a:p>
          <a:p>
            <a:pPr lvl="4">
              <a:buFont typeface="Courier New" panose="02070309020205020404" pitchFamily="49" charset="0"/>
              <a:buChar char="o"/>
            </a:pPr>
            <a:endParaRPr lang="en-US" sz="2400" dirty="0">
              <a:solidFill>
                <a:schemeClr val="bg1"/>
              </a:solidFill>
            </a:endParaRPr>
          </a:p>
        </p:txBody>
      </p:sp>
      <p:sp>
        <p:nvSpPr>
          <p:cNvPr id="5" name="Title 2">
            <a:extLst>
              <a:ext uri="{FF2B5EF4-FFF2-40B4-BE49-F238E27FC236}">
                <a16:creationId xmlns:a16="http://schemas.microsoft.com/office/drawing/2014/main" id="{5227B928-D42C-415F-BC2B-6803306AB07C}"/>
              </a:ext>
            </a:extLst>
          </p:cNvPr>
          <p:cNvSpPr txBox="1">
            <a:spLocks/>
          </p:cNvSpPr>
          <p:nvPr/>
        </p:nvSpPr>
        <p:spPr>
          <a:xfrm>
            <a:off x="3096203" y="1203165"/>
            <a:ext cx="2841459" cy="532587"/>
          </a:xfrm>
          <a:prstGeom prst="rect">
            <a:avLst/>
          </a:prstGeom>
        </p:spPr>
        <p:txBody>
          <a:bodyPr/>
          <a:lst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a:lstStyle>
          <a:p>
            <a:r>
              <a:rPr lang="en-US" dirty="0">
                <a:solidFill>
                  <a:schemeClr val="bg1"/>
                </a:solidFill>
              </a:rPr>
              <a:t>Darren</a:t>
            </a:r>
          </a:p>
        </p:txBody>
      </p:sp>
      <p:sp>
        <p:nvSpPr>
          <p:cNvPr id="6" name="Subtitle 3">
            <a:extLst>
              <a:ext uri="{FF2B5EF4-FFF2-40B4-BE49-F238E27FC236}">
                <a16:creationId xmlns:a16="http://schemas.microsoft.com/office/drawing/2014/main" id="{89F045F5-194B-4838-BF3C-D4F525947C77}"/>
              </a:ext>
            </a:extLst>
          </p:cNvPr>
          <p:cNvSpPr txBox="1">
            <a:spLocks/>
          </p:cNvSpPr>
          <p:nvPr/>
        </p:nvSpPr>
        <p:spPr>
          <a:xfrm>
            <a:off x="3096203" y="1735752"/>
            <a:ext cx="2841459" cy="481841"/>
          </a:xfrm>
          <a:prstGeom prst="rect">
            <a:avLst/>
          </a:prstGeom>
        </p:spPr>
        <p:txBody>
          <a:bodyPr/>
          <a:lst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2"/>
                </a:solidFill>
              </a:rPr>
              <a:t>Business Analyst</a:t>
            </a:r>
          </a:p>
        </p:txBody>
      </p:sp>
      <p:pic>
        <p:nvPicPr>
          <p:cNvPr id="7" name="Picture 6" descr="Man in a brown suit">
            <a:extLst>
              <a:ext uri="{FF2B5EF4-FFF2-40B4-BE49-F238E27FC236}">
                <a16:creationId xmlns:a16="http://schemas.microsoft.com/office/drawing/2014/main" id="{8EF9F70E-D188-474B-8EA0-D69B6C7BAC13}"/>
              </a:ext>
            </a:extLst>
          </p:cNvPr>
          <p:cNvPicPr>
            <a:picLocks noChangeAspect="1"/>
          </p:cNvPicPr>
          <p:nvPr/>
        </p:nvPicPr>
        <p:blipFill rotWithShape="1">
          <a:blip r:embed="rId3">
            <a:extLst>
              <a:ext uri="{28A0092B-C50C-407E-A947-70E740481C1C}">
                <a14:useLocalDpi xmlns:a14="http://schemas.microsoft.com/office/drawing/2010/main" val="0"/>
              </a:ext>
            </a:extLst>
          </a:blip>
          <a:srcRect l="36386" t="2471" r="3639" b="13733"/>
          <a:stretch/>
        </p:blipFill>
        <p:spPr>
          <a:xfrm>
            <a:off x="989747" y="836853"/>
            <a:ext cx="1820973" cy="169630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53175896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0A36C68-80EA-4CAD-AE07-B0FEE2624D43}"/>
              </a:ext>
            </a:extLst>
          </p:cNvPr>
          <p:cNvSpPr>
            <a:spLocks noGrp="1"/>
          </p:cNvSpPr>
          <p:nvPr>
            <p:ph type="body" sz="quarter" idx="10"/>
          </p:nvPr>
        </p:nvSpPr>
        <p:spPr>
          <a:xfrm>
            <a:off x="5937662" y="2583905"/>
            <a:ext cx="5175541" cy="3732103"/>
          </a:xfrm>
        </p:spPr>
        <p:txBody>
          <a:bodyPr>
            <a:normAutofit fontScale="85000" lnSpcReduction="10000"/>
          </a:bodyPr>
          <a:lstStyle/>
          <a:p>
            <a:pPr lvl="4">
              <a:buFont typeface="Courier New" panose="02070309020205020404" pitchFamily="49" charset="0"/>
              <a:buChar char="o"/>
            </a:pPr>
            <a:r>
              <a:rPr lang="en-US" sz="2400" dirty="0">
                <a:solidFill>
                  <a:schemeClr val="bg1"/>
                </a:solidFill>
              </a:rPr>
              <a:t>Access a full list of feature-rich processors</a:t>
            </a:r>
          </a:p>
          <a:p>
            <a:pPr marL="687900" lvl="4" indent="0">
              <a:buNone/>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Leverage real-time data previewer</a:t>
            </a:r>
          </a:p>
          <a:p>
            <a:pPr lvl="4">
              <a:buFont typeface="Courier New" panose="02070309020205020404" pitchFamily="49" charset="0"/>
              <a:buChar char="o"/>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Automate data matching</a:t>
            </a:r>
          </a:p>
          <a:p>
            <a:pPr marL="687900" lvl="4" indent="0">
              <a:buNone/>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Integrate with Talend Data Stewardship</a:t>
            </a:r>
          </a:p>
          <a:p>
            <a:pPr lvl="4">
              <a:buFont typeface="Courier New" panose="02070309020205020404" pitchFamily="49" charset="0"/>
              <a:buChar char="o"/>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Designed with on-demand scalability in mind</a:t>
            </a:r>
          </a:p>
        </p:txBody>
      </p:sp>
      <p:sp>
        <p:nvSpPr>
          <p:cNvPr id="5" name="Title 2">
            <a:extLst>
              <a:ext uri="{FF2B5EF4-FFF2-40B4-BE49-F238E27FC236}">
                <a16:creationId xmlns:a16="http://schemas.microsoft.com/office/drawing/2014/main" id="{5227B928-D42C-415F-BC2B-6803306AB07C}"/>
              </a:ext>
            </a:extLst>
          </p:cNvPr>
          <p:cNvSpPr txBox="1">
            <a:spLocks/>
          </p:cNvSpPr>
          <p:nvPr/>
        </p:nvSpPr>
        <p:spPr>
          <a:xfrm>
            <a:off x="3096203" y="1203165"/>
            <a:ext cx="2841459" cy="532587"/>
          </a:xfrm>
          <a:prstGeom prst="rect">
            <a:avLst/>
          </a:prstGeom>
        </p:spPr>
        <p:txBody>
          <a:bodyPr/>
          <a:lst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a:lstStyle>
          <a:p>
            <a:r>
              <a:rPr lang="en-US" dirty="0">
                <a:solidFill>
                  <a:schemeClr val="bg1"/>
                </a:solidFill>
              </a:rPr>
              <a:t>Priya</a:t>
            </a:r>
          </a:p>
        </p:txBody>
      </p:sp>
      <p:sp>
        <p:nvSpPr>
          <p:cNvPr id="6" name="Subtitle 3">
            <a:extLst>
              <a:ext uri="{FF2B5EF4-FFF2-40B4-BE49-F238E27FC236}">
                <a16:creationId xmlns:a16="http://schemas.microsoft.com/office/drawing/2014/main" id="{89F045F5-194B-4838-BF3C-D4F525947C77}"/>
              </a:ext>
            </a:extLst>
          </p:cNvPr>
          <p:cNvSpPr txBox="1">
            <a:spLocks/>
          </p:cNvSpPr>
          <p:nvPr/>
        </p:nvSpPr>
        <p:spPr>
          <a:xfrm>
            <a:off x="3096203" y="1735752"/>
            <a:ext cx="2841459" cy="481841"/>
          </a:xfrm>
          <a:prstGeom prst="rect">
            <a:avLst/>
          </a:prstGeom>
        </p:spPr>
        <p:txBody>
          <a:bodyPr/>
          <a:lst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2"/>
                </a:solidFill>
              </a:rPr>
              <a:t>Data Engineer</a:t>
            </a:r>
          </a:p>
        </p:txBody>
      </p:sp>
      <p:pic>
        <p:nvPicPr>
          <p:cNvPr id="8" name="Picture 7">
            <a:extLst>
              <a:ext uri="{FF2B5EF4-FFF2-40B4-BE49-F238E27FC236}">
                <a16:creationId xmlns:a16="http://schemas.microsoft.com/office/drawing/2014/main" id="{105991CA-9209-4866-82A3-5D5B40504A10}"/>
              </a:ext>
            </a:extLst>
          </p:cNvPr>
          <p:cNvPicPr>
            <a:picLocks noChangeAspect="1"/>
          </p:cNvPicPr>
          <p:nvPr/>
        </p:nvPicPr>
        <p:blipFill rotWithShape="1">
          <a:blip r:embed="rId3">
            <a:extLst>
              <a:ext uri="{28A0092B-C50C-407E-A947-70E740481C1C}">
                <a14:useLocalDpi xmlns:a14="http://schemas.microsoft.com/office/drawing/2010/main" val="0"/>
              </a:ext>
            </a:extLst>
          </a:blip>
          <a:srcRect l="781" r="781"/>
          <a:stretch/>
        </p:blipFill>
        <p:spPr>
          <a:xfrm>
            <a:off x="1078797" y="887598"/>
            <a:ext cx="1826557" cy="169630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70867419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0A36C68-80EA-4CAD-AE07-B0FEE2624D43}"/>
              </a:ext>
            </a:extLst>
          </p:cNvPr>
          <p:cNvSpPr>
            <a:spLocks noGrp="1"/>
          </p:cNvSpPr>
          <p:nvPr>
            <p:ph type="body" sz="quarter" idx="10"/>
          </p:nvPr>
        </p:nvSpPr>
        <p:spPr>
          <a:xfrm>
            <a:off x="5937662" y="2583906"/>
            <a:ext cx="5175541" cy="3963752"/>
          </a:xfrm>
        </p:spPr>
        <p:txBody>
          <a:bodyPr>
            <a:normAutofit fontScale="92500" lnSpcReduction="10000"/>
          </a:bodyPr>
          <a:lstStyle/>
          <a:p>
            <a:pPr lvl="4">
              <a:buFont typeface="Courier New" panose="02070309020205020404" pitchFamily="49" charset="0"/>
              <a:buChar char="o"/>
            </a:pPr>
            <a:r>
              <a:rPr lang="en-US" sz="2400" dirty="0">
                <a:solidFill>
                  <a:schemeClr val="bg1"/>
                </a:solidFill>
              </a:rPr>
              <a:t>Address manual data resolution within a dedicated application</a:t>
            </a:r>
          </a:p>
          <a:p>
            <a:pPr lvl="4">
              <a:buFont typeface="Courier New" panose="02070309020205020404" pitchFamily="49" charset="0"/>
              <a:buChar char="o"/>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Access, collaborate and resolve stewardship tasks</a:t>
            </a:r>
          </a:p>
          <a:p>
            <a:pPr marL="687900" lvl="4" indent="0">
              <a:buNone/>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Track, trace and validate tasks through workflows</a:t>
            </a:r>
          </a:p>
          <a:p>
            <a:pPr lvl="4">
              <a:buFont typeface="Courier New" panose="02070309020205020404" pitchFamily="49" charset="0"/>
              <a:buChar char="o"/>
            </a:pPr>
            <a:endParaRPr lang="en-US" sz="2400" dirty="0">
              <a:solidFill>
                <a:schemeClr val="bg1"/>
              </a:solidFill>
            </a:endParaRPr>
          </a:p>
          <a:p>
            <a:pPr lvl="4">
              <a:buFont typeface="Courier New" panose="02070309020205020404" pitchFamily="49" charset="0"/>
              <a:buChar char="o"/>
            </a:pPr>
            <a:r>
              <a:rPr lang="en-US" sz="2400" dirty="0">
                <a:solidFill>
                  <a:schemeClr val="bg1"/>
                </a:solidFill>
              </a:rPr>
              <a:t>Establish a supportive culture vital to achieving data health</a:t>
            </a:r>
          </a:p>
        </p:txBody>
      </p:sp>
      <p:sp>
        <p:nvSpPr>
          <p:cNvPr id="5" name="Title 2">
            <a:extLst>
              <a:ext uri="{FF2B5EF4-FFF2-40B4-BE49-F238E27FC236}">
                <a16:creationId xmlns:a16="http://schemas.microsoft.com/office/drawing/2014/main" id="{5227B928-D42C-415F-BC2B-6803306AB07C}"/>
              </a:ext>
            </a:extLst>
          </p:cNvPr>
          <p:cNvSpPr txBox="1">
            <a:spLocks/>
          </p:cNvSpPr>
          <p:nvPr/>
        </p:nvSpPr>
        <p:spPr>
          <a:xfrm>
            <a:off x="3096203" y="1203165"/>
            <a:ext cx="2841459" cy="532587"/>
          </a:xfrm>
          <a:prstGeom prst="rect">
            <a:avLst/>
          </a:prstGeom>
        </p:spPr>
        <p:txBody>
          <a:bodyPr/>
          <a:lstStyle>
            <a:lvl1pPr algn="l" defTabSz="914377" rtl="0" eaLnBrk="1" latinLnBrk="0" hangingPunct="1">
              <a:lnSpc>
                <a:spcPct val="90000"/>
              </a:lnSpc>
              <a:spcBef>
                <a:spcPct val="0"/>
              </a:spcBef>
              <a:buNone/>
              <a:defRPr sz="3733" b="1" i="0" kern="1200">
                <a:solidFill>
                  <a:schemeClr val="tx1"/>
                </a:solidFill>
                <a:latin typeface="Source Sans Pro" panose="020B0503030403020204" pitchFamily="34" charset="0"/>
                <a:ea typeface="Source Sans Pro" panose="020B0503030403020204" pitchFamily="34" charset="0"/>
                <a:cs typeface="+mj-cs"/>
              </a:defRPr>
            </a:lvl1pPr>
          </a:lstStyle>
          <a:p>
            <a:r>
              <a:rPr lang="en-US" dirty="0">
                <a:solidFill>
                  <a:schemeClr val="bg1"/>
                </a:solidFill>
              </a:rPr>
              <a:t>Leo</a:t>
            </a:r>
          </a:p>
        </p:txBody>
      </p:sp>
      <p:sp>
        <p:nvSpPr>
          <p:cNvPr id="6" name="Subtitle 3">
            <a:extLst>
              <a:ext uri="{FF2B5EF4-FFF2-40B4-BE49-F238E27FC236}">
                <a16:creationId xmlns:a16="http://schemas.microsoft.com/office/drawing/2014/main" id="{89F045F5-194B-4838-BF3C-D4F525947C77}"/>
              </a:ext>
            </a:extLst>
          </p:cNvPr>
          <p:cNvSpPr txBox="1">
            <a:spLocks/>
          </p:cNvSpPr>
          <p:nvPr/>
        </p:nvSpPr>
        <p:spPr>
          <a:xfrm>
            <a:off x="3096203" y="1735752"/>
            <a:ext cx="2841459" cy="481841"/>
          </a:xfrm>
          <a:prstGeom prst="rect">
            <a:avLst/>
          </a:prstGeom>
        </p:spPr>
        <p:txBody>
          <a:bodyPr/>
          <a:lstStyle>
            <a:lvl1pPr marL="0" marR="0" indent="0" algn="l" defTabSz="914377" rtl="0" eaLnBrk="1" fontAlgn="auto" latinLnBrk="0" hangingPunct="1">
              <a:lnSpc>
                <a:spcPct val="100000"/>
              </a:lnSpc>
              <a:spcBef>
                <a:spcPts val="1000"/>
              </a:spcBef>
              <a:spcAft>
                <a:spcPts val="0"/>
              </a:spcAft>
              <a:buClr>
                <a:schemeClr val="tx2"/>
              </a:buClr>
              <a:buSzPct val="80000"/>
              <a:buFont typeface="+mj-lt"/>
              <a:buNone/>
              <a:tabLst/>
              <a:defRPr sz="2667" b="0" i="0" kern="1200">
                <a:solidFill>
                  <a:schemeClr val="tx1"/>
                </a:solidFill>
                <a:latin typeface="Source Sans Pro" panose="020B0503030403020204" pitchFamily="34" charset="0"/>
                <a:ea typeface="Source Sans Pro" panose="020B0503030403020204" pitchFamily="34" charset="0"/>
                <a:cs typeface="+mn-cs"/>
              </a:defRPr>
            </a:lvl1pPr>
            <a:lvl2pPr marL="237061"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400" b="0" i="0" kern="1200">
                <a:solidFill>
                  <a:schemeClr val="tx1"/>
                </a:solidFill>
                <a:latin typeface="Source Sans Pro" panose="020B0503030403020204" pitchFamily="34" charset="0"/>
                <a:ea typeface="Source Sans Pro" panose="020B0503030403020204" pitchFamily="34" charset="0"/>
                <a:cs typeface="+mn-cs"/>
              </a:defRPr>
            </a:lvl2pPr>
            <a:lvl3pPr marL="461422" marR="0" indent="-2243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2000" b="0" i="0" kern="1200">
                <a:solidFill>
                  <a:schemeClr val="tx1"/>
                </a:solidFill>
                <a:latin typeface="Source Sans Pro" panose="020B0503030403020204" pitchFamily="34" charset="0"/>
                <a:ea typeface="Source Sans Pro" panose="020B0503030403020204" pitchFamily="34" charset="0"/>
                <a:cs typeface="+mn-cs"/>
              </a:defRPr>
            </a:lvl3pPr>
            <a:lvl4pPr marL="687900" marR="0" indent="-226478"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4pPr>
            <a:lvl5pPr marL="924961" marR="0" indent="-237061" algn="l" defTabSz="914377" rtl="0" eaLnBrk="1" fontAlgn="auto" latinLnBrk="0" hangingPunct="1">
              <a:lnSpc>
                <a:spcPct val="100000"/>
              </a:lnSpc>
              <a:spcBef>
                <a:spcPts val="500"/>
              </a:spcBef>
              <a:spcAft>
                <a:spcPts val="0"/>
              </a:spcAft>
              <a:buClr>
                <a:schemeClr val="tx2"/>
              </a:buClr>
              <a:buSzPct val="80000"/>
              <a:buFont typeface="Arial" panose="020B0604020202020204" pitchFamily="34" charset="0"/>
              <a:buChar char="•"/>
              <a:tabLst/>
              <a:defRPr sz="1800" b="0" i="0" kern="1200">
                <a:solidFill>
                  <a:schemeClr val="tx1"/>
                </a:solidFill>
                <a:latin typeface="Source Sans Pro" panose="020B0503030403020204" pitchFamily="34" charset="0"/>
                <a:ea typeface="Source Sans Pro" panose="020B050303040302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2"/>
                </a:solidFill>
              </a:rPr>
              <a:t>Data Steward</a:t>
            </a:r>
          </a:p>
        </p:txBody>
      </p:sp>
      <p:pic>
        <p:nvPicPr>
          <p:cNvPr id="7" name="Picture 6">
            <a:extLst>
              <a:ext uri="{FF2B5EF4-FFF2-40B4-BE49-F238E27FC236}">
                <a16:creationId xmlns:a16="http://schemas.microsoft.com/office/drawing/2014/main" id="{53A2C465-135C-421A-ABF7-F7EE1D4BA52B}"/>
              </a:ext>
            </a:extLst>
          </p:cNvPr>
          <p:cNvPicPr>
            <a:picLocks noChangeAspect="1"/>
          </p:cNvPicPr>
          <p:nvPr/>
        </p:nvPicPr>
        <p:blipFill rotWithShape="1">
          <a:blip r:embed="rId3">
            <a:extLst>
              <a:ext uri="{28A0092B-C50C-407E-A947-70E740481C1C}">
                <a14:useLocalDpi xmlns:a14="http://schemas.microsoft.com/office/drawing/2010/main" val="0"/>
              </a:ext>
            </a:extLst>
          </a:blip>
          <a:srcRect l="1525" r="1525"/>
          <a:stretch/>
        </p:blipFill>
        <p:spPr>
          <a:xfrm>
            <a:off x="1078797" y="887598"/>
            <a:ext cx="1826558" cy="169630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651059520"/>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FDTQu86wMtykq6yPc6_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Talend">
      <a:majorFont>
        <a:latin typeface="Gelasio SemiBold"/>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Talend PPT Template_June 2020.potx" id="{5FB54537-D78D-41B4-87DA-CAC37C022563}" vid="{6DAD2C0A-23C2-48EF-ACDF-B2275DD3D27B}"/>
    </a:ext>
  </a:extLst>
</a:theme>
</file>

<file path=ppt/theme/theme2.xml><?xml version="1.0" encoding="utf-8"?>
<a:theme xmlns:a="http://schemas.openxmlformats.org/drawingml/2006/main" name="9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Talend">
      <a:majorFont>
        <a:latin typeface="Gelasio SemiBold"/>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Talend PPT Template_June 2020.potx" id="{5FB54537-D78D-41B4-87DA-CAC37C022563}" vid="{6DAD2C0A-23C2-48EF-ACDF-B2275DD3D27B}"/>
    </a:ext>
  </a:extLst>
</a:theme>
</file>

<file path=ppt/theme/theme3.xml><?xml version="1.0" encoding="utf-8"?>
<a:theme xmlns:a="http://schemas.openxmlformats.org/drawingml/2006/main" name="5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Talend">
      <a:majorFont>
        <a:latin typeface="Gelasio SemiBold"/>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Talend PPT Template_June 2020.potx" id="{5FB54537-D78D-41B4-87DA-CAC37C022563}" vid="{6DAD2C0A-23C2-48EF-ACDF-B2275DD3D27B}"/>
    </a:ext>
  </a:extLst>
</a:theme>
</file>

<file path=ppt/theme/theme4.xml><?xml version="1.0" encoding="utf-8"?>
<a:theme xmlns:a="http://schemas.openxmlformats.org/drawingml/2006/main" name="6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Talend">
      <a:majorFont>
        <a:latin typeface="Gelasio SemiBold"/>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Talend PPT Template_June 2020.potx" id="{5FB54537-D78D-41B4-87DA-CAC37C022563}" vid="{6DAD2C0A-23C2-48EF-ACDF-B2275DD3D27B}"/>
    </a:ext>
  </a:extLst>
</a:theme>
</file>

<file path=ppt/theme/theme5.xml><?xml version="1.0" encoding="utf-8"?>
<a:theme xmlns:a="http://schemas.openxmlformats.org/drawingml/2006/main" name="7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Talend">
      <a:majorFont>
        <a:latin typeface="Gelasio SemiBold"/>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Talend PPT Template_June 2020.potx" id="{5FB54537-D78D-41B4-87DA-CAC37C022563}" vid="{6DAD2C0A-23C2-48EF-ACDF-B2275DD3D27B}"/>
    </a:ext>
  </a:extLst>
</a:theme>
</file>

<file path=ppt/theme/theme6.xml><?xml version="1.0" encoding="utf-8"?>
<a:theme xmlns:a="http://schemas.openxmlformats.org/drawingml/2006/main" name="8_Office Theme">
  <a:themeElements>
    <a:clrScheme name="Talend 2020">
      <a:dk1>
        <a:srgbClr val="323E48"/>
      </a:dk1>
      <a:lt1>
        <a:srgbClr val="F8F3EF"/>
      </a:lt1>
      <a:dk2>
        <a:srgbClr val="FF6D70"/>
      </a:dk2>
      <a:lt2>
        <a:srgbClr val="91D1ED"/>
      </a:lt2>
      <a:accent1>
        <a:srgbClr val="2C1F56"/>
      </a:accent1>
      <a:accent2>
        <a:srgbClr val="19426C"/>
      </a:accent2>
      <a:accent3>
        <a:srgbClr val="F66A6B"/>
      </a:accent3>
      <a:accent4>
        <a:srgbClr val="ADB2B6"/>
      </a:accent4>
      <a:accent5>
        <a:srgbClr val="FFFFFF"/>
      </a:accent5>
      <a:accent6>
        <a:srgbClr val="91D1ED"/>
      </a:accent6>
      <a:hlink>
        <a:srgbClr val="FF6D70"/>
      </a:hlink>
      <a:folHlink>
        <a:srgbClr val="19416C"/>
      </a:folHlink>
    </a:clrScheme>
    <a:fontScheme name="Talend">
      <a:majorFont>
        <a:latin typeface="Gelasio SemiBold"/>
        <a:ea typeface=""/>
        <a:cs typeface=""/>
      </a:majorFont>
      <a:minorFont>
        <a:latin typeface="Source Sans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2">
                <a:lumMod val="80000"/>
              </a:schemeClr>
            </a:gs>
            <a:gs pos="100000">
              <a:srgbClr val="1D2024"/>
            </a:gs>
          </a:gsLst>
          <a:lin ang="189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a:spAutoFit/>
      </a:bodyPr>
      <a:lstStyle>
        <a:defPPr algn="l">
          <a:defRPr dirty="0"/>
        </a:defPPr>
      </a:lstStyle>
    </a:txDef>
  </a:objectDefaults>
  <a:extraClrSchemeLst/>
  <a:extLst>
    <a:ext uri="{05A4C25C-085E-4340-85A3-A5531E510DB2}">
      <thm15:themeFamily xmlns:thm15="http://schemas.microsoft.com/office/thememl/2012/main" name="Talend PPT Template_June 2020.potx" id="{5FB54537-D78D-41B4-87DA-CAC37C022563}" vid="{6DAD2C0A-23C2-48EF-ACDF-B2275DD3D27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945</TotalTime>
  <Words>3783</Words>
  <Application>Microsoft Office PowerPoint</Application>
  <PresentationFormat>Widescreen</PresentationFormat>
  <Paragraphs>268</Paragraphs>
  <Slides>14</Slides>
  <Notes>13</Notes>
  <HiddenSlides>0</HiddenSlides>
  <MMClips>0</MMClips>
  <ScaleCrop>false</ScaleCrop>
  <HeadingPairs>
    <vt:vector size="4" baseType="variant">
      <vt:variant>
        <vt:lpstr>Theme</vt:lpstr>
      </vt:variant>
      <vt:variant>
        <vt:i4>6</vt:i4>
      </vt:variant>
      <vt:variant>
        <vt:lpstr>Slide Titles</vt:lpstr>
      </vt:variant>
      <vt:variant>
        <vt:i4>14</vt:i4>
      </vt:variant>
    </vt:vector>
  </HeadingPairs>
  <TitlesOfParts>
    <vt:vector size="20" baseType="lpstr">
      <vt:lpstr>4_Office Theme</vt:lpstr>
      <vt:lpstr>9_Office Theme</vt:lpstr>
      <vt:lpstr>5_Office Theme</vt:lpstr>
      <vt:lpstr>6_Office Theme</vt:lpstr>
      <vt:lpstr>7_Office Theme</vt:lpstr>
      <vt:lpstr>8_Office Theme</vt:lpstr>
      <vt:lpstr>Talend Demo: Getting More Value from Customer 360</vt:lpstr>
      <vt:lpstr>Talend delivers value to Customer 360</vt:lpstr>
      <vt:lpstr>A typical customer</vt:lpstr>
      <vt:lpstr>Rebecca</vt:lpstr>
      <vt:lpstr>PowerPoint Presentation</vt:lpstr>
      <vt:lpstr>Achieve Data Health with Talend </vt:lpstr>
      <vt:lpstr>PowerPoint Presentation</vt:lpstr>
      <vt:lpstr>PowerPoint Presentation</vt:lpstr>
      <vt:lpstr>PowerPoint Presentation</vt:lpstr>
      <vt:lpstr>PowerPoint Presentation</vt:lpstr>
      <vt:lpstr>PowerPoint Presentation</vt:lpstr>
      <vt:lpstr>PowerPoint Presentation</vt:lpstr>
      <vt:lpstr>Achieve Data Health with Talend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end Demo: Fixing Customer 360</dc:title>
  <dc:creator>David Wilmer</dc:creator>
  <cp:lastModifiedBy>Thibaut</cp:lastModifiedBy>
  <cp:revision>152</cp:revision>
  <dcterms:created xsi:type="dcterms:W3CDTF">2021-07-01T22:02:53Z</dcterms:created>
  <dcterms:modified xsi:type="dcterms:W3CDTF">2021-07-16T17:28:38Z</dcterms:modified>
</cp:coreProperties>
</file>